
<file path=[Content_Types].xml><?xml version="1.0" encoding="utf-8"?>
<Types xmlns="http://schemas.openxmlformats.org/package/2006/content-types">
  <Default ContentType="image/jpeg" Extension="jpeg"/>
  <Default ContentType="audio/mpeg" Extension="mp3"/>
  <Default ContentType="image/png" Extension="png"/>
  <Default ContentType="application/vnd.openxmlformats-package.relationships+xml" Extension="rels"/>
  <Default ContentType="application/vnd.openxmlformats-officedocument.spreadsheetml.sheet" Extension="xlsx"/>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chart+xml" PartName="/ppt/charts/chart1.xml"/>
  <Override ContentType="application/vnd.openxmlformats-officedocument.drawingml.chart+xml" PartName="/ppt/charts/chart2.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removePersonalInfoOnSave="1" saveSubsetFonts="1">
  <p:sldMasterIdLst>
    <p:sldMasterId id="2147483648" r:id="rId1"/>
    <p:sldMasterId id="2147483651" r:id="rId2"/>
  </p:sldMasterIdLst>
  <p:notesMasterIdLst>
    <p:notesMasterId r:id="rId3"/>
  </p:notesMasterIdLst>
  <p:handoutMasterIdLst>
    <p:handoutMasterId r:id="rId4"/>
  </p:handoutMasterIdLst>
  <p:sldIdLst>
    <p:sldId id="3170" r:id="rId5"/>
    <p:sldId id="3172" r:id="rId6"/>
    <p:sldId id="3196" r:id="rId7"/>
    <p:sldId id="3188" r:id="rId8"/>
    <p:sldId id="3186" r:id="rId9"/>
    <p:sldId id="3193" r:id="rId10"/>
    <p:sldId id="3175" r:id="rId11"/>
    <p:sldId id="3183" r:id="rId12"/>
    <p:sldId id="3197" r:id="rId13"/>
    <p:sldId id="3187" r:id="rId14"/>
    <p:sldId id="3182" r:id="rId15"/>
    <p:sldId id="3192" r:id="rId16"/>
    <p:sldId id="3176" r:id="rId17"/>
    <p:sldId id="3198" r:id="rId18"/>
    <p:sldId id="3179" r:id="rId19"/>
    <p:sldId id="3190" r:id="rId20"/>
    <p:sldId id="3184" r:id="rId21"/>
    <p:sldId id="3191" r:id="rId22"/>
    <p:sldId id="3199" r:id="rId23"/>
    <p:sldId id="3177" r:id="rId24"/>
    <p:sldId id="3181" r:id="rId25"/>
    <p:sldId id="3185" r:id="rId26"/>
    <p:sldId id="3189" r:id="rId27"/>
    <p:sldId id="3200" r:id="rId28"/>
    <p:sldId id="3178" r:id="rId29"/>
    <p:sldId id="3195" r:id="rId30"/>
    <p:sldId id="3194" r:id="rId31"/>
    <p:sldId id="3201" r:id="rId32"/>
  </p:sldIdLst>
  <p:sldSz cx="9001125" cy="5040313"/>
  <p:notesSz cx="6858000" cy="9144000"/>
  <p:custDataLst>
    <p:tags r:id="rId33"/>
  </p:custDataLst>
  <p:defaultTextStyle>
    <a:defPPr>
      <a:defRPr lang="zh-CN"/>
    </a:defPPr>
    <a:lvl1pPr algn="l" rtl="0" eaLnBrk="0" fontAlgn="base" hangingPunct="0">
      <a:spcBef>
        <a:spcPct val="0"/>
      </a:spcBef>
      <a:spcAft>
        <a:spcPct val="0"/>
      </a:spcAft>
      <a:defRPr kern="1200">
        <a:solidFill>
          <a:schemeClr val="tx1"/>
        </a:solidFill>
        <a:latin typeface="Calibri" pitchFamily="34" charset="0"/>
        <a:ea typeface="宋体" panose="02010600030101010101" pitchFamily="2" charset="-122"/>
        <a:cs typeface="+mn-cs"/>
      </a:defRPr>
    </a:lvl1pPr>
    <a:lvl2pPr marL="447066" indent="-127575" algn="l" rtl="0" eaLnBrk="0" fontAlgn="base" hangingPunct="0">
      <a:spcBef>
        <a:spcPct val="0"/>
      </a:spcBef>
      <a:spcAft>
        <a:spcPct val="0"/>
      </a:spcAft>
      <a:defRPr kern="1200">
        <a:solidFill>
          <a:schemeClr val="tx1"/>
        </a:solidFill>
        <a:latin typeface="Calibri" pitchFamily="34" charset="0"/>
        <a:ea typeface="宋体" panose="02010600030101010101" pitchFamily="2" charset="-122"/>
        <a:cs typeface="+mn-cs"/>
      </a:defRPr>
    </a:lvl2pPr>
    <a:lvl3pPr marL="896351" indent="-257368" algn="l" rtl="0" eaLnBrk="0" fontAlgn="base" hangingPunct="0">
      <a:spcBef>
        <a:spcPct val="0"/>
      </a:spcBef>
      <a:spcAft>
        <a:spcPct val="0"/>
      </a:spcAft>
      <a:defRPr kern="1200">
        <a:solidFill>
          <a:schemeClr val="tx1"/>
        </a:solidFill>
        <a:latin typeface="Calibri" pitchFamily="34" charset="0"/>
        <a:ea typeface="宋体" panose="02010600030101010101" pitchFamily="2" charset="-122"/>
        <a:cs typeface="+mn-cs"/>
      </a:defRPr>
    </a:lvl3pPr>
    <a:lvl4pPr marL="1345636" indent="-387162" algn="l" rtl="0" eaLnBrk="0" fontAlgn="base" hangingPunct="0">
      <a:spcBef>
        <a:spcPct val="0"/>
      </a:spcBef>
      <a:spcAft>
        <a:spcPct val="0"/>
      </a:spcAft>
      <a:defRPr kern="1200">
        <a:solidFill>
          <a:schemeClr val="tx1"/>
        </a:solidFill>
        <a:latin typeface="Calibri" pitchFamily="34" charset="0"/>
        <a:ea typeface="宋体" panose="02010600030101010101" pitchFamily="2" charset="-122"/>
        <a:cs typeface="+mn-cs"/>
      </a:defRPr>
    </a:lvl4pPr>
    <a:lvl5pPr marL="1794920" indent="-516955" algn="l" rtl="0" eaLnBrk="0" fontAlgn="base" hangingPunct="0">
      <a:spcBef>
        <a:spcPct val="0"/>
      </a:spcBef>
      <a:spcAft>
        <a:spcPct val="0"/>
      </a:spcAft>
      <a:defRPr kern="1200">
        <a:solidFill>
          <a:schemeClr val="tx1"/>
        </a:solidFill>
        <a:latin typeface="Calibri" pitchFamily="34" charset="0"/>
        <a:ea typeface="宋体" panose="02010600030101010101" pitchFamily="2" charset="-122"/>
        <a:cs typeface="+mn-cs"/>
      </a:defRPr>
    </a:lvl5pPr>
    <a:lvl6pPr marL="1597457" algn="l" defTabSz="638983" rtl="0" eaLnBrk="1" latinLnBrk="0" hangingPunct="1">
      <a:defRPr kern="1200">
        <a:solidFill>
          <a:schemeClr val="tx1"/>
        </a:solidFill>
        <a:latin typeface="Calibri" pitchFamily="34" charset="0"/>
        <a:ea typeface="宋体" panose="02010600030101010101" pitchFamily="2" charset="-122"/>
        <a:cs typeface="+mn-cs"/>
      </a:defRPr>
    </a:lvl6pPr>
    <a:lvl7pPr marL="1916948" algn="l" defTabSz="638983" rtl="0" eaLnBrk="1" latinLnBrk="0" hangingPunct="1">
      <a:defRPr kern="1200">
        <a:solidFill>
          <a:schemeClr val="tx1"/>
        </a:solidFill>
        <a:latin typeface="Calibri" pitchFamily="34" charset="0"/>
        <a:ea typeface="宋体" panose="02010600030101010101" pitchFamily="2" charset="-122"/>
        <a:cs typeface="+mn-cs"/>
      </a:defRPr>
    </a:lvl7pPr>
    <a:lvl8pPr marL="2236440" algn="l" defTabSz="638983" rtl="0" eaLnBrk="1" latinLnBrk="0" hangingPunct="1">
      <a:defRPr kern="1200">
        <a:solidFill>
          <a:schemeClr val="tx1"/>
        </a:solidFill>
        <a:latin typeface="Calibri" pitchFamily="34" charset="0"/>
        <a:ea typeface="宋体" panose="02010600030101010101" pitchFamily="2" charset="-122"/>
        <a:cs typeface="+mn-cs"/>
      </a:defRPr>
    </a:lvl8pPr>
    <a:lvl9pPr marL="2555931" algn="l" defTabSz="638983" rtl="0" eaLnBrk="1" latinLnBrk="0" hangingPunct="1">
      <a:defRPr kern="1200">
        <a:solidFill>
          <a:schemeClr val="tx1"/>
        </a:solidFill>
        <a:latin typeface="Calibri"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19" autoAdjust="0"/>
    <p:restoredTop sz="95317" autoAdjust="0"/>
  </p:normalViewPr>
  <p:slideViewPr>
    <p:cSldViewPr>
      <p:cViewPr varScale="1">
        <p:scale>
          <a:sx n="116" d="100"/>
          <a:sy n="116" d="100"/>
        </p:scale>
        <p:origin x="582" y="114"/>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notesViewPr>
    <p:cSldViewPr>
      <p:cViewPr>
        <p:scale>
          <a:sx n="1" d="100"/>
          <a:sy n="1" d="100"/>
        </p:scale>
        <p:origin x="0" y="0"/>
      </p:cViewPr>
    </p:cSldViewPr>
  </p:notesViewPr>
  <p:gridSpacing cx="72006" cy="72006"/>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slideMasters/slideMaster2.xml" Type="http://schemas.openxmlformats.org/officeDocument/2006/relationships/slideMaster"/><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notesMasters/notesMaster1.xml" Type="http://schemas.openxmlformats.org/officeDocument/2006/relationships/notesMaster"/><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tags/tag6.xml" Type="http://schemas.openxmlformats.org/officeDocument/2006/relationships/tags"/><Relationship Id="rId34" Target="presProps.xml" Type="http://schemas.openxmlformats.org/officeDocument/2006/relationships/presProps"/><Relationship Id="rId35" Target="viewProps.xml" Type="http://schemas.openxmlformats.org/officeDocument/2006/relationships/viewProps"/><Relationship Id="rId36" Target="theme/theme1.xml" Type="http://schemas.openxmlformats.org/officeDocument/2006/relationships/theme"/><Relationship Id="rId37" Target="tableStyles.xml" Type="http://schemas.openxmlformats.org/officeDocument/2006/relationships/tableStyles"/><Relationship Id="rId4" Target="handoutMasters/handoutMaster1.xml" Type="http://schemas.openxmlformats.org/officeDocument/2006/relationships/handout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rts/_rels/chart1.xml.rels><?xml version="1.0" encoding="UTF-8" standalone="yes"?><Relationships xmlns="http://schemas.openxmlformats.org/package/2006/relationships"><Relationship Id="rId1" Target="../embeddings/Microsoft_Excel_Worksheet1.xlsx" Type="http://schemas.openxmlformats.org/officeDocument/2006/relationships/package"/></Relationships>
</file>

<file path=ppt/charts/_rels/chart2.xml.rels><?xml version="1.0" encoding="UTF-8" standalone="yes"?><Relationships xmlns="http://schemas.openxmlformats.org/package/2006/relationships"><Relationship Id="rId1" Target="../embeddings/Microsoft_Excel_Worksheet2.xlsx" Type="http://schemas.openxmlformats.org/officeDocument/2006/relationships/package"/></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clustered"/>
        <c:varyColors val="0"/>
        <c:ser>
          <c:idx val="0"/>
          <c:order val="0"/>
          <c:spPr>
            <a:solidFill>
              <a:srgbClr val="00AEEF"/>
            </a:solidFill>
            <a:ln>
              <a:noFill/>
            </a:ln>
            <a:effectLst/>
          </c:spPr>
          <c:invertIfNegative val="0"/>
          <c:dLbls>
            <c:dLbl>
              <c:idx val="0"/>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lang="zh-CN" sz="1195" b="0" i="0" u="none" strike="noStrike" kern="1200" baseline="0" smtId="4294967295">
                    <a:solidFill>
                      <a:schemeClr val="bg1"/>
                    </a:solidFill>
                    <a:latin typeface="+mn-lt"/>
                    <a:ea typeface="+mn-ea"/>
                    <a:cs typeface="+mn-cs"/>
                  </a:defRPr>
                </a:pPr>
                <a:endParaRPr lang="zh-CN" sz="1195" b="0" i="0" u="none" strike="noStrike" kern="1200" baseline="0" smtId="4294967295">
                  <a:solidFill>
                    <a:schemeClr val="bg1"/>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val>
            <c:numRef>
              <c:f>Sheet1!$B$2</c:f>
              <c:numCache>
                <c:formatCode>0%</c:formatCode>
                <c:ptCount val="1"/>
                <c:pt idx="0">
                  <c:v>0.35</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E769-419C-A6A0-6831813EE750}"/>
            </c:ext>
          </c:extLst>
        </c:ser>
        <c:ser>
          <c:idx val="1"/>
          <c:order val="1"/>
          <c:spPr>
            <a:solidFill>
              <a:srgbClr val="0070C0"/>
            </a:solidFill>
            <a:ln>
              <a:noFill/>
            </a:ln>
            <a:effectLst/>
          </c:spPr>
          <c:invertIfNegative val="0"/>
          <c:dLbls>
            <c:dLbl>
              <c:idx val="0"/>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lang="zh-CN" sz="1195" b="0" i="0" u="none" strike="noStrike" kern="1200" baseline="0" smtId="4294967295">
                    <a:solidFill>
                      <a:schemeClr val="bg1"/>
                    </a:solidFill>
                    <a:latin typeface="+mn-lt"/>
                    <a:ea typeface="+mn-ea"/>
                    <a:cs typeface="+mn-cs"/>
                  </a:defRPr>
                </a:pPr>
                <a:endParaRPr lang="zh-CN" sz="1195" b="0" i="0" u="none" strike="noStrike" kern="1200" baseline="0" smtId="4294967295">
                  <a:solidFill>
                    <a:schemeClr val="bg1"/>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E769-419C-A6A0-6831813EE750}"/>
            </c:ext>
          </c:extLst>
        </c:ser>
        <c:ser>
          <c:idx val="2"/>
          <c:order val="2"/>
          <c:spPr>
            <a:solidFill>
              <a:srgbClr val="00AEEF"/>
            </a:solidFill>
            <a:ln>
              <a:noFill/>
            </a:ln>
            <a:effectLst/>
          </c:spPr>
          <c:invertIfNegative val="0"/>
          <c:dPt>
            <c:idx val="0"/>
            <c:invertIfNegative val="0"/>
            <c:extLst>
              <c:ext xmlns:c16="http://schemas.microsoft.com/office/drawing/2014/chart" uri="{C3380CC4-5D6E-409C-BE32-E72D297353CC}">
                <c16:uniqueId val="{00000003-E769-419C-A6A0-6831813EE750}"/>
              </c:ext>
            </c:extLst>
          </c:dPt>
          <c:dLbls>
            <c:dLbl>
              <c:idx val="0"/>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lang="zh-CN" sz="1195" b="0" i="0" u="none" strike="noStrike" kern="1200" baseline="0" smtId="4294967295">
                    <a:solidFill>
                      <a:schemeClr val="bg1"/>
                    </a:solidFill>
                    <a:latin typeface="+mn-lt"/>
                    <a:ea typeface="+mn-ea"/>
                    <a:cs typeface="+mn-cs"/>
                  </a:defRPr>
                </a:pPr>
                <a:endParaRPr lang="zh-CN" sz="1195" b="0" i="0" u="none" strike="noStrike" kern="1200" baseline="0" smtId="4294967295">
                  <a:solidFill>
                    <a:schemeClr val="bg1"/>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val>
            <c:numRef>
              <c:f>Sheet1!$D$2</c:f>
              <c:numCache>
                <c:formatCode>0%</c:formatCode>
                <c:ptCount val="1"/>
                <c:pt idx="0">
                  <c:v>0.600000000000001</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E769-419C-A6A0-6831813EE750}"/>
            </c:ext>
          </c:extLst>
        </c:ser>
        <c:ser>
          <c:idx val="3"/>
          <c:order val="3"/>
          <c:spPr>
            <a:solidFill>
              <a:srgbClr val="0070C0"/>
            </a:solidFill>
            <a:ln>
              <a:noFill/>
            </a:ln>
            <a:effectLst/>
          </c:spPr>
          <c:invertIfNegative val="0"/>
          <c:dLbls>
            <c:dLbl>
              <c:idx val="0"/>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lang="zh-CN" sz="1195" b="0" i="0" u="none" strike="noStrike" kern="1200" baseline="0" smtId="4294967295">
                    <a:solidFill>
                      <a:schemeClr val="bg1"/>
                    </a:solidFill>
                    <a:latin typeface="+mn-lt"/>
                    <a:ea typeface="+mn-ea"/>
                    <a:cs typeface="+mn-cs"/>
                  </a:defRPr>
                </a:pPr>
                <a:endParaRPr lang="zh-CN" sz="1195" b="0" i="0" u="none" strike="noStrike" kern="1200" baseline="0" smtId="4294967295">
                  <a:solidFill>
                    <a:schemeClr val="bg1"/>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val>
            <c:numRef>
              <c:f>Sheet1!$E$2</c:f>
              <c:numCache>
                <c:formatCode>0%</c:formatCode>
                <c:ptCount val="1"/>
                <c:pt idx="0">
                  <c:v>0.8</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E769-419C-A6A0-6831813EE750}"/>
            </c:ext>
          </c:extLst>
        </c:ser>
        <c:ser>
          <c:idx val="4"/>
          <c:order val="4"/>
          <c:spPr>
            <a:solidFill>
              <a:srgbClr val="00AEEF"/>
            </a:solidFill>
            <a:ln>
              <a:noFill/>
            </a:ln>
            <a:effectLst/>
          </c:spPr>
          <c:invertIfNegative val="0"/>
          <c:dLbls>
            <c:dLbl>
              <c:idx val="0"/>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lang="zh-CN" sz="1195" b="0" i="0" u="none" strike="noStrike" kern="1200" baseline="0" smtId="4294967295">
                    <a:solidFill>
                      <a:schemeClr val="bg1"/>
                    </a:solidFill>
                    <a:latin typeface="+mn-lt"/>
                    <a:ea typeface="+mn-ea"/>
                    <a:cs typeface="+mn-cs"/>
                  </a:defRPr>
                </a:pPr>
                <a:endParaRPr lang="zh-CN" sz="1195" b="0" i="0" u="none" strike="noStrike" kern="1200" baseline="0" smtId="4294967295">
                  <a:solidFill>
                    <a:schemeClr val="bg1"/>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c:spPr>
                </c15:leaderLines>
              </c:ext>
            </c:extLst>
          </c:dLbls>
          <c:val>
            <c:numRef>
              <c:f>Sheet1!$F$2</c:f>
              <c:numCache>
                <c:formatCode>0%</c:formatCode>
                <c:ptCount val="1"/>
                <c:pt idx="0">
                  <c:v>0.600000000000001</c:v>
                </c:pt>
              </c:numCache>
            </c:numRef>
          </c:val>
          <c:extLs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6-E769-419C-A6A0-6831813EE750}"/>
            </c:ext>
          </c:extLst>
        </c:ser>
        <c:dLbls>
          <c:showLegendKey val="0"/>
          <c:showVal val="0"/>
          <c:showCatName val="0"/>
          <c:showSerName val="0"/>
          <c:showPercent val="0"/>
          <c:showBubbleSize val="0"/>
          <c:showLeaderLines val="0"/>
        </c:dLbls>
        <c:gapWidth val="110"/>
        <c:overlap val="-50"/>
        <c:axId val="325176304"/>
        <c:axId val="325176864"/>
      </c:barChart>
      <c:catAx>
        <c:axId val="325176304"/>
        <c:scaling>
          <c:orientation/>
        </c:scaling>
        <c:delete val="1"/>
        <c:axPos val="l"/>
        <c:numFmt formatCode="General" sourceLinked="1"/>
        <c:majorTickMark val="none"/>
        <c:minorTickMark val="none"/>
        <c:tickLblPos val="none"/>
        <c:crossAx val="325176864"/>
        <c:auto val="0"/>
        <c:lblAlgn val="ctr"/>
        <c:lblOffset/>
        <c:noMultiLvlLbl val="0"/>
      </c:catAx>
      <c:valAx>
        <c:axId val="325176864"/>
        <c:scaling>
          <c:orientation/>
        </c:scaling>
        <c:delete val="1"/>
        <c:axPos val="b"/>
        <c:numFmt formatCode="0%" sourceLinked="1"/>
        <c:majorTickMark val="none"/>
        <c:minorTickMark val="none"/>
        <c:tickLblPos val="none"/>
        <c:crossAx val="325176304"/>
        <c:crossBetween val="between"/>
      </c:valAx>
      <c:spPr>
        <a:noFill/>
        <a:ln>
          <a:noFill/>
        </a:ln>
        <a:effectLst/>
      </c:spPr>
    </c:plotArea>
    <c:plotVisOnly val="1"/>
    <c:dispBlanksAs val="gap"/>
    <c:showDLblsOverMax val="0"/>
  </c:chart>
  <c:spPr>
    <a:noFill/>
    <a:ln>
      <a:noFill/>
    </a:ln>
    <a:effectLst/>
  </c:spPr>
  <c:txPr>
    <a:bodyPr/>
    <a:p>
      <a:pPr>
        <a:defRPr lang="zh-CN" smtId="4294967295"/>
      </a:pPr>
      <a:endParaRPr lang="zh-CN" smtId="4294967295"/>
    </a:p>
  </c:txPr>
  <c:externalData r:id="rId1">
    <c:autoUpdate val="0"/>
  </c:externalData>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EABA-433E-823E-0203A4146DAD}"/>
            </c:ext>
          </c:extLst>
        </c:ser>
        <c:ser>
          <c:idx val="1"/>
          <c:order val="1"/>
          <c:spPr>
            <a:solidFill>
              <a:srgbClr val="00AEEF"/>
            </a:solidFill>
          </c:spPr>
          <c:invertIfNegative val="0"/>
          <c:val>
            <c:numRef>
              <c:f>Sheet1!$C$2:$C$5</c:f>
              <c:numCache>
                <c:formatCode>General</c:formatCode>
                <c:ptCount val="4"/>
                <c:pt idx="0">
                  <c:v>2.4</c:v>
                </c:pt>
                <c:pt idx="1">
                  <c:v>4.4</c:v>
                </c:pt>
                <c:pt idx="2">
                  <c:v>1.8</c:v>
                </c:pt>
                <c:pt idx="3">
                  <c:v>2.8</c:v>
                </c:pt>
              </c:numCache>
            </c:numRef>
          </c:val>
          <c:extLs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EABA-433E-823E-0203A4146DAD}"/>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EABA-433E-823E-0203A4146DAD}"/>
            </c:ext>
          </c:extLst>
        </c:ser>
        <c:dLbls>
          <c:showLegendKey val="0"/>
          <c:showVal val="0"/>
          <c:showCatName val="0"/>
          <c:showSerName val="0"/>
          <c:showPercent val="0"/>
          <c:showBubbleSize val="0"/>
          <c:showLeaderLines val="0"/>
        </c:dLbls>
        <c:gapWidth val="125"/>
        <c:overlap val="-25"/>
        <c:axId val="196445632"/>
        <c:axId val="196444512"/>
      </c:barChart>
      <c:catAx>
        <c:axId val="196445632"/>
        <c:scaling>
          <c:orientation/>
        </c:scaling>
        <c:delete val="0"/>
        <c:axPos val="b"/>
        <c:numFmt formatCode="General" sourceLinked="0"/>
        <c:majorTickMark val="none"/>
        <c:minorTickMark val="none"/>
        <c:txPr>
          <a:bodyPr rot="-60000000" spcFirstLastPara="0" vertOverflow="ellipsis" vert="horz" wrap="square" anchor="ctr" anchorCtr="1"/>
          <a:p>
            <a:pPr>
              <a:defRPr lang="zh-CN" sz="1400" b="0" i="0" u="none" strike="noStrike" kern="1200" baseline="0" smtId="4294967295">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sz="1400" b="0" i="0" u="none" strike="noStrike" kern="1200" baseline="0" smtId="4294967295">
              <a:solidFill>
                <a:schemeClr val="tx1">
                  <a:lumMod val="85000"/>
                  <a:lumOff val="15000"/>
                </a:schemeClr>
              </a:solidFill>
              <a:latin typeface="微软雅黑" panose="020b0503020204020204" pitchFamily="34" charset="-122"/>
              <a:ea typeface="微软雅黑" panose="020b0503020204020204" pitchFamily="34" charset="-122"/>
              <a:cs typeface="+mn-cs"/>
            </a:endParaRPr>
          </a:p>
        </c:txPr>
        <c:crossAx val="196444512"/>
        <c:crosses val="autoZero"/>
        <c:auto val="0"/>
        <c:lblAlgn val="ctr"/>
        <c:lblOffset/>
        <c:noMultiLvlLbl val="0"/>
      </c:catAx>
      <c:valAx>
        <c:axId val="196444512"/>
        <c:scaling>
          <c:orientation/>
        </c:scaling>
        <c:delete val="0"/>
        <c:axPos val="l"/>
        <c:majorGridlines/>
        <c:numFmt formatCode="General" sourceLinked="1"/>
        <c:majorTickMark val="none"/>
        <c:minorTickMark val="none"/>
        <c:txPr>
          <a:bodyPr rot="-60000000" spcFirstLastPara="0" vertOverflow="ellipsis" vert="horz" wrap="square" anchor="ctr" anchorCtr="1"/>
          <a:p>
            <a:pPr>
              <a:defRPr lang="zh-CN" sz="1800" b="0" i="0" u="none" strike="noStrike" kern="1200" baseline="0" smtId="4294967295">
                <a:solidFill>
                  <a:schemeClr val="bg1">
                    <a:lumMod val="85000"/>
                  </a:schemeClr>
                </a:solidFill>
                <a:latin typeface="+mn-lt"/>
                <a:ea typeface="+mn-ea"/>
                <a:cs typeface="+mn-cs"/>
              </a:defRPr>
            </a:pPr>
            <a:endParaRPr lang="zh-CN" sz="1800" b="0" i="0" u="none" strike="noStrike" kern="1200" baseline="0" smtId="4294967295">
              <a:solidFill>
                <a:schemeClr val="bg1">
                  <a:lumMod val="85000"/>
                </a:schemeClr>
              </a:solidFill>
              <a:latin typeface="+mn-lt"/>
              <a:ea typeface="+mn-ea"/>
              <a:cs typeface="+mn-cs"/>
            </a:endParaRPr>
          </a:p>
        </c:txPr>
        <c:crossAx val="196445632"/>
        <c:crosses val="autoZero"/>
        <c:crossBetween val="between"/>
      </c:valAx>
      <c:spPr>
        <a:ln>
          <a:noFill/>
        </a:ln>
      </c:spPr>
    </c:plotArea>
    <c:legend>
      <c:legendPos val="b"/>
      <c:overlay val="0"/>
      <c:txPr>
        <a:bodyPr rot="0" spcFirstLastPara="0" vertOverflow="ellipsis" vert="horz" wrap="square" anchor="ctr" anchorCtr="1"/>
        <a:p>
          <a:pPr>
            <a:defRPr lang="zh-CN" sz="1400" b="0" i="0" u="none" strike="noStrike" kern="1200" baseline="0" smtId="4294967295">
              <a:solidFill>
                <a:schemeClr val="bg1">
                  <a:lumMod val="85000"/>
                </a:schemeClr>
              </a:solidFill>
              <a:latin typeface="微软雅黑" panose="020b0503020204020204" pitchFamily="34" charset="-122"/>
              <a:ea typeface="微软雅黑" panose="020b0503020204020204" pitchFamily="34" charset="-122"/>
              <a:cs typeface="+mn-cs"/>
            </a:defRPr>
          </a:pPr>
          <a:endParaRPr lang="zh-CN" sz="1400" b="0" i="0" u="none" strike="noStrike" kern="1200" baseline="0" smtId="4294967295">
            <a:solidFill>
              <a:schemeClr val="bg1">
                <a:lumMod val="85000"/>
              </a:schemeClr>
            </a:solidFill>
            <a:latin typeface="微软雅黑" panose="020b0503020204020204" pitchFamily="34" charset="-122"/>
            <a:ea typeface="微软雅黑" panose="020b0503020204020204" pitchFamily="34" charset="-122"/>
            <a:cs typeface="+mn-cs"/>
          </a:endParaRPr>
        </a:p>
      </c:txPr>
    </c:legend>
    <c:plotVisOnly val="1"/>
    <c:dispBlanksAs val="gap"/>
    <c:showDLblsOverMax val="0"/>
  </c:chart>
  <c:txPr>
    <a:bodyPr/>
    <a:p>
      <a:pPr>
        <a:defRPr lang="zh-CN" sz="1800" smtId="4294967295"/>
      </a:pPr>
      <a:endParaRPr lang="zh-CN" sz="1800" smtId="4294967295"/>
    </a:p>
  </c:txPr>
  <c:externalData r:id="rId1">
    <c:autoUpdate val="0"/>
  </c:externalData>
</c:chartSpace>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bwMode="auto">
      <p:bgPr>
        <a:solidFill>
          <a:schemeClr val="bg1"/>
        </a:solidFill>
        <a:effectLst/>
      </p:bgPr>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pPr>
                <a:defRPr/>
              </a:pPr>
              <a:t>2017/12/13</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53CB15B2-6539-414E-885F-134AB7BAEF7A}" type="slidenum">
              <a:rPr altLang="en-US"/>
              <a:t>‹#›</a:t>
            </a:fld>
            <a:endParaRPr lang="zh-CN" altLang="en-US"/>
          </a:p>
        </p:txBody>
      </p:sp>
    </p:spTree>
    <p:extLst>
      <p:ext uri="{BB962C8B-B14F-4D97-AF65-F5344CB8AC3E}">
        <p14:creationId xmlns:p14="http://schemas.microsoft.com/office/powerpoint/2010/main" val="3152064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bwMode="auto">
      <p:bgPr>
        <a:solidFill>
          <a:schemeClr val="bg1"/>
        </a:solidFill>
        <a:effectLst/>
      </p:bgPr>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pPr>
                <a:defRPr/>
              </a:pPr>
              <a:t>2017/12/13</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a:solidFill>
                  <a:srgbClr val="FFFFFF"/>
                </a:solidFill>
              </a14:hiddenFill>
            </a:ext>
          </a:extLst>
        </p:spPr>
      </p:sp>
      <p:sp>
        <p:nvSpPr>
          <p:cNvPr id="3077" name="备注占位符 4"/>
          <p:cNvSpPr>
            <a:spLocks noGrp="1" noChangeArrowheads="1"/>
          </p:cNvSpPr>
          <p:nvPr>
            <p:ph type="body" sz="quarter" idx="6"/>
          </p:nvPr>
        </p:nvSpPr>
        <p:spPr bwMode="auto">
          <a:xfrm>
            <a:off x="685800" y="4343400"/>
            <a:ext cx="5486400" cy="411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noProof="1"/>
            </a:lvl1pPr>
          </a:lstStyle>
          <a:p>
            <a:fld id="{70CA4341-F6FF-475E-A543-0194832CB00B}" type="slidenum">
              <a:rPr altLang="en-US"/>
              <a:t>‹#›</a:t>
            </a:fld>
            <a:endParaRPr lang="zh-CN" altLang="en-US"/>
          </a:p>
        </p:txBody>
      </p:sp>
    </p:spTree>
    <p:extLst>
      <p:ext uri="{BB962C8B-B14F-4D97-AF65-F5344CB8AC3E}">
        <p14:creationId val="21218571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382" algn="l" rtl="0" eaLnBrk="0" fontAlgn="base" hangingPunct="0">
      <a:spcBef>
        <a:spcPct val="30000"/>
      </a:spcBef>
      <a:spcAft>
        <a:spcPct val="0"/>
      </a:spcAft>
      <a:defRPr sz="900" kern="1200">
        <a:solidFill>
          <a:schemeClr val="tx1"/>
        </a:solidFill>
        <a:latin typeface="+mn-lt"/>
        <a:ea typeface="+mn-ea"/>
        <a:cs typeface="+mn-cs"/>
      </a:defRPr>
    </a:lvl2pPr>
    <a:lvl3pPr marL="637874" algn="l" rtl="0" eaLnBrk="0" fontAlgn="base" hangingPunct="0">
      <a:spcBef>
        <a:spcPct val="30000"/>
      </a:spcBef>
      <a:spcAft>
        <a:spcPct val="0"/>
      </a:spcAft>
      <a:defRPr sz="900" kern="1200">
        <a:solidFill>
          <a:schemeClr val="tx1"/>
        </a:solidFill>
        <a:latin typeface="+mn-lt"/>
        <a:ea typeface="+mn-ea"/>
        <a:cs typeface="+mn-cs"/>
      </a:defRPr>
    </a:lvl3pPr>
    <a:lvl4pPr marL="957365" algn="l" rtl="0" eaLnBrk="0" fontAlgn="base" hangingPunct="0">
      <a:spcBef>
        <a:spcPct val="30000"/>
      </a:spcBef>
      <a:spcAft>
        <a:spcPct val="0"/>
      </a:spcAft>
      <a:defRPr sz="900" kern="1200">
        <a:solidFill>
          <a:schemeClr val="tx1"/>
        </a:solidFill>
        <a:latin typeface="+mn-lt"/>
        <a:ea typeface="+mn-ea"/>
        <a:cs typeface="+mn-cs"/>
      </a:defRPr>
    </a:lvl4pPr>
    <a:lvl5pPr marL="1276856" algn="l" rtl="0" eaLnBrk="0" fontAlgn="base" hangingPunct="0">
      <a:spcBef>
        <a:spcPct val="30000"/>
      </a:spcBef>
      <a:spcAft>
        <a:spcPct val="0"/>
      </a:spcAft>
      <a:defRPr sz="900" kern="1200">
        <a:solidFill>
          <a:schemeClr val="tx1"/>
        </a:solidFill>
        <a:latin typeface="+mn-lt"/>
        <a:ea typeface="+mn-ea"/>
        <a:cs typeface="+mn-cs"/>
      </a:defRPr>
    </a:lvl5pPr>
    <a:lvl6pPr marL="1597013" algn="l" defTabSz="638539" rtl="0" eaLnBrk="1" latinLnBrk="0" hangingPunct="1">
      <a:defRPr sz="900" kern="1200">
        <a:solidFill>
          <a:schemeClr val="tx1"/>
        </a:solidFill>
        <a:latin typeface="+mn-lt"/>
        <a:ea typeface="+mn-ea"/>
        <a:cs typeface="+mn-cs"/>
      </a:defRPr>
    </a:lvl6pPr>
    <a:lvl7pPr marL="1916504" algn="l" defTabSz="638539" rtl="0" eaLnBrk="1" latinLnBrk="0" hangingPunct="1">
      <a:defRPr sz="900" kern="1200">
        <a:solidFill>
          <a:schemeClr val="tx1"/>
        </a:solidFill>
        <a:latin typeface="+mn-lt"/>
        <a:ea typeface="+mn-ea"/>
        <a:cs typeface="+mn-cs"/>
      </a:defRPr>
    </a:lvl7pPr>
    <a:lvl8pPr marL="2235996" algn="l" defTabSz="638539" rtl="0" eaLnBrk="1" latinLnBrk="0" hangingPunct="1">
      <a:defRPr sz="900" kern="1200">
        <a:solidFill>
          <a:schemeClr val="tx1"/>
        </a:solidFill>
        <a:latin typeface="+mn-lt"/>
        <a:ea typeface="+mn-ea"/>
        <a:cs typeface="+mn-cs"/>
      </a:defRPr>
    </a:lvl8pPr>
    <a:lvl9pPr marL="2555487" algn="l" defTabSz="638539"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1.xml" Type="http://schemas.openxmlformats.org/officeDocument/2006/relationships/slide"/><Relationship Id="rId2" Target="../notesMasters/notesMaster1.xml" Type="http://schemas.openxmlformats.org/officeDocument/2006/relationships/notesMaster"/></Relationships>
</file>

<file path=ppt/notesSlides/_rels/notesSlide10.xml.rels><?xml version="1.0" encoding="UTF-8" standalone="yes"?><Relationships xmlns="http://schemas.openxmlformats.org/package/2006/relationships"><Relationship Id="rId1" Target="../slides/slide10.xml" Type="http://schemas.openxmlformats.org/officeDocument/2006/relationships/slide"/><Relationship Id="rId2" Target="../notesMasters/notesMaster1.xml" Type="http://schemas.openxmlformats.org/officeDocument/2006/relationships/notesMaster"/></Relationships>
</file>

<file path=ppt/notesSlides/_rels/notesSlide11.xml.rels><?xml version="1.0" encoding="UTF-8" standalone="yes"?><Relationships xmlns="http://schemas.openxmlformats.org/package/2006/relationships"><Relationship Id="rId1" Target="../slides/slide11.xml" Type="http://schemas.openxmlformats.org/officeDocument/2006/relationships/slide"/><Relationship Id="rId2" Target="../notesMasters/notesMaster1.xml" Type="http://schemas.openxmlformats.org/officeDocument/2006/relationships/notesMaster"/></Relationships>
</file>

<file path=ppt/notesSlides/_rels/notesSlide12.xml.rels><?xml version="1.0" encoding="UTF-8" standalone="yes"?><Relationships xmlns="http://schemas.openxmlformats.org/package/2006/relationships"><Relationship Id="rId1" Target="../slides/slide12.xml" Type="http://schemas.openxmlformats.org/officeDocument/2006/relationships/slide"/><Relationship Id="rId2" Target="../notesMasters/notesMaster1.xml" Type="http://schemas.openxmlformats.org/officeDocument/2006/relationships/notesMaster"/></Relationships>
</file>

<file path=ppt/notesSlides/_rels/notesSlide13.xml.rels><?xml version="1.0" encoding="UTF-8" standalone="yes"?><Relationships xmlns="http://schemas.openxmlformats.org/package/2006/relationships"><Relationship Id="rId1" Target="../slides/slide13.xml" Type="http://schemas.openxmlformats.org/officeDocument/2006/relationships/slide"/><Relationship Id="rId2" Target="../notesMasters/notesMaster1.xml" Type="http://schemas.openxmlformats.org/officeDocument/2006/relationships/notesMaster"/></Relationships>
</file>

<file path=ppt/notesSlides/_rels/notesSlide14.xml.rels><?xml version="1.0" encoding="UTF-8" standalone="yes"?><Relationships xmlns="http://schemas.openxmlformats.org/package/2006/relationships"><Relationship Id="rId1" Target="../slides/slide14.xml" Type="http://schemas.openxmlformats.org/officeDocument/2006/relationships/slide"/><Relationship Id="rId2" Target="../notesMasters/notesMaster1.xml" Type="http://schemas.openxmlformats.org/officeDocument/2006/relationships/notesMaster"/></Relationships>
</file>

<file path=ppt/notesSlides/_rels/notesSlide15.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16.xml.rels><?xml version="1.0" encoding="UTF-8" standalone="yes"?><Relationships xmlns="http://schemas.openxmlformats.org/package/2006/relationships"><Relationship Id="rId1" Target="../slides/slide16.xml" Type="http://schemas.openxmlformats.org/officeDocument/2006/relationships/slide"/><Relationship Id="rId2" Target="../notesMasters/notesMaster1.xml" Type="http://schemas.openxmlformats.org/officeDocument/2006/relationships/notesMaster"/></Relationships>
</file>

<file path=ppt/notesSlides/_rels/notesSlide17.xml.rels><?xml version="1.0" encoding="UTF-8" standalone="yes"?><Relationships xmlns="http://schemas.openxmlformats.org/package/2006/relationships"><Relationship Id="rId1" Target="../slides/slide17.xml" Type="http://schemas.openxmlformats.org/officeDocument/2006/relationships/slide"/><Relationship Id="rId2" Target="../notesMasters/notesMaster1.xml" Type="http://schemas.openxmlformats.org/officeDocument/2006/relationships/notesMaster"/></Relationships>
</file>

<file path=ppt/notesSlides/_rels/notesSlide18.xml.rels><?xml version="1.0" encoding="UTF-8" standalone="yes"?><Relationships xmlns="http://schemas.openxmlformats.org/package/2006/relationships"><Relationship Id="rId1" Target="../slides/slide18.xml" Type="http://schemas.openxmlformats.org/officeDocument/2006/relationships/slide"/><Relationship Id="rId2" Target="../notesMasters/notesMaster1.xml" Type="http://schemas.openxmlformats.org/officeDocument/2006/relationships/notesMaster"/></Relationships>
</file>

<file path=ppt/notesSlides/_rels/notesSlide19.xml.rels><?xml version="1.0" encoding="UTF-8" standalone="yes"?><Relationships xmlns="http://schemas.openxmlformats.org/package/2006/relationships"><Relationship Id="rId1" Target="../slides/slide19.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2.xml" Type="http://schemas.openxmlformats.org/officeDocument/2006/relationships/slide"/><Relationship Id="rId2" Target="../notesMasters/notesMaster1.xml" Type="http://schemas.openxmlformats.org/officeDocument/2006/relationships/notesMaster"/></Relationships>
</file>

<file path=ppt/notesSlides/_rels/notesSlide20.xml.rels><?xml version="1.0" encoding="UTF-8" standalone="yes"?><Relationships xmlns="http://schemas.openxmlformats.org/package/2006/relationships"><Relationship Id="rId1" Target="../slides/slide20.xml" Type="http://schemas.openxmlformats.org/officeDocument/2006/relationships/slide"/><Relationship Id="rId2" Target="../notesMasters/notesMaster1.xml" Type="http://schemas.openxmlformats.org/officeDocument/2006/relationships/notesMaster"/></Relationships>
</file>

<file path=ppt/notesSlides/_rels/notesSlide21.xml.rels><?xml version="1.0" encoding="UTF-8" standalone="yes"?><Relationships xmlns="http://schemas.openxmlformats.org/package/2006/relationships"><Relationship Id="rId1" Target="../slides/slide21.xml" Type="http://schemas.openxmlformats.org/officeDocument/2006/relationships/slide"/><Relationship Id="rId2" Target="../notesMasters/notesMaster1.xml" Type="http://schemas.openxmlformats.org/officeDocument/2006/relationships/notesMaster"/></Relationships>
</file>

<file path=ppt/notesSlides/_rels/notesSlide22.xml.rels><?xml version="1.0" encoding="UTF-8" standalone="yes"?><Relationships xmlns="http://schemas.openxmlformats.org/package/2006/relationships"><Relationship Id="rId1" Target="../slides/slide22.xml" Type="http://schemas.openxmlformats.org/officeDocument/2006/relationships/slide"/><Relationship Id="rId2" Target="../notesMasters/notesMaster1.xml" Type="http://schemas.openxmlformats.org/officeDocument/2006/relationships/notesMaster"/></Relationships>
</file>

<file path=ppt/notesSlides/_rels/notesSlide23.xml.rels><?xml version="1.0" encoding="UTF-8" standalone="yes"?><Relationships xmlns="http://schemas.openxmlformats.org/package/2006/relationships"><Relationship Id="rId1" Target="../slides/slide23.xml" Type="http://schemas.openxmlformats.org/officeDocument/2006/relationships/slide"/><Relationship Id="rId2" Target="../notesMasters/notesMaster1.xml" Type="http://schemas.openxmlformats.org/officeDocument/2006/relationships/notesMaster"/></Relationships>
</file>

<file path=ppt/notesSlides/_rels/notesSlide24.xml.rels><?xml version="1.0" encoding="UTF-8" standalone="yes"?><Relationships xmlns="http://schemas.openxmlformats.org/package/2006/relationships"><Relationship Id="rId1" Target="../slides/slide24.xml" Type="http://schemas.openxmlformats.org/officeDocument/2006/relationships/slide"/><Relationship Id="rId2" Target="../notesMasters/notesMaster1.xml" Type="http://schemas.openxmlformats.org/officeDocument/2006/relationships/notesMaster"/></Relationships>
</file>

<file path=ppt/notesSlides/_rels/notesSlide25.xml.rels><?xml version="1.0" encoding="UTF-8" standalone="yes"?><Relationships xmlns="http://schemas.openxmlformats.org/package/2006/relationships"><Relationship Id="rId1" Target="../slides/slide25.xml" Type="http://schemas.openxmlformats.org/officeDocument/2006/relationships/slide"/><Relationship Id="rId2" Target="../notesMasters/notesMaster1.xml" Type="http://schemas.openxmlformats.org/officeDocument/2006/relationships/notesMaster"/></Relationships>
</file>

<file path=ppt/notesSlides/_rels/notesSlide26.xml.rels><?xml version="1.0" encoding="UTF-8" standalone="yes"?><Relationships xmlns="http://schemas.openxmlformats.org/package/2006/relationships"><Relationship Id="rId1" Target="../slides/slide26.xml" Type="http://schemas.openxmlformats.org/officeDocument/2006/relationships/slide"/><Relationship Id="rId2" Target="../notesMasters/notesMaster1.xml" Type="http://schemas.openxmlformats.org/officeDocument/2006/relationships/notesMaster"/></Relationships>
</file>

<file path=ppt/notesSlides/_rels/notesSlide27.xml.rels><?xml version="1.0" encoding="UTF-8" standalone="yes"?><Relationships xmlns="http://schemas.openxmlformats.org/package/2006/relationships"><Relationship Id="rId1" Target="../slides/slide27.xml" Type="http://schemas.openxmlformats.org/officeDocument/2006/relationships/slide"/><Relationship Id="rId2" Target="../notesMasters/notesMaster1.xml" Type="http://schemas.openxmlformats.org/officeDocument/2006/relationships/notesMaster"/></Relationships>
</file>

<file path=ppt/notesSlides/_rels/notesSlide28.xml.rels><?xml version="1.0" encoding="UTF-8" standalone="yes"?><Relationships xmlns="http://schemas.openxmlformats.org/package/2006/relationships"><Relationship Id="rId1" Target="../slides/slide28.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3.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4.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5.xml" Type="http://schemas.openxmlformats.org/officeDocument/2006/relationships/slide"/><Relationship Id="rId2" Target="../notesMasters/notesMaster1.xml" Type="http://schemas.openxmlformats.org/officeDocument/2006/relationships/notesMaster"/></Relationships>
</file>

<file path=ppt/notesSlides/_rels/notesSlide6.xml.rels><?xml version="1.0" encoding="UTF-8" standalone="yes"?><Relationships xmlns="http://schemas.openxmlformats.org/package/2006/relationships"><Relationship Id="rId1" Target="../slides/slide6.xml" Type="http://schemas.openxmlformats.org/officeDocument/2006/relationships/slide"/><Relationship Id="rId2" Target="../notesMasters/notesMaster1.xml" Type="http://schemas.openxmlformats.org/officeDocument/2006/relationships/notesMaster"/></Relationships>
</file>

<file path=ppt/notesSlides/_rels/notesSlide7.xml.rels><?xml version="1.0" encoding="UTF-8" standalone="yes"?><Relationships xmlns="http://schemas.openxmlformats.org/package/2006/relationships"><Relationship Id="rId1" Target="../slides/slide7.xml" Type="http://schemas.openxmlformats.org/officeDocument/2006/relationships/slide"/><Relationship Id="rId2" Target="../notesMasters/notesMaster1.xml" Type="http://schemas.openxmlformats.org/officeDocument/2006/relationships/notesMaster"/></Relationships>
</file>

<file path=ppt/notesSlides/_rels/notesSlide8.xml.rels><?xml version="1.0" encoding="UTF-8" standalone="yes"?><Relationships xmlns="http://schemas.openxmlformats.org/package/2006/relationships"><Relationship Id="rId1" Target="../slides/slide8.xml" Type="http://schemas.openxmlformats.org/officeDocument/2006/relationships/slide"/><Relationship Id="rId2" Target="../notesMasters/notesMaster1.xml" Type="http://schemas.openxmlformats.org/officeDocument/2006/relationships/notesMaster"/></Relationships>
</file>

<file path=ppt/notesSlides/_rels/notesSlide9.xml.rels><?xml version="1.0" encoding="UTF-8" standalone="yes"?><Relationships xmlns="http://schemas.openxmlformats.org/package/2006/relationships"><Relationship Id="rId1" Target="../slides/slide9.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392138862"/>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783780782"/>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751271878"/>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591417649"/>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2654327"/>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666271154"/>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62769356"/>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623977688"/>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951633370"/>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203447491"/>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46380291"/>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061746544"/>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255216416"/>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146380022"/>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10764064"/>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105420410"/>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91761214"/>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437997499"/>
      </p:ext>
    </p:extLst>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38524800"/>
      </p:ext>
    </p:extLst>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302992264"/>
      </p:ext>
    </p:extLst>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031589145"/>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472930501"/>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253103317"/>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711989538"/>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148514510"/>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82150915"/>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662835792"/>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061676285"/>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pPr>
                <a:defRPr/>
              </a:pPr>
              <a:t>2017/12/13</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t>‹#›</a:t>
            </a:fld>
            <a:endParaRPr lang="zh-CN" altLang="en-US"/>
          </a:p>
        </p:txBody>
      </p:sp>
    </p:spTree>
    <p:extLst>
      <p:ext uri="{BB962C8B-B14F-4D97-AF65-F5344CB8AC3E}">
        <p14:creationId val="546349530"/>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a:p>
        </p:txBody>
      </p:sp>
      <p:sp>
        <p:nvSpPr>
          <p:cNvPr id="3" name="Content Placeholder 2"/>
          <p:cNvSpPr>
            <a:spLocks noGrp="1"/>
          </p:cNvSpPr>
          <p:nvPr>
            <p:ph idx="1"/>
          </p:nvPr>
        </p:nvSpPr>
        <p:spPr>
          <a:xfrm>
            <a:off x="3826650" y="725712"/>
            <a:ext cx="4556820"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28437409"/>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0000" y="336021"/>
            <a:ext cx="2903097" cy="1176073"/>
          </a:xfrm>
        </p:spPr>
        <p:txBody>
          <a:bodyPr anchor="b"/>
          <a:lstStyle>
            <a:lvl1pPr>
              <a:defRPr sz="2352"/>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26650" y="725712"/>
            <a:ext cx="4556820"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smtClean="0"/>
              <a:t>单击图标添加图片</a:t>
            </a:r>
            <a:endParaRPr lang="en-US"/>
          </a:p>
        </p:txBody>
      </p:sp>
      <p:sp>
        <p:nvSpPr>
          <p:cNvPr id="4" name="Text Placeholder 3"/>
          <p:cNvSpPr>
            <a:spLocks noGrp="1"/>
          </p:cNvSpPr>
          <p:nvPr>
            <p:ph type="body" sz="half" idx="2"/>
          </p:nvPr>
        </p:nvSpPr>
        <p:spPr>
          <a:xfrm>
            <a:off x="620000" y="1512094"/>
            <a:ext cx="2903097"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689927452"/>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938805353"/>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441430" y="268350"/>
            <a:ext cx="1940868" cy="4271432"/>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18827" y="268350"/>
            <a:ext cx="5710089" cy="427143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232476423"/>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Title Slide">
    <p:spTree>
      <p:nvGrpSpPr>
        <p:cNvPr id="1" name=""/>
        <p:cNvGrpSpPr/>
        <p:nvPr/>
      </p:nvGrpSpPr>
      <p:grpSpPr>
        <a:xfrm>
          <a:off x="0" y="0"/>
          <a: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pPr>
                <a:defRPr/>
              </a:pPr>
              <a:t>2017/12/13</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t>‹#›</a:t>
            </a:fld>
            <a:endParaRPr lang="zh-CN" altLang="en-US"/>
          </a:p>
        </p:txBody>
      </p:sp>
    </p:spTree>
    <p:extLst>
      <p:ext uri="{BB962C8B-B14F-4D97-AF65-F5344CB8AC3E}">
        <p14:creationId val="1846218167"/>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25141" y="824885"/>
            <a:ext cx="6750844" cy="1754776"/>
          </a:xfrm>
        </p:spPr>
        <p:txBody>
          <a:bodyPr anchor="b"/>
          <a:lstStyle>
            <a:lvl1pPr algn="ctr">
              <a:defRPr sz="4410"/>
            </a:lvl1pPr>
          </a:lstStyle>
          <a:p>
            <a:r>
              <a:rPr lang="zh-CN" altLang="en-US" smtClean="0"/>
              <a:t>单击此处编辑母版标题样式</a:t>
            </a:r>
            <a:endParaRPr lang="en-US"/>
          </a:p>
        </p:txBody>
      </p:sp>
      <p:sp>
        <p:nvSpPr>
          <p:cNvPr id="3" name="Subtitle 2"/>
          <p:cNvSpPr>
            <a:spLocks noGrp="1"/>
          </p:cNvSpPr>
          <p:nvPr>
            <p:ph type="subTitle" idx="1"/>
          </p:nvPr>
        </p:nvSpPr>
        <p:spPr>
          <a:xfrm>
            <a:off x="1125141" y="2647331"/>
            <a:ext cx="675084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855261148"/>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019027448"/>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14139" y="1256579"/>
            <a:ext cx="7763470" cy="2096630"/>
          </a:xfrm>
        </p:spPr>
        <p:txBody>
          <a:bodyPr anchor="b"/>
          <a:lstStyle>
            <a:lvl1pPr>
              <a:defRPr sz="441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14139" y="3373044"/>
            <a:ext cx="7763470"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799706599"/>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18827"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556820" y="1341750"/>
            <a:ext cx="3825478"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95312944"/>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0000" y="268350"/>
            <a:ext cx="7763470" cy="974228"/>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0000" y="1235577"/>
            <a:ext cx="3807897"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4" name="Content Placeholder 3"/>
          <p:cNvSpPr>
            <a:spLocks noGrp="1"/>
          </p:cNvSpPr>
          <p:nvPr>
            <p:ph sz="half" idx="2"/>
          </p:nvPr>
        </p:nvSpPr>
        <p:spPr>
          <a:xfrm>
            <a:off x="620000" y="1841114"/>
            <a:ext cx="3807897"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556819" y="1235577"/>
            <a:ext cx="3826651"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6" name="Content Placeholder 5"/>
          <p:cNvSpPr>
            <a:spLocks noGrp="1"/>
          </p:cNvSpPr>
          <p:nvPr>
            <p:ph sz="quarter" idx="4"/>
          </p:nvPr>
        </p:nvSpPr>
        <p:spPr>
          <a:xfrm>
            <a:off x="4556819" y="1841114"/>
            <a:ext cx="3826651"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313580873"/>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223096386"/>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12/13</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695313452"/>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theme/theme1.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3.xml" Type="http://schemas.openxmlformats.org/officeDocument/2006/relationships/slideLayout"/><Relationship Id="rId10" Target="../slideLayouts/slideLayout12.xml" Type="http://schemas.openxmlformats.org/officeDocument/2006/relationships/slideLayout"/><Relationship Id="rId11" Target="../slideLayouts/slideLayout13.xml" Type="http://schemas.openxmlformats.org/officeDocument/2006/relationships/slideLayout"/><Relationship Id="rId12" Target="../theme/theme2.xml" Type="http://schemas.openxmlformats.org/officeDocument/2006/relationships/theme"/><Relationship Id="rId2" Target="../slideLayouts/slideLayout4.xml" Type="http://schemas.openxmlformats.org/officeDocument/2006/relationships/slideLayout"/><Relationship Id="rId3" Target="../slideLayouts/slideLayout5.xml" Type="http://schemas.openxmlformats.org/officeDocument/2006/relationships/slideLayout"/><Relationship Id="rId4" Target="../slideLayouts/slideLayout6.xml" Type="http://schemas.openxmlformats.org/officeDocument/2006/relationships/slideLayout"/><Relationship Id="rId5" Target="../slideLayouts/slideLayout7.xml" Type="http://schemas.openxmlformats.org/officeDocument/2006/relationships/slideLayout"/><Relationship Id="rId6" Target="../slideLayouts/slideLayout8.xml" Type="http://schemas.openxmlformats.org/officeDocument/2006/relationships/slideLayout"/><Relationship Id="rId7" Target="../slideLayouts/slideLayout9.xml" Type="http://schemas.openxmlformats.org/officeDocument/2006/relationships/slideLayout"/><Relationship Id="rId8" Target="../slideLayouts/slideLayout10.xml" Type="http://schemas.openxmlformats.org/officeDocument/2006/relationships/slideLayout"/><Relationship Id="rId9" Target="../slideLayouts/slideLayout1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bwMode="auto">
      <p:bgPr>
        <a:gradFill flip="none" rotWithShape="1">
          <a:gsLst>
            <a:gs pos="0">
              <a:srgbClr val="0D2A4D"/>
            </a:gs>
            <a:gs pos="97000">
              <a:srgbClr val="000F21"/>
            </a:gs>
          </a:gsLst>
          <a:path path="circle">
            <a:fillToRect l="50000" t="50000" r="50000" b="50000"/>
          </a:path>
        </a:gradFill>
        <a:effectLst/>
      </p:bgPr>
    </p:bg>
    <p:spTree>
      <p:nvGrpSpPr>
        <p:cNvPr id="1" name=""/>
        <p:cNvGrpSpPr/>
        <p:nvPr/>
      </p:nvGrpSpPr>
      <p:grpSpPr>
        <a:xfrm>
          <a:off x="0" y="0"/>
          <a: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vert="horz" wrap="square" lIns="63898" tIns="31949" rIns="63898" bIns="31949" numCol="1" anchor="ctr" anchorCtr="0" compatLnSpc="1">
            <a:prstTxWarp prst="textNoShape">
              <a:avLst/>
            </a:prstTxWarp>
          </a:bodyPr>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vert="horz" wrap="square" lIns="63898" tIns="31949" rIns="63898" bIns="31949" numCol="1" anchor="t" anchorCtr="0" compatLnSpc="1">
            <a:prstTxWarp prst="textNoShape">
              <a:avLst/>
            </a:prstTxWarp>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pPr>
                <a:defRPr/>
              </a:pPr>
              <a:t>2017/12/13</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prstTxWarp prst="textNoShape">
              <a:avLst/>
            </a:prstTxWarp>
          </a:bodyPr>
          <a:lstStyle>
            <a:lvl1pPr algn="r" eaLnBrk="1" hangingPunct="1">
              <a:defRPr sz="800" noProof="1">
                <a:solidFill>
                  <a:srgbClr val="898989"/>
                </a:solidFill>
              </a:defRPr>
            </a:lvl1pPr>
          </a:lstStyle>
          <a:p>
            <a:fld id="{481A012C-3782-4128-B36B-91F05AF1EE8F}" type="slidenum">
              <a:rPr altLang="en-US"/>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ransition/>
  <p:timing/>
  <p:txStyles>
    <p:titleStyle>
      <a:lvl1pPr algn="l" defTabSz="67337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373"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91"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983"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474"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7965" algn="l" defTabSz="673373"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620" indent="-168620" algn="l" defTabSz="673373" rtl="0" eaLnBrk="0" fontAlgn="base" hangingPunct="0">
        <a:lnSpc>
          <a:spcPct val="90000"/>
        </a:lnSpc>
        <a:spcBef>
          <a:spcPts val="734"/>
        </a:spcBef>
        <a:spcAft>
          <a:spcPct val="0"/>
        </a:spcAft>
        <a:buFont typeface="Arial" pitchFamily="34" charset="0"/>
        <a:buChar char="•"/>
        <a:defRPr sz="2000" kern="1200">
          <a:solidFill>
            <a:schemeClr val="tx1"/>
          </a:solidFill>
          <a:latin typeface="+mn-lt"/>
          <a:ea typeface="+mn-ea"/>
          <a:cs typeface="+mn-cs"/>
        </a:defRPr>
      </a:lvl1pPr>
      <a:lvl2pPr marL="505861" indent="-168620" algn="l" defTabSz="673373" rtl="0" eaLnBrk="0" fontAlgn="base" hangingPunct="0">
        <a:lnSpc>
          <a:spcPct val="90000"/>
        </a:lnSpc>
        <a:spcBef>
          <a:spcPts val="367"/>
        </a:spcBef>
        <a:spcAft>
          <a:spcPct val="0"/>
        </a:spcAft>
        <a:buFont typeface="Arial" pitchFamily="34" charset="0"/>
        <a:buChar char="•"/>
        <a:defRPr sz="1700" kern="1200">
          <a:solidFill>
            <a:schemeClr val="tx1"/>
          </a:solidFill>
          <a:latin typeface="+mn-lt"/>
          <a:ea typeface="+mn-ea"/>
          <a:cs typeface="+mn-cs"/>
        </a:defRPr>
      </a:lvl2pPr>
      <a:lvl3pPr marL="841993" indent="-168620" algn="l" defTabSz="673373" rtl="0" eaLnBrk="0" fontAlgn="base" hangingPunct="0">
        <a:lnSpc>
          <a:spcPct val="90000"/>
        </a:lnSpc>
        <a:spcBef>
          <a:spcPts val="367"/>
        </a:spcBef>
        <a:spcAft>
          <a:spcPct val="0"/>
        </a:spcAft>
        <a:buFont typeface="Arial" pitchFamily="34" charset="0"/>
        <a:buChar char="•"/>
        <a:defRPr sz="1500" kern="1200">
          <a:solidFill>
            <a:schemeClr val="tx1"/>
          </a:solidFill>
          <a:latin typeface="+mn-lt"/>
          <a:ea typeface="+mn-ea"/>
          <a:cs typeface="+mn-cs"/>
        </a:defRPr>
      </a:lvl3pPr>
      <a:lvl4pPr marL="1179234"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4pPr>
      <a:lvl5pPr marL="1516475" indent="-168620" algn="l" defTabSz="673373" rtl="0" eaLnBrk="0" fontAlgn="base" hangingPunct="0">
        <a:lnSpc>
          <a:spcPct val="90000"/>
        </a:lnSpc>
        <a:spcBef>
          <a:spcPts val="367"/>
        </a:spcBef>
        <a:spcAft>
          <a:spcPct val="0"/>
        </a:spcAft>
        <a:buFont typeface="Arial" pitchFamily="34" charset="0"/>
        <a:buChar char="•"/>
        <a:defRPr sz="1300" kern="1200">
          <a:solidFill>
            <a:schemeClr val="tx1"/>
          </a:solidFill>
          <a:latin typeface="+mn-lt"/>
          <a:ea typeface="+mn-ea"/>
          <a:cs typeface="+mn-cs"/>
        </a:defRPr>
      </a:lvl5pPr>
      <a:lvl6pPr marL="1853050" indent="-168620" algn="l" defTabSz="673594" rtl="0" eaLnBrk="1" latinLnBrk="0" hangingPunct="1">
        <a:lnSpc>
          <a:spcPct val="90000"/>
        </a:lnSpc>
        <a:spcBef>
          <a:spcPts val="367"/>
        </a:spcBef>
        <a:buFont typeface="Arial" pitchFamily="34" charset="0"/>
        <a:buChar char="•"/>
        <a:defRPr sz="1300" kern="1200">
          <a:solidFill>
            <a:schemeClr val="tx1"/>
          </a:solidFill>
          <a:latin typeface="+mn-lt"/>
          <a:ea typeface="+mn-ea"/>
          <a:cs typeface="+mn-cs"/>
        </a:defRPr>
      </a:lvl6pPr>
      <a:lvl7pPr marL="2190291" indent="-168620" algn="l" defTabSz="673594" rtl="0" eaLnBrk="1" latinLnBrk="0" hangingPunct="1">
        <a:lnSpc>
          <a:spcPct val="90000"/>
        </a:lnSpc>
        <a:spcBef>
          <a:spcPts val="367"/>
        </a:spcBef>
        <a:buFont typeface="Arial" pitchFamily="34" charset="0"/>
        <a:buChar char="•"/>
        <a:defRPr sz="1300" kern="1200">
          <a:solidFill>
            <a:schemeClr val="tx1"/>
          </a:solidFill>
          <a:latin typeface="+mn-lt"/>
          <a:ea typeface="+mn-ea"/>
          <a:cs typeface="+mn-cs"/>
        </a:defRPr>
      </a:lvl7pPr>
      <a:lvl8pPr marL="2527088" indent="-168620" algn="l" defTabSz="673594" rtl="0" eaLnBrk="1" latinLnBrk="0" hangingPunct="1">
        <a:lnSpc>
          <a:spcPct val="90000"/>
        </a:lnSpc>
        <a:spcBef>
          <a:spcPts val="367"/>
        </a:spcBef>
        <a:buFont typeface="Arial" pitchFamily="34" charset="0"/>
        <a:buChar char="•"/>
        <a:defRPr sz="1300" kern="1200">
          <a:solidFill>
            <a:schemeClr val="tx1"/>
          </a:solidFill>
          <a:latin typeface="+mn-lt"/>
          <a:ea typeface="+mn-ea"/>
          <a:cs typeface="+mn-cs"/>
        </a:defRPr>
      </a:lvl8pPr>
      <a:lvl9pPr marL="2863885" indent="-168620" algn="l" defTabSz="673594" rtl="0" eaLnBrk="1" latinLnBrk="0" hangingPunct="1">
        <a:lnSpc>
          <a:spcPct val="90000"/>
        </a:lnSpc>
        <a:spcBef>
          <a:spcPts val="367"/>
        </a:spcBef>
        <a:buFont typeface="Arial" pitchFamily="34" charset="0"/>
        <a:buChar char="•"/>
        <a:defRPr sz="1300" kern="1200">
          <a:solidFill>
            <a:schemeClr val="tx1"/>
          </a:solidFill>
          <a:latin typeface="+mn-lt"/>
          <a:ea typeface="+mn-ea"/>
          <a:cs typeface="+mn-cs"/>
        </a:defRPr>
      </a:lvl9pPr>
    </p:bodyStyle>
    <p:otherStyle>
      <a:defPPr>
        <a:defRPr lang="en-US"/>
      </a:defPPr>
      <a:lvl1pPr marL="0" algn="l" defTabSz="673594" rtl="0" eaLnBrk="1" latinLnBrk="0" hangingPunct="1">
        <a:defRPr sz="1300" kern="1200">
          <a:solidFill>
            <a:schemeClr val="tx1"/>
          </a:solidFill>
          <a:latin typeface="+mn-lt"/>
          <a:ea typeface="+mn-ea"/>
          <a:cs typeface="+mn-cs"/>
        </a:defRPr>
      </a:lvl1pPr>
      <a:lvl2pPr marL="336797" algn="l" defTabSz="673594" rtl="0" eaLnBrk="1" latinLnBrk="0" hangingPunct="1">
        <a:defRPr sz="1300" kern="1200">
          <a:solidFill>
            <a:schemeClr val="tx1"/>
          </a:solidFill>
          <a:latin typeface="+mn-lt"/>
          <a:ea typeface="+mn-ea"/>
          <a:cs typeface="+mn-cs"/>
        </a:defRPr>
      </a:lvl2pPr>
      <a:lvl3pPr marL="674038" algn="l" defTabSz="673594" rtl="0" eaLnBrk="1" latinLnBrk="0" hangingPunct="1">
        <a:defRPr sz="1300" kern="1200">
          <a:solidFill>
            <a:schemeClr val="tx1"/>
          </a:solidFill>
          <a:latin typeface="+mn-lt"/>
          <a:ea typeface="+mn-ea"/>
          <a:cs typeface="+mn-cs"/>
        </a:defRPr>
      </a:lvl3pPr>
      <a:lvl4pPr marL="1010835" algn="l" defTabSz="673594" rtl="0" eaLnBrk="1" latinLnBrk="0" hangingPunct="1">
        <a:defRPr sz="1300" kern="1200">
          <a:solidFill>
            <a:schemeClr val="tx1"/>
          </a:solidFill>
          <a:latin typeface="+mn-lt"/>
          <a:ea typeface="+mn-ea"/>
          <a:cs typeface="+mn-cs"/>
        </a:defRPr>
      </a:lvl4pPr>
      <a:lvl5pPr marL="1347632" algn="l" defTabSz="673594" rtl="0" eaLnBrk="1" latinLnBrk="0" hangingPunct="1">
        <a:defRPr sz="1300" kern="1200">
          <a:solidFill>
            <a:schemeClr val="tx1"/>
          </a:solidFill>
          <a:latin typeface="+mn-lt"/>
          <a:ea typeface="+mn-ea"/>
          <a:cs typeface="+mn-cs"/>
        </a:defRPr>
      </a:lvl5pPr>
      <a:lvl6pPr marL="1684873" algn="l" defTabSz="673594" rtl="0" eaLnBrk="1" latinLnBrk="0" hangingPunct="1">
        <a:defRPr sz="1300" kern="1200">
          <a:solidFill>
            <a:schemeClr val="tx1"/>
          </a:solidFill>
          <a:latin typeface="+mn-lt"/>
          <a:ea typeface="+mn-ea"/>
          <a:cs typeface="+mn-cs"/>
        </a:defRPr>
      </a:lvl6pPr>
      <a:lvl7pPr marL="2021670" algn="l" defTabSz="673594" rtl="0" eaLnBrk="1" latinLnBrk="0" hangingPunct="1">
        <a:defRPr sz="1300" kern="1200">
          <a:solidFill>
            <a:schemeClr val="tx1"/>
          </a:solidFill>
          <a:latin typeface="+mn-lt"/>
          <a:ea typeface="+mn-ea"/>
          <a:cs typeface="+mn-cs"/>
        </a:defRPr>
      </a:lvl7pPr>
      <a:lvl8pPr marL="2358467" algn="l" defTabSz="673594" rtl="0" eaLnBrk="1" latinLnBrk="0" hangingPunct="1">
        <a:defRPr sz="1300" kern="1200">
          <a:solidFill>
            <a:schemeClr val="tx1"/>
          </a:solidFill>
          <a:latin typeface="+mn-lt"/>
          <a:ea typeface="+mn-ea"/>
          <a:cs typeface="+mn-cs"/>
        </a:defRPr>
      </a:lvl8pPr>
      <a:lvl9pPr marL="2695265" algn="l" defTabSz="673594"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618828" y="268350"/>
            <a:ext cx="7763470" cy="974228"/>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18828" y="1341750"/>
            <a:ext cx="7763470" cy="319803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18827" y="4671624"/>
            <a:ext cx="2025253" cy="268350"/>
          </a:xfrm>
          <a:prstGeom prst="rect">
            <a:avLst/>
          </a:prstGeom>
        </p:spPr>
        <p:txBody>
          <a:bodyPr vert="horz" lIns="91440" tIns="45720" rIns="91440" bIns="45720" rtlCol="0" anchor="ctr"/>
          <a:lstStyle>
            <a:lvl1pPr algn="l">
              <a:defRPr sz="882">
                <a:solidFill>
                  <a:schemeClr val="tx1">
                    <a:tint val="75000"/>
                  </a:schemeClr>
                </a:solidFill>
              </a:defRPr>
            </a:lvl1pPr>
          </a:lstStyle>
          <a:p>
            <a:pPr eaLnBrk="1" fontAlgn="auto" hangingPunct="1">
              <a:spcBef>
                <a:spcPct val="0"/>
              </a:spcBef>
              <a:spcAft>
                <a:spcPct val="0"/>
              </a:spcAft>
            </a:pPr>
            <a:fld id="{16E5758D-A3C3-4E88-8AC0-22500507BD7E}" type="datetimeFigureOut">
              <a:rPr lang="zh-CN" altLang="en-US" smtClean="0">
                <a:solidFill>
                  <a:prstClr val="black">
                    <a:tint val="75000"/>
                  </a:prstClr>
                </a:solidFill>
                <a:latin typeface="Calibri"/>
              </a:rPr>
              <a:pPr eaLnBrk="1" fontAlgn="auto" hangingPunct="1">
                <a:spcBef>
                  <a:spcPct val="0"/>
                </a:spcBef>
                <a:spcAft>
                  <a:spcPct val="0"/>
                </a:spcAft>
              </a:pPr>
              <a:t>2017/12/13</a:t>
            </a:fld>
            <a:endParaRPr lang="zh-CN" altLang="en-US">
              <a:solidFill>
                <a:prstClr val="black">
                  <a:tint val="75000"/>
                </a:prstClr>
              </a:solidFill>
              <a:latin typeface="Calibri"/>
            </a:endParaRPr>
          </a:p>
        </p:txBody>
      </p:sp>
      <p:sp>
        <p:nvSpPr>
          <p:cNvPr id="5" name="Footer Placeholder 4"/>
          <p:cNvSpPr>
            <a:spLocks noGrp="1"/>
          </p:cNvSpPr>
          <p:nvPr>
            <p:ph type="ftr" sz="quarter" idx="3"/>
          </p:nvPr>
        </p:nvSpPr>
        <p:spPr>
          <a:xfrm>
            <a:off x="2981623" y="4671624"/>
            <a:ext cx="3037880" cy="268350"/>
          </a:xfrm>
          <a:prstGeom prst="rect">
            <a:avLst/>
          </a:prstGeom>
        </p:spPr>
        <p:txBody>
          <a:bodyPr vert="horz" lIns="91440" tIns="45720" rIns="91440" bIns="45720" rtlCol="0" anchor="ctr"/>
          <a:lstStyle>
            <a:lvl1pPr algn="ctr">
              <a:defRPr sz="882">
                <a:solidFill>
                  <a:schemeClr val="tx1">
                    <a:tint val="75000"/>
                  </a:schemeClr>
                </a:solidFill>
              </a:defRPr>
            </a:lvl1pPr>
          </a:lstStyle>
          <a:p>
            <a:pPr eaLnBrk="1" fontAlgn="auto" hangingPunct="1">
              <a:spcBef>
                <a:spcPct val="0"/>
              </a:spcBef>
              <a:spcAft>
                <a:spcPct val="0"/>
              </a:spcAft>
            </a:pPr>
            <a:endParaRPr lang="zh-CN" alt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357045" y="4671624"/>
            <a:ext cx="2025253" cy="268350"/>
          </a:xfrm>
          <a:prstGeom prst="rect">
            <a:avLst/>
          </a:prstGeom>
        </p:spPr>
        <p:txBody>
          <a:bodyPr vert="horz" lIns="91440" tIns="45720" rIns="91440" bIns="45720" rtlCol="0" anchor="ctr"/>
          <a:lstStyle>
            <a:lvl1pPr algn="r">
              <a:defRPr sz="882">
                <a:solidFill>
                  <a:schemeClr val="tx1">
                    <a:tint val="75000"/>
                  </a:schemeClr>
                </a:solidFill>
              </a:defRPr>
            </a:lvl1pPr>
          </a:lstStyle>
          <a:p>
            <a:pPr eaLnBrk="1" fontAlgn="auto" hangingPunct="1">
              <a:spcBef>
                <a:spcPct val="0"/>
              </a:spcBef>
              <a:spcAft>
                <a:spcPct val="0"/>
              </a:spcAft>
            </a:pPr>
            <a:fld id="{AA4E786F-588D-4932-A7B2-AE3451FA4ACA}" type="slidenum">
              <a:rPr lang="zh-CN" altLang="en-US" smtClean="0">
                <a:solidFill>
                  <a:prstClr val="black">
                    <a:tint val="75000"/>
                  </a:prstClr>
                </a:solidFill>
                <a:latin typeface="Calibri"/>
              </a:rPr>
              <a:pPr eaLnBrk="1" fontAlgn="auto" hangingPunct="1">
                <a:spcBef>
                  <a:spcPct val="0"/>
                </a:spcBef>
                <a:spcAft>
                  <a:spcPct val="0"/>
                </a:spcAft>
              </a:pPr>
              <a:t>‹#›</a:t>
            </a:fld>
            <a:endParaRPr lang="zh-CN" altLang="en-US">
              <a:solidFill>
                <a:prstClr val="black">
                  <a:tint val="75000"/>
                </a:prstClr>
              </a:solidFill>
              <a:latin typeface="Calibri"/>
            </a:endParaRPr>
          </a:p>
        </p:txBody>
      </p:sp>
    </p:spTree>
    <p:extLst>
      <p:ext uri="{BB962C8B-B14F-4D97-AF65-F5344CB8AC3E}">
        <p14:creationId val="127896378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ransition/>
  <p:timing/>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1.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0.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1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1.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12.xml.rels><?xml version="1.0" encoding="UTF-8" standalone="yes"?><Relationships xmlns="http://schemas.openxmlformats.org/package/2006/relationships"><Relationship Id="rId1" Target="../slideLayouts/slideLayout1.xml" Type="http://schemas.openxmlformats.org/officeDocument/2006/relationships/slideLayout"/><Relationship Id="rId10" Target="../tags/tag2.xml" Type="http://schemas.openxmlformats.org/officeDocument/2006/relationships/tags"/><Relationship Id="rId2" Target="../notesSlides/notesSlide12.xml" Type="http://schemas.openxmlformats.org/officeDocument/2006/relationships/notesSlide"/><Relationship Id="rId3" Target="../media/image4.png" Type="http://schemas.openxmlformats.org/officeDocument/2006/relationships/image"/><Relationship Id="rId4" Target="../media/image5.png" Type="http://schemas.openxmlformats.org/officeDocument/2006/relationships/image"/><Relationship Id="rId5" Target="../media/image6.png" Type="http://schemas.openxmlformats.org/officeDocument/2006/relationships/image"/><Relationship Id="rId6" Target="../media/image7.png" Type="http://schemas.openxmlformats.org/officeDocument/2006/relationships/image"/><Relationship Id="rId7" Target="../media/image3.png" Type="http://schemas.openxmlformats.org/officeDocument/2006/relationships/image"/><Relationship Id="rId8" Target="../media/media1.mp3" Type="http://schemas.openxmlformats.org/officeDocument/2006/relationships/audio"/><Relationship Id="rId9" Target="../media/media1.mp3" Type="http://schemas.microsoft.com/office/2007/relationships/media"/></Relationships>
</file>

<file path=ppt/slides/_rels/slide1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3.xml" Type="http://schemas.openxmlformats.org/officeDocument/2006/relationships/notesSlide"/><Relationship Id="rId3" Target="../charts/chart2.xml" Type="http://schemas.openxmlformats.org/officeDocument/2006/relationships/chart"/><Relationship Id="rId4" Target="../media/image3.png" Type="http://schemas.openxmlformats.org/officeDocument/2006/relationships/image"/><Relationship Id="rId5" Target="../media/media1.mp3" Type="http://schemas.openxmlformats.org/officeDocument/2006/relationships/audio"/><Relationship Id="rId6" Target="../media/media1.mp3" Type="http://schemas.microsoft.com/office/2007/relationships/media"/></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4.xml" Type="http://schemas.openxmlformats.org/officeDocument/2006/relationships/notesSlide"/><Relationship Id="rId3" Target="../media/image2.pn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5.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1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6.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1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7.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 Id="rId6" Target="../tags/tag3.xml" Type="http://schemas.openxmlformats.org/officeDocument/2006/relationships/tags"/></Relationships>
</file>

<file path=ppt/slides/_rels/slide1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8.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1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9.xml" Type="http://schemas.openxmlformats.org/officeDocument/2006/relationships/notesSlide"/><Relationship Id="rId3" Target="../media/image2.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 Id="rId3" Target="../media/image2.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0.xml" Type="http://schemas.openxmlformats.org/officeDocument/2006/relationships/notesSlide"/><Relationship Id="rId3" Target="../media/image8.jpeg" Type="http://schemas.openxmlformats.org/officeDocument/2006/relationships/image"/><Relationship Id="rId4" Target="../media/image9.jpeg" Type="http://schemas.openxmlformats.org/officeDocument/2006/relationships/image"/><Relationship Id="rId5" Target="../media/image3.png" Type="http://schemas.openxmlformats.org/officeDocument/2006/relationships/image"/><Relationship Id="rId6" Target="../media/media1.mp3" Type="http://schemas.openxmlformats.org/officeDocument/2006/relationships/audio"/><Relationship Id="rId7" Target="../media/media1.mp3" Type="http://schemas.microsoft.com/office/2007/relationships/media"/></Relationships>
</file>

<file path=ppt/slides/_rels/slide2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1.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 Id="rId6" Target="../tags/tag4.xml" Type="http://schemas.openxmlformats.org/officeDocument/2006/relationships/tags"/></Relationships>
</file>

<file path=ppt/slides/_rels/slide2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2.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2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3.xml" Type="http://schemas.openxmlformats.org/officeDocument/2006/relationships/notesSlide"/><Relationship Id="rId3" Target="../media/image10.png" Type="http://schemas.openxmlformats.org/officeDocument/2006/relationships/image"/><Relationship Id="rId4" Target="../media/image11.png" Type="http://schemas.openxmlformats.org/officeDocument/2006/relationships/image"/><Relationship Id="rId5" Target="../media/image12.png" Type="http://schemas.openxmlformats.org/officeDocument/2006/relationships/image"/><Relationship Id="rId6" Target="../tags/tag5.xml" Type="http://schemas.openxmlformats.org/officeDocument/2006/relationships/tags"/><Relationship Id="rId7" Target="../media/image3.png" Type="http://schemas.openxmlformats.org/officeDocument/2006/relationships/image"/><Relationship Id="rId8" Target="../media/media1.mp3" Type="http://schemas.openxmlformats.org/officeDocument/2006/relationships/audio"/><Relationship Id="rId9" Target="../media/media1.mp3" Type="http://schemas.microsoft.com/office/2007/relationships/media"/></Relationships>
</file>

<file path=ppt/slides/_rels/slide24.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4.xml" Type="http://schemas.openxmlformats.org/officeDocument/2006/relationships/notesSlide"/><Relationship Id="rId3" Target="../media/image2.pn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5.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2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6.xml" Type="http://schemas.openxmlformats.org/officeDocument/2006/relationships/notesSlide"/><Relationship Id="rId3" Target="../media/image13.png" Type="http://schemas.openxmlformats.org/officeDocument/2006/relationships/image"/><Relationship Id="rId4" Target="../media/image14.png" Type="http://schemas.openxmlformats.org/officeDocument/2006/relationships/image"/><Relationship Id="rId5" Target="../media/image3.png" Type="http://schemas.openxmlformats.org/officeDocument/2006/relationships/image"/><Relationship Id="rId6" Target="../media/media1.mp3" Type="http://schemas.openxmlformats.org/officeDocument/2006/relationships/audio"/><Relationship Id="rId7" Target="../media/media1.mp3" Type="http://schemas.microsoft.com/office/2007/relationships/media"/></Relationships>
</file>

<file path=ppt/slides/_rels/slide2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7.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2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8.xml" Type="http://schemas.openxmlformats.org/officeDocument/2006/relationships/notesSlide"/><Relationship Id="rId3" Target="../media/image1.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3.xml" Type="http://schemas.openxmlformats.org/officeDocument/2006/relationships/notesSlide"/><Relationship Id="rId3" Target="../media/image2.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 Id="rId3" Target="../media/image3.png" Type="http://schemas.openxmlformats.org/officeDocument/2006/relationships/image"/><Relationship Id="rId4" Target="../media/media1.mp3" Type="http://schemas.openxmlformats.org/officeDocument/2006/relationships/audio"/><Relationship Id="rId5" Target="../media/media1.mp3" Type="http://schemas.microsoft.com/office/2007/relationships/media"/></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 Id="rId3" Target="../charts/chart1.xml" Type="http://schemas.openxmlformats.org/officeDocument/2006/relationships/chart"/></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6.xml" Type="http://schemas.openxmlformats.org/officeDocument/2006/relationships/notesSlide"/><Relationship Id="rId3" Target="../tags/tag1.xml" Type="http://schemas.openxmlformats.org/officeDocument/2006/relationships/tags"/></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8.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9.xml" Type="http://schemas.openxmlformats.org/officeDocument/2006/relationships/notesSlide"/><Relationship Id="rId3" Target="../media/image2.pn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bg>
      <p:bgPr>
        <a:blipFill dpi="0" rotWithShape="1">
          <a:blip r:embed="rId3">
            <a:lum/>
          </a:blip>
          <a:stretch>
            <a:fillRect l="-1000" r="-1000"/>
          </a:stretch>
        </a:blipFill>
        <a:effectLst/>
      </p:bgPr>
    </p:bg>
    <p:spTree>
      <p:nvGrpSpPr>
        <p:cNvPr id="1" name=""/>
        <p:cNvGrpSpPr/>
        <p:nvPr/>
      </p:nvGrpSpPr>
      <p:grpSpPr>
        <a:xfrm>
          <a:off x="0" y="0"/>
          <a:ext cx="0" cy="0"/>
        </a:xfrm>
      </p:grpSpPr>
      <p:sp>
        <p:nvSpPr>
          <p:cNvPr id="2" name="TextBox 4"/>
          <p:cNvSpPr txBox="1"/>
          <p:nvPr/>
        </p:nvSpPr>
        <p:spPr>
          <a:xfrm>
            <a:off x="6732749" y="1872102"/>
            <a:ext cx="1706880" cy="914400"/>
          </a:xfrm>
          <a:prstGeom prst="rect">
            <a:avLst/>
          </a:prstGeom>
          <a:noFill/>
        </p:spPr>
        <p:txBody>
          <a:bodyPr rtlCol="0" wrap="none">
            <a:spAutoFit/>
          </a:bodyPr>
          <a:lstStyle/>
          <a:p>
            <a:r>
              <a:rPr altLang="zh-CN" lang="en-US" spc="300" sz="5400">
                <a:solidFill>
                  <a:schemeClr val="bg1"/>
                </a:solidFill>
                <a:latin charset="-122" panose="02010600030101010101" pitchFamily="2" typeface="黑体"/>
                <a:ea charset="-122" panose="02010600030101010101" pitchFamily="2" typeface="黑体"/>
              </a:rPr>
              <a:t>2018</a:t>
            </a:r>
          </a:p>
        </p:txBody>
      </p:sp>
      <p:sp>
        <p:nvSpPr>
          <p:cNvPr id="3" name="TextBox 5"/>
          <p:cNvSpPr txBox="1"/>
          <p:nvPr/>
        </p:nvSpPr>
        <p:spPr>
          <a:xfrm>
            <a:off x="3762280" y="2655461"/>
            <a:ext cx="4653280" cy="579120"/>
          </a:xfrm>
          <a:prstGeom prst="rect">
            <a:avLst/>
          </a:prstGeom>
          <a:noFill/>
        </p:spPr>
        <p:txBody>
          <a:bodyPr rtlCol="0" wrap="none">
            <a:spAutoFit/>
          </a:bodyPr>
          <a:lstStyle/>
          <a:p>
            <a:r>
              <a:rPr altLang="en-US" lang="zh-CN" sz="3200">
                <a:solidFill>
                  <a:srgbClr val="00AEEF"/>
                </a:solidFill>
                <a:latin charset="-122" panose="02010600030101010101" pitchFamily="2" typeface="黑体"/>
                <a:ea charset="-122" panose="02010600030101010101" pitchFamily="2" typeface="黑体"/>
              </a:rPr>
              <a:t>大数据/电子商务/互联网</a:t>
            </a:r>
          </a:p>
        </p:txBody>
      </p:sp>
      <p:sp>
        <p:nvSpPr>
          <p:cNvPr id="4" name="TextBox 6"/>
          <p:cNvSpPr txBox="1"/>
          <p:nvPr/>
        </p:nvSpPr>
        <p:spPr>
          <a:xfrm>
            <a:off x="4428556" y="3163872"/>
            <a:ext cx="3980180" cy="289560"/>
          </a:xfrm>
          <a:prstGeom prst="rect">
            <a:avLst/>
          </a:prstGeom>
          <a:noFill/>
        </p:spPr>
        <p:txBody>
          <a:bodyPr rtlCol="0" wrap="none">
            <a:spAutoFit/>
          </a:bodyPr>
          <a:lstStyle/>
          <a:p>
            <a:r>
              <a:rPr altLang="zh-CN" lang="en-US" sz="1300">
                <a:solidFill>
                  <a:schemeClr val="bg1"/>
                </a:solidFill>
                <a:latin charset="-122" panose="02010600030101010101" pitchFamily="2" typeface="黑体"/>
                <a:ea charset="-122" panose="02010600030101010101" pitchFamily="2" typeface="黑体"/>
              </a:rPr>
              <a:t>Big data / Internet / e-commerce ppt templates</a:t>
            </a: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324529" y="3672284"/>
            <a:ext cx="4094480" cy="335280"/>
          </a:xfrm>
          <a:prstGeom prst="rect">
            <a:avLst/>
          </a:prstGeom>
          <a:noFill/>
        </p:spPr>
        <p:txBody>
          <a:bodyPr rtlCol="0" wrap="none">
            <a:spAutoFit/>
          </a:bodyPr>
          <a:lstStyle/>
          <a:p>
            <a:pPr algn="r"/>
            <a:r>
              <a:rPr altLang="zh-CN" lang="en-US" sz="800">
                <a:solidFill>
                  <a:schemeClr val="bg1"/>
                </a:solidFill>
                <a:latin charset="-122" panose="02010600030101010101" pitchFamily="2" typeface="黑体"/>
                <a:ea charset="-122" panose="02010600030101010101" pitchFamily="2" typeface="黑体"/>
              </a:rPr>
              <a:t>A collection of data that can not be caught, managed, and processed by conven</a:t>
            </a:r>
          </a:p>
          <a:p>
            <a:pPr algn="r"/>
            <a:r>
              <a:rPr altLang="zh-CN" lang="en-US" sz="800">
                <a:solidFill>
                  <a:schemeClr val="bg1"/>
                </a:solidFill>
                <a:latin charset="-122" panose="02010600030101010101" pitchFamily="2" typeface="黑体"/>
                <a:ea charset="-122" panose="02010600030101010101" pitchFamily="2" typeface="黑体"/>
              </a:rPr>
              <a:t>tional software tools within a given time scale.</a:t>
            </a:r>
          </a:p>
        </p:txBody>
      </p:sp>
    </p:spTree>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2" id="5" nodeType="afterEffect" presetClass="entr" presetID="10" presetSubtype="0">
                                  <p:stCondLst>
                                    <p:cond delay="0"/>
                                  </p:stCondLst>
                                  <p:childTnLst>
                                    <p:set>
                                      <p:cBhvr>
                                        <p:cTn dur="1" fill="hold" id="6">
                                          <p:stCondLst>
                                            <p:cond delay="0"/>
                                          </p:stCondLst>
                                        </p:cTn>
                                        <p:tgtEl>
                                          <p:spTgt spid="2"/>
                                        </p:tgtEl>
                                        <p:attrNameLst>
                                          <p:attrName>style.visibility</p:attrName>
                                        </p:attrNameLst>
                                      </p:cBhvr>
                                      <p:to>
                                        <p:strVal val="visible"/>
                                      </p:to>
                                    </p:set>
                                    <p:animEffect filter="fade" transition="in">
                                      <p:cBhvr>
                                        <p:cTn dur="500" id="7"/>
                                        <p:tgtEl>
                                          <p:spTgt spid="2"/>
                                        </p:tgtEl>
                                      </p:cBhvr>
                                    </p:animEffect>
                                  </p:childTnLst>
                                </p:cTn>
                              </p:par>
                            </p:childTnLst>
                          </p:cTn>
                        </p:par>
                        <p:par>
                          <p:cTn fill="hold" id="8" nodeType="afterGroup">
                            <p:stCondLst>
                              <p:cond delay="500"/>
                            </p:stCondLst>
                            <p:childTnLst>
                              <p:par>
                                <p:cTn fill="hold" grpId="0" id="9" nodeType="afterEffect" presetClass="emph" presetID="35" presetSubtype="0">
                                  <p:stCondLst>
                                    <p:cond delay="0"/>
                                  </p:stCondLst>
                                  <p:childTnLst>
                                    <p:anim calcmode="discrete" valueType="str">
                                      <p:cBhvr>
                                        <p:cTn dur="1000" fill="hold" id="10"/>
                                        <p:tgtEl>
                                          <p:spTgt spid="2"/>
                                        </p:tgtEl>
                                        <p:attrNameLst>
                                          <p:attrName>style.visibility</p:attrName>
                                        </p:attrNameLst>
                                      </p:cBhvr>
                                      <p:tavLst>
                                        <p:tav tm="0">
                                          <p:val>
                                            <p:strVal val="hidden"/>
                                          </p:val>
                                        </p:tav>
                                        <p:tav tm="50000">
                                          <p:val>
                                            <p:strVal val="visible"/>
                                          </p:val>
                                        </p:tav>
                                      </p:tavLst>
                                    </p:anim>
                                  </p:childTnLst>
                                </p:cTn>
                              </p:par>
                            </p:childTnLst>
                          </p:cTn>
                        </p:par>
                        <p:par>
                          <p:cTn fill="hold" id="11" nodeType="afterGroup">
                            <p:stCondLst>
                              <p:cond delay="1500"/>
                            </p:stCondLst>
                            <p:childTnLst>
                              <p:par>
                                <p:cTn fill="hold" grpId="1" id="12" nodeType="afterEffect" presetClass="emph" presetID="35" presetSubtype="0">
                                  <p:stCondLst>
                                    <p:cond delay="0"/>
                                  </p:stCondLst>
                                  <p:childTnLst>
                                    <p:anim calcmode="discrete" valueType="str">
                                      <p:cBhvr>
                                        <p:cTn dur="1000" fill="hold" id="13"/>
                                        <p:tgtEl>
                                          <p:spTgt spid="2"/>
                                        </p:tgtEl>
                                        <p:attrNameLst>
                                          <p:attrName>style.visibility</p:attrName>
                                        </p:attrNameLst>
                                      </p:cBhvr>
                                      <p:tavLst>
                                        <p:tav tm="0">
                                          <p:val>
                                            <p:strVal val="hidden"/>
                                          </p:val>
                                        </p:tav>
                                        <p:tav tm="50000">
                                          <p:val>
                                            <p:strVal val="visible"/>
                                          </p:val>
                                        </p:tav>
                                      </p:tavLst>
                                    </p:anim>
                                  </p:childTnLst>
                                </p:cTn>
                              </p:par>
                            </p:childTnLst>
                          </p:cTn>
                        </p:par>
                        <p:par>
                          <p:cTn fill="hold" id="14" nodeType="afterGroup">
                            <p:stCondLst>
                              <p:cond delay="2500"/>
                            </p:stCondLst>
                            <p:childTnLst>
                              <p:par>
                                <p:cTn fill="hold" grpId="0" id="15" nodeType="afterEffect" presetClass="entr" presetID="41" presetSubtype="0">
                                  <p:stCondLst>
                                    <p:cond delay="0"/>
                                  </p:stCondLst>
                                  <p:iterate type="lt">
                                    <p:tmPct val="10000"/>
                                  </p:iterate>
                                  <p:childTnLst>
                                    <p:set>
                                      <p:cBhvr>
                                        <p:cTn dur="1" fill="hold" id="16">
                                          <p:stCondLst>
                                            <p:cond delay="0"/>
                                          </p:stCondLst>
                                        </p:cTn>
                                        <p:tgtEl>
                                          <p:spTgt spid="3"/>
                                        </p:tgtEl>
                                        <p:attrNameLst>
                                          <p:attrName>style.visibility</p:attrName>
                                        </p:attrNameLst>
                                      </p:cBhvr>
                                      <p:to>
                                        <p:strVal val="visible"/>
                                      </p:to>
                                    </p:set>
                                    <p:anim calcmode="lin" valueType="num">
                                      <p:cBhvr>
                                        <p:cTn dur="500" fill="hold" id="17"/>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8"/>
                                        <p:tgtEl>
                                          <p:spTgt spid="3"/>
                                        </p:tgtEl>
                                        <p:attrNameLst>
                                          <p:attrName>ppt_y</p:attrName>
                                        </p:attrNameLst>
                                      </p:cBhvr>
                                      <p:tavLst>
                                        <p:tav tm="0">
                                          <p:val>
                                            <p:strVal val="#ppt_y"/>
                                          </p:val>
                                        </p:tav>
                                        <p:tav tm="100000">
                                          <p:val>
                                            <p:strVal val="#ppt_y"/>
                                          </p:val>
                                        </p:tav>
                                      </p:tavLst>
                                    </p:anim>
                                    <p:anim calcmode="lin" valueType="num">
                                      <p:cBhvr>
                                        <p:cTn dur="500" fill="hold" id="19"/>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20"/>
                                        <p:tgtEl>
                                          <p:spTgt spid="3"/>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21" tmFilter="0,0; .5, 1; 1, 1"/>
                                        <p:tgtEl>
                                          <p:spTgt spid="3"/>
                                        </p:tgtEl>
                                      </p:cBhvr>
                                    </p:animEffect>
                                  </p:childTnLst>
                                </p:cTn>
                              </p:par>
                            </p:childTnLst>
                          </p:cTn>
                        </p:par>
                        <p:par>
                          <p:cTn fill="hold" id="22" nodeType="afterGroup">
                            <p:stCondLst>
                              <p:cond delay="3000"/>
                            </p:stCondLst>
                            <p:childTnLst>
                              <p:par>
                                <p:cTn fill="hold" grpId="1" id="23" nodeType="afterEffect" presetClass="emph" presetID="26" presetSubtype="0">
                                  <p:stCondLst>
                                    <p:cond delay="0"/>
                                  </p:stCondLst>
                                  <p:iterate type="lt">
                                    <p:tmPct val="0"/>
                                  </p:iterate>
                                  <p:childTnLst>
                                    <p:animEffect filter="fade" transition="out">
                                      <p:cBhvr>
                                        <p:cTn dur="500" id="24" tmFilter="0, 0; .2, .5; .8, .5; 1, 0"/>
                                        <p:tgtEl>
                                          <p:spTgt spid="3"/>
                                        </p:tgtEl>
                                      </p:cBhvr>
                                    </p:animEffect>
                                    <p:animScale>
                                      <p:cBhvr>
                                        <p:cTn autoRev="1" dur="250" fill="hold" id="25"/>
                                        <p:tgtEl>
                                          <p:spTgt spid="3"/>
                                        </p:tgtEl>
                                      </p:cBhvr>
                                      <p:by x="105000" y="105000"/>
                                    </p:animScale>
                                  </p:childTnLst>
                                </p:cTn>
                              </p:par>
                            </p:childTnLst>
                          </p:cTn>
                        </p:par>
                        <p:par>
                          <p:cTn fill="hold" id="26" nodeType="afterGroup">
                            <p:stCondLst>
                              <p:cond delay="3500"/>
                            </p:stCondLst>
                            <p:childTnLst>
                              <p:par>
                                <p:cTn fill="hold" grpId="0" id="27" nodeType="afterEffect" presetClass="entr" presetID="41" presetSubtype="0">
                                  <p:stCondLst>
                                    <p:cond delay="0"/>
                                  </p:stCondLst>
                                  <p:iterate type="lt">
                                    <p:tmPct val="10000"/>
                                  </p:iterate>
                                  <p:childTnLst>
                                    <p:set>
                                      <p:cBhvr>
                                        <p:cTn dur="1" fill="hold" id="28">
                                          <p:stCondLst>
                                            <p:cond delay="0"/>
                                          </p:stCondLst>
                                        </p:cTn>
                                        <p:tgtEl>
                                          <p:spTgt spid="4"/>
                                        </p:tgtEl>
                                        <p:attrNameLst>
                                          <p:attrName>style.visibility</p:attrName>
                                        </p:attrNameLst>
                                      </p:cBhvr>
                                      <p:to>
                                        <p:strVal val="visible"/>
                                      </p:to>
                                    </p:set>
                                    <p:anim calcmode="lin" valueType="num">
                                      <p:cBhvr>
                                        <p:cTn dur="400" fill="hold" id="29"/>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dur="400" fill="hold" id="30"/>
                                        <p:tgtEl>
                                          <p:spTgt spid="4"/>
                                        </p:tgtEl>
                                        <p:attrNameLst>
                                          <p:attrName>ppt_y</p:attrName>
                                        </p:attrNameLst>
                                      </p:cBhvr>
                                      <p:tavLst>
                                        <p:tav tm="0">
                                          <p:val>
                                            <p:strVal val="#ppt_y"/>
                                          </p:val>
                                        </p:tav>
                                        <p:tav tm="100000">
                                          <p:val>
                                            <p:strVal val="#ppt_y"/>
                                          </p:val>
                                        </p:tav>
                                      </p:tavLst>
                                    </p:anim>
                                    <p:anim calcmode="lin" valueType="num">
                                      <p:cBhvr>
                                        <p:cTn dur="400" fill="hold" id="31"/>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dur="400" fill="hold" id="32"/>
                                        <p:tgtEl>
                                          <p:spTgt spid="4"/>
                                        </p:tgtEl>
                                        <p:attrNameLst>
                                          <p:attrName>ppt_w</p:attrName>
                                        </p:attrNameLst>
                                      </p:cBhvr>
                                      <p:tavLst>
                                        <p:tav tm="0">
                                          <p:val>
                                            <p:strVal val="#ppt_w/10"/>
                                          </p:val>
                                        </p:tav>
                                        <p:tav tm="50000">
                                          <p:val>
                                            <p:strVal val="#ppt_w+.01"/>
                                          </p:val>
                                        </p:tav>
                                        <p:tav tm="100000">
                                          <p:val>
                                            <p:strVal val="#ppt_w"/>
                                          </p:val>
                                        </p:tav>
                                      </p:tavLst>
                                    </p:anim>
                                    <p:animEffect filter="fade" transition="in">
                                      <p:cBhvr>
                                        <p:cTn dur="400" id="33" tmFilter="0,0; .5, 1; 1, 1"/>
                                        <p:tgtEl>
                                          <p:spTgt spid="4"/>
                                        </p:tgtEl>
                                      </p:cBhvr>
                                    </p:animEffect>
                                  </p:childTnLst>
                                </p:cTn>
                              </p:par>
                            </p:childTnLst>
                          </p:cTn>
                        </p:par>
                        <p:par>
                          <p:cTn fill="hold" id="34" nodeType="afterGroup">
                            <p:stCondLst>
                              <p:cond delay="3900"/>
                            </p:stCondLst>
                            <p:childTnLst>
                              <p:par>
                                <p:cTn fill="hold" id="35" nodeType="afterEffect" presetClass="entr" presetID="22" presetSubtype="8">
                                  <p:stCondLst>
                                    <p:cond delay="0"/>
                                  </p:stCondLst>
                                  <p:childTnLst>
                                    <p:set>
                                      <p:cBhvr>
                                        <p:cTn dur="1" fill="hold" id="36">
                                          <p:stCondLst>
                                            <p:cond delay="0"/>
                                          </p:stCondLst>
                                        </p:cTn>
                                        <p:tgtEl>
                                          <p:spTgt spid="5"/>
                                        </p:tgtEl>
                                        <p:attrNameLst>
                                          <p:attrName>style.visibility</p:attrName>
                                        </p:attrNameLst>
                                      </p:cBhvr>
                                      <p:to>
                                        <p:strVal val="visible"/>
                                      </p:to>
                                    </p:set>
                                    <p:animEffect filter="wipe(left)" transition="in">
                                      <p:cBhvr>
                                        <p:cTn dur="500" id="37"/>
                                        <p:tgtEl>
                                          <p:spTgt spid="5"/>
                                        </p:tgtEl>
                                      </p:cBhvr>
                                    </p:animEffect>
                                  </p:childTnLst>
                                </p:cTn>
                              </p:par>
                            </p:childTnLst>
                          </p:cTn>
                        </p:par>
                        <p:par>
                          <p:cTn fill="hold" id="38" nodeType="afterGroup">
                            <p:stCondLst>
                              <p:cond delay="4400"/>
                            </p:stCondLst>
                            <p:childTnLst>
                              <p:par>
                                <p:cTn fill="hold" grpId="0" id="39" nodeType="afterEffect" presetClass="entr" presetID="42" presetSubtype="0">
                                  <p:stCondLst>
                                    <p:cond delay="0"/>
                                  </p:stCondLst>
                                  <p:childTnLst>
                                    <p:set>
                                      <p:cBhvr>
                                        <p:cTn dur="1" fill="hold" id="40">
                                          <p:stCondLst>
                                            <p:cond delay="0"/>
                                          </p:stCondLst>
                                        </p:cTn>
                                        <p:tgtEl>
                                          <p:spTgt spid="6"/>
                                        </p:tgtEl>
                                        <p:attrNameLst>
                                          <p:attrName>style.visibility</p:attrName>
                                        </p:attrNameLst>
                                      </p:cBhvr>
                                      <p:to>
                                        <p:strVal val="visible"/>
                                      </p:to>
                                    </p:set>
                                    <p:animEffect filter="fade" transition="in">
                                      <p:cBhvr>
                                        <p:cTn dur="1000" id="41"/>
                                        <p:tgtEl>
                                          <p:spTgt spid="6"/>
                                        </p:tgtEl>
                                      </p:cBhvr>
                                    </p:animEffect>
                                    <p:anim calcmode="lin" valueType="num">
                                      <p:cBhvr>
                                        <p:cTn dur="1000" fill="hold" id="42"/>
                                        <p:tgtEl>
                                          <p:spTgt spid="6"/>
                                        </p:tgtEl>
                                        <p:attrNameLst>
                                          <p:attrName>ppt_x</p:attrName>
                                        </p:attrNameLst>
                                      </p:cBhvr>
                                      <p:tavLst>
                                        <p:tav tm="0">
                                          <p:val>
                                            <p:strVal val="#ppt_x"/>
                                          </p:val>
                                        </p:tav>
                                        <p:tav tm="100000">
                                          <p:val>
                                            <p:strVal val="#ppt_x"/>
                                          </p:val>
                                        </p:tav>
                                      </p:tavLst>
                                    </p:anim>
                                    <p:anim calcmode="lin" valueType="num">
                                      <p:cBhvr>
                                        <p:cTn dur="1000" fill="hold" id="43"/>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1" spid="2"/>
      <p:bldP grpId="2" spid="2"/>
      <p:bldP grpId="0" spid="3"/>
      <p:bldP grpId="1" spid="3"/>
      <p:bldP grpId="0" spid="4"/>
      <p:bldP grpId="0" spid="6"/>
    </p:bldLst>
  </p:timing>
  <p:extLst mod="1">
    <p:ext uri="{E180D4A7-C9FB-4DFB-919C-405C955672EB}">
      <p14:showEvtLst>
        <p14:playEvt objId="7" time="1"/>
      </p14:showEvtLst>
    </p:ext>
  </p:extLst>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3" name="Freeform 6"/>
          <p:cNvSpPr/>
          <p:nvPr/>
        </p:nvSpPr>
        <p:spPr bwMode="auto">
          <a:xfrm>
            <a:off x="4351267" y="1755243"/>
            <a:ext cx="576815" cy="913035"/>
          </a:xfrm>
          <a:custGeom>
            <a:gdLst>
              <a:gd fmla="*/ 647 w 647" name="T0"/>
              <a:gd fmla="*/ 0 h 1043" name="T1"/>
              <a:gd fmla="*/ 0 w 647" name="T2"/>
              <a:gd fmla="*/ 290 h 1043" name="T3"/>
              <a:gd fmla="*/ 0 w 647" name="T4"/>
              <a:gd fmla="*/ 1043 h 1043" name="T5"/>
              <a:gd fmla="*/ 647 w 647" name="T6"/>
              <a:gd fmla="*/ 396 h 1043" name="T7"/>
              <a:gd fmla="*/ 647 w 647" name="T8"/>
              <a:gd fmla="*/ 0 h 1043" name="T9"/>
            </a:gdLst>
            <a:cxnLst>
              <a:cxn ang="0">
                <a:pos x="T0" y="T1"/>
              </a:cxn>
              <a:cxn ang="0">
                <a:pos x="T2" y="T3"/>
              </a:cxn>
              <a:cxn ang="0">
                <a:pos x="T4" y="T5"/>
              </a:cxn>
              <a:cxn ang="0">
                <a:pos x="T6" y="T7"/>
              </a:cxn>
              <a:cxn ang="0">
                <a:pos x="T8" y="T9"/>
              </a:cxn>
            </a:cxnLst>
            <a:rect b="b" l="0" r="r" t="0"/>
            <a:pathLst>
              <a:path h="1043" w="647">
                <a:moveTo>
                  <a:pt x="647" y="0"/>
                </a:moveTo>
                <a:lnTo>
                  <a:pt x="0" y="290"/>
                </a:lnTo>
                <a:lnTo>
                  <a:pt x="0" y="1043"/>
                </a:lnTo>
                <a:lnTo>
                  <a:pt x="647" y="396"/>
                </a:lnTo>
                <a:lnTo>
                  <a:pt x="647"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54" name="Freeform 8"/>
          <p:cNvSpPr/>
          <p:nvPr/>
        </p:nvSpPr>
        <p:spPr bwMode="auto">
          <a:xfrm>
            <a:off x="3774452" y="1755243"/>
            <a:ext cx="576815" cy="913035"/>
          </a:xfrm>
          <a:custGeom>
            <a:gdLst>
              <a:gd fmla="*/ 0 w 647" name="T0"/>
              <a:gd fmla="*/ 0 h 1043" name="T1"/>
              <a:gd fmla="*/ 647 w 647" name="T2"/>
              <a:gd fmla="*/ 290 h 1043" name="T3"/>
              <a:gd fmla="*/ 647 w 647" name="T4"/>
              <a:gd fmla="*/ 1043 h 1043" name="T5"/>
              <a:gd fmla="*/ 0 w 647" name="T6"/>
              <a:gd fmla="*/ 396 h 1043" name="T7"/>
              <a:gd fmla="*/ 0 w 647" name="T8"/>
              <a:gd fmla="*/ 0 h 1043" name="T9"/>
            </a:gdLst>
            <a:cxnLst>
              <a:cxn ang="0">
                <a:pos x="T0" y="T1"/>
              </a:cxn>
              <a:cxn ang="0">
                <a:pos x="T2" y="T3"/>
              </a:cxn>
              <a:cxn ang="0">
                <a:pos x="T4" y="T5"/>
              </a:cxn>
              <a:cxn ang="0">
                <a:pos x="T6" y="T7"/>
              </a:cxn>
              <a:cxn ang="0">
                <a:pos x="T8" y="T9"/>
              </a:cxn>
            </a:cxnLst>
            <a:rect b="b" l="0" r="r" t="0"/>
            <a:pathLst>
              <a:path h="1043" w="647">
                <a:moveTo>
                  <a:pt x="0" y="0"/>
                </a:moveTo>
                <a:lnTo>
                  <a:pt x="647" y="290"/>
                </a:lnTo>
                <a:lnTo>
                  <a:pt x="647" y="1043"/>
                </a:lnTo>
                <a:lnTo>
                  <a:pt x="0" y="396"/>
                </a:lnTo>
                <a:lnTo>
                  <a:pt x="0"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55" name="Freeform 10"/>
          <p:cNvSpPr/>
          <p:nvPr/>
        </p:nvSpPr>
        <p:spPr bwMode="auto">
          <a:xfrm>
            <a:off x="4440422" y="2755817"/>
            <a:ext cx="927185" cy="566380"/>
          </a:xfrm>
          <a:custGeom>
            <a:gdLst>
              <a:gd fmla="*/ 1040 w 1040" name="T0"/>
              <a:gd fmla="*/ 647 h 647" name="T1"/>
              <a:gd fmla="*/ 753 w 1040" name="T2"/>
              <a:gd fmla="*/ 0 h 647" name="T3"/>
              <a:gd fmla="*/ 0 w 1040" name="T4"/>
              <a:gd fmla="*/ 0 h 647" name="T5"/>
              <a:gd fmla="*/ 647 w 1040" name="T6"/>
              <a:gd fmla="*/ 647 h 647" name="T7"/>
              <a:gd fmla="*/ 1040 w 1040" name="T8"/>
              <a:gd fmla="*/ 647 h 647" name="T9"/>
            </a:gdLst>
            <a:cxnLst>
              <a:cxn ang="0">
                <a:pos x="T0" y="T1"/>
              </a:cxn>
              <a:cxn ang="0">
                <a:pos x="T2" y="T3"/>
              </a:cxn>
              <a:cxn ang="0">
                <a:pos x="T4" y="T5"/>
              </a:cxn>
              <a:cxn ang="0">
                <a:pos x="T6" y="T7"/>
              </a:cxn>
              <a:cxn ang="0">
                <a:pos x="T8" y="T9"/>
              </a:cxn>
            </a:cxnLst>
            <a:rect b="b" l="0" r="r" t="0"/>
            <a:pathLst>
              <a:path h="647" w="1040">
                <a:moveTo>
                  <a:pt x="1040" y="647"/>
                </a:moveTo>
                <a:lnTo>
                  <a:pt x="753" y="0"/>
                </a:lnTo>
                <a:lnTo>
                  <a:pt x="0" y="0"/>
                </a:lnTo>
                <a:lnTo>
                  <a:pt x="647" y="647"/>
                </a:lnTo>
                <a:lnTo>
                  <a:pt x="1040" y="647"/>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56" name="Freeform 12"/>
          <p:cNvSpPr/>
          <p:nvPr/>
        </p:nvSpPr>
        <p:spPr bwMode="auto">
          <a:xfrm>
            <a:off x="4440422" y="2186812"/>
            <a:ext cx="927185" cy="569005"/>
          </a:xfrm>
          <a:custGeom>
            <a:gdLst>
              <a:gd fmla="*/ 1040 w 1040" name="T0"/>
              <a:gd fmla="*/ 0 h 650" name="T1"/>
              <a:gd fmla="*/ 753 w 1040" name="T2"/>
              <a:gd fmla="*/ 650 h 650" name="T3"/>
              <a:gd fmla="*/ 0 w 1040" name="T4"/>
              <a:gd fmla="*/ 650 h 650" name="T5"/>
              <a:gd fmla="*/ 647 w 1040" name="T6"/>
              <a:gd fmla="*/ 0 h 650" name="T7"/>
              <a:gd fmla="*/ 1040 w 1040" name="T8"/>
              <a:gd fmla="*/ 0 h 650" name="T9"/>
            </a:gdLst>
            <a:cxnLst>
              <a:cxn ang="0">
                <a:pos x="T0" y="T1"/>
              </a:cxn>
              <a:cxn ang="0">
                <a:pos x="T2" y="T3"/>
              </a:cxn>
              <a:cxn ang="0">
                <a:pos x="T4" y="T5"/>
              </a:cxn>
              <a:cxn ang="0">
                <a:pos x="T6" y="T7"/>
              </a:cxn>
              <a:cxn ang="0">
                <a:pos x="T8" y="T9"/>
              </a:cxn>
            </a:cxnLst>
            <a:rect b="b" l="0" r="r" t="0"/>
            <a:pathLst>
              <a:path h="650" w="1040">
                <a:moveTo>
                  <a:pt x="1040" y="0"/>
                </a:moveTo>
                <a:lnTo>
                  <a:pt x="753" y="650"/>
                </a:lnTo>
                <a:lnTo>
                  <a:pt x="0" y="650"/>
                </a:lnTo>
                <a:lnTo>
                  <a:pt x="647" y="0"/>
                </a:lnTo>
                <a:lnTo>
                  <a:pt x="1040"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57" name="Freeform 14"/>
          <p:cNvSpPr/>
          <p:nvPr/>
        </p:nvSpPr>
        <p:spPr bwMode="auto">
          <a:xfrm>
            <a:off x="3774452" y="2841606"/>
            <a:ext cx="576815" cy="912159"/>
          </a:xfrm>
          <a:custGeom>
            <a:gdLst>
              <a:gd fmla="*/ 0 w 647" name="T0"/>
              <a:gd fmla="*/ 1042 h 1042" name="T1"/>
              <a:gd fmla="*/ 647 w 647" name="T2"/>
              <a:gd fmla="*/ 752 h 1042" name="T3"/>
              <a:gd fmla="*/ 647 w 647" name="T4"/>
              <a:gd fmla="*/ 0 h 1042" name="T5"/>
              <a:gd fmla="*/ 0 w 647" name="T6"/>
              <a:gd fmla="*/ 649 h 1042" name="T7"/>
              <a:gd fmla="*/ 0 w 647" name="T8"/>
              <a:gd fmla="*/ 1042 h 1042" name="T9"/>
            </a:gdLst>
            <a:cxnLst>
              <a:cxn ang="0">
                <a:pos x="T0" y="T1"/>
              </a:cxn>
              <a:cxn ang="0">
                <a:pos x="T2" y="T3"/>
              </a:cxn>
              <a:cxn ang="0">
                <a:pos x="T4" y="T5"/>
              </a:cxn>
              <a:cxn ang="0">
                <a:pos x="T6" y="T7"/>
              </a:cxn>
              <a:cxn ang="0">
                <a:pos x="T8" y="T9"/>
              </a:cxn>
            </a:cxnLst>
            <a:rect b="b" l="0" r="r" t="0"/>
            <a:pathLst>
              <a:path h="1042" w="647">
                <a:moveTo>
                  <a:pt x="0" y="1042"/>
                </a:moveTo>
                <a:lnTo>
                  <a:pt x="647" y="752"/>
                </a:lnTo>
                <a:lnTo>
                  <a:pt x="647" y="0"/>
                </a:lnTo>
                <a:lnTo>
                  <a:pt x="0" y="649"/>
                </a:lnTo>
                <a:lnTo>
                  <a:pt x="0" y="1042"/>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58" name="Freeform 16"/>
          <p:cNvSpPr/>
          <p:nvPr/>
        </p:nvSpPr>
        <p:spPr bwMode="auto">
          <a:xfrm>
            <a:off x="4351267" y="2841606"/>
            <a:ext cx="576815" cy="912159"/>
          </a:xfrm>
          <a:custGeom>
            <a:gdLst>
              <a:gd fmla="*/ 647 w 647" name="T0"/>
              <a:gd fmla="*/ 1042 h 1042" name="T1"/>
              <a:gd fmla="*/ 0 w 647" name="T2"/>
              <a:gd fmla="*/ 752 h 1042" name="T3"/>
              <a:gd fmla="*/ 0 w 647" name="T4"/>
              <a:gd fmla="*/ 0 h 1042" name="T5"/>
              <a:gd fmla="*/ 647 w 647" name="T6"/>
              <a:gd fmla="*/ 649 h 1042" name="T7"/>
              <a:gd fmla="*/ 647 w 647" name="T8"/>
              <a:gd fmla="*/ 1042 h 1042" name="T9"/>
            </a:gdLst>
            <a:cxnLst>
              <a:cxn ang="0">
                <a:pos x="T0" y="T1"/>
              </a:cxn>
              <a:cxn ang="0">
                <a:pos x="T2" y="T3"/>
              </a:cxn>
              <a:cxn ang="0">
                <a:pos x="T4" y="T5"/>
              </a:cxn>
              <a:cxn ang="0">
                <a:pos x="T6" y="T7"/>
              </a:cxn>
              <a:cxn ang="0">
                <a:pos x="T8" y="T9"/>
              </a:cxn>
            </a:cxnLst>
            <a:rect b="b" l="0" r="r" t="0"/>
            <a:pathLst>
              <a:path h="1042" w="647">
                <a:moveTo>
                  <a:pt x="647" y="1042"/>
                </a:moveTo>
                <a:lnTo>
                  <a:pt x="0" y="752"/>
                </a:lnTo>
                <a:lnTo>
                  <a:pt x="0" y="0"/>
                </a:lnTo>
                <a:lnTo>
                  <a:pt x="647" y="649"/>
                </a:lnTo>
                <a:lnTo>
                  <a:pt x="647" y="1042"/>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59" name="Freeform 20"/>
          <p:cNvSpPr/>
          <p:nvPr/>
        </p:nvSpPr>
        <p:spPr bwMode="auto">
          <a:xfrm>
            <a:off x="3334933" y="2755817"/>
            <a:ext cx="927185" cy="566380"/>
          </a:xfrm>
          <a:custGeom>
            <a:gdLst>
              <a:gd fmla="*/ 0 w 1040" name="T0"/>
              <a:gd fmla="*/ 647 h 647" name="T1"/>
              <a:gd fmla="*/ 287 w 1040" name="T2"/>
              <a:gd fmla="*/ 0 h 647" name="T3"/>
              <a:gd fmla="*/ 1040 w 1040" name="T4"/>
              <a:gd fmla="*/ 0 h 647" name="T5"/>
              <a:gd fmla="*/ 393 w 1040" name="T6"/>
              <a:gd fmla="*/ 647 h 647" name="T7"/>
              <a:gd fmla="*/ 0 w 1040" name="T8"/>
              <a:gd fmla="*/ 647 h 647" name="T9"/>
            </a:gdLst>
            <a:cxnLst>
              <a:cxn ang="0">
                <a:pos x="T0" y="T1"/>
              </a:cxn>
              <a:cxn ang="0">
                <a:pos x="T2" y="T3"/>
              </a:cxn>
              <a:cxn ang="0">
                <a:pos x="T4" y="T5"/>
              </a:cxn>
              <a:cxn ang="0">
                <a:pos x="T6" y="T7"/>
              </a:cxn>
              <a:cxn ang="0">
                <a:pos x="T8" y="T9"/>
              </a:cxn>
            </a:cxnLst>
            <a:rect b="b" l="0" r="r" t="0"/>
            <a:pathLst>
              <a:path h="647" w="1040">
                <a:moveTo>
                  <a:pt x="0" y="647"/>
                </a:moveTo>
                <a:lnTo>
                  <a:pt x="287" y="0"/>
                </a:lnTo>
                <a:lnTo>
                  <a:pt x="1040" y="0"/>
                </a:lnTo>
                <a:lnTo>
                  <a:pt x="393" y="647"/>
                </a:lnTo>
                <a:lnTo>
                  <a:pt x="0" y="647"/>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60" name="Freeform 22"/>
          <p:cNvSpPr/>
          <p:nvPr/>
        </p:nvSpPr>
        <p:spPr bwMode="auto">
          <a:xfrm>
            <a:off x="3809224" y="1833152"/>
            <a:ext cx="1153632" cy="913035"/>
          </a:xfrm>
          <a:custGeom>
            <a:gdLst>
              <a:gd fmla="*/ 1294 w 1294" name="T0"/>
              <a:gd fmla="*/ 0 h 1043" name="T1"/>
              <a:gd fmla="*/ 1255 w 1294" name="T2"/>
              <a:gd fmla="*/ 20 h 1043" name="T3"/>
              <a:gd fmla="*/ 1255 w 1294" name="T4"/>
              <a:gd fmla="*/ 307 h 1043" name="T5"/>
              <a:gd fmla="*/ 608 w 1294" name="T6"/>
              <a:gd fmla="*/ 954 h 1043" name="T7"/>
              <a:gd fmla="*/ 0 w 1294" name="T8"/>
              <a:gd fmla="*/ 346 h 1043" name="T9"/>
              <a:gd fmla="*/ 0 w 1294" name="T10"/>
              <a:gd fmla="*/ 396 h 1043" name="T11"/>
              <a:gd fmla="*/ 647 w 1294" name="T12"/>
              <a:gd fmla="*/ 1043 h 1043" name="T13"/>
              <a:gd fmla="*/ 1294 w 1294" name="T14"/>
              <a:gd fmla="*/ 396 h 1043" name="T15"/>
              <a:gd fmla="*/ 1294 w 1294" name="T16"/>
              <a:gd fmla="*/ 0 h 1043"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043" w="1294">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61" name="Freeform 26"/>
          <p:cNvSpPr>
            <a:spLocks noEditPoints="1"/>
          </p:cNvSpPr>
          <p:nvPr/>
        </p:nvSpPr>
        <p:spPr bwMode="auto">
          <a:xfrm>
            <a:off x="3369700" y="2265598"/>
            <a:ext cx="2032674" cy="1134509"/>
          </a:xfrm>
          <a:custGeom>
            <a:gdLst>
              <a:gd fmla="*/ 1265 w 2280" name="T0"/>
              <a:gd fmla="*/ 624 h 1296" name="T1"/>
              <a:gd fmla="*/ 1240 w 2280" name="T2"/>
              <a:gd fmla="*/ 649 h 1296" name="T3"/>
              <a:gd fmla="*/ 1887 w 2280" name="T4"/>
              <a:gd fmla="*/ 1296 h 1296" name="T5"/>
              <a:gd fmla="*/ 2280 w 2280" name="T6"/>
              <a:gd fmla="*/ 1296 h 1296" name="T7"/>
              <a:gd fmla="*/ 2241 w 2280" name="T8"/>
              <a:gd fmla="*/ 1207 h 1296" name="T9"/>
              <a:gd fmla="*/ 1848 w 2280" name="T10"/>
              <a:gd fmla="*/ 1207 h 1296" name="T11"/>
              <a:gd fmla="*/ 1265 w 2280" name="T12"/>
              <a:gd fmla="*/ 624 h 1296" name="T13"/>
              <a:gd fmla="*/ 975 w 2280" name="T14"/>
              <a:gd fmla="*/ 585 h 1296" name="T15"/>
              <a:gd fmla="*/ 354 w 2280" name="T16"/>
              <a:gd fmla="*/ 1207 h 1296" name="T17"/>
              <a:gd fmla="*/ 39 w 2280" name="T18"/>
              <a:gd fmla="*/ 1207 h 1296" name="T19"/>
              <a:gd fmla="*/ 0 w 2280" name="T20"/>
              <a:gd fmla="*/ 1296 h 1296" name="T21"/>
              <a:gd fmla="*/ 393 w 2280" name="T22"/>
              <a:gd fmla="*/ 1296 h 1296" name="T23"/>
              <a:gd fmla="*/ 1040 w 2280" name="T24"/>
              <a:gd fmla="*/ 649 h 1296" name="T25"/>
              <a:gd fmla="*/ 975 w 2280" name="T26"/>
              <a:gd fmla="*/ 585 h 1296" name="T27"/>
              <a:gd fmla="*/ 0 w 2280" name="T28"/>
              <a:gd fmla="*/ 0 h 1296" name="T29"/>
              <a:gd fmla="*/ 0 w 2280" name="T30"/>
              <a:gd fmla="*/ 0 h 1296" name="T31"/>
              <a:gd fmla="*/ 248 w 2280" name="T32"/>
              <a:gd fmla="*/ 560 h 1296" name="T33"/>
              <a:gd fmla="*/ 248 w 2280" name="T34"/>
              <a:gd fmla="*/ 560 h 1296" name="T35"/>
              <a:gd fmla="*/ 0 w 2280" name="T36"/>
              <a:gd fmla="*/ 0 h 1296"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1296" w="2280">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62" name="Freeform 27"/>
          <p:cNvSpPr/>
          <p:nvPr/>
        </p:nvSpPr>
        <p:spPr bwMode="auto">
          <a:xfrm>
            <a:off x="4497480" y="2811842"/>
            <a:ext cx="870127" cy="510354"/>
          </a:xfrm>
          <a:custGeom>
            <a:gdLst>
              <a:gd fmla="*/ 0 w 976" name="T0"/>
              <a:gd fmla="*/ 0 h 583" name="T1"/>
              <a:gd fmla="*/ 0 w 976" name="T2"/>
              <a:gd fmla="*/ 0 h 583" name="T3"/>
              <a:gd fmla="*/ 583 w 976" name="T4"/>
              <a:gd fmla="*/ 583 h 583" name="T5"/>
              <a:gd fmla="*/ 976 w 976" name="T6"/>
              <a:gd fmla="*/ 583 h 583" name="T7"/>
              <a:gd fmla="*/ 583 w 976" name="T8"/>
              <a:gd fmla="*/ 583 h 583" name="T9"/>
              <a:gd fmla="*/ 0 w 976" name="T10"/>
              <a:gd fmla="*/ 0 h 583" name="T11"/>
            </a:gdLst>
            <a:cxnLst>
              <a:cxn ang="0">
                <a:pos x="T0" y="T1"/>
              </a:cxn>
              <a:cxn ang="0">
                <a:pos x="T2" y="T3"/>
              </a:cxn>
              <a:cxn ang="0">
                <a:pos x="T4" y="T5"/>
              </a:cxn>
              <a:cxn ang="0">
                <a:pos x="T6" y="T7"/>
              </a:cxn>
              <a:cxn ang="0">
                <a:pos x="T8" y="T9"/>
              </a:cxn>
              <a:cxn ang="0">
                <a:pos x="T10" y="T11"/>
              </a:cxn>
            </a:cxnLst>
            <a:rect b="b" l="0" r="r" t="0"/>
            <a:pathLst>
              <a:path h="583" w="976">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63" name="Freeform 28"/>
          <p:cNvSpPr/>
          <p:nvPr/>
        </p:nvSpPr>
        <p:spPr bwMode="auto">
          <a:xfrm>
            <a:off x="4497480" y="2811842"/>
            <a:ext cx="870127" cy="510354"/>
          </a:xfrm>
          <a:custGeom>
            <a:gdLst>
              <a:gd fmla="*/ 0 w 976" name="T0"/>
              <a:gd fmla="*/ 0 h 583" name="T1"/>
              <a:gd fmla="*/ 0 w 976" name="T2"/>
              <a:gd fmla="*/ 0 h 583" name="T3"/>
              <a:gd fmla="*/ 583 w 976" name="T4"/>
              <a:gd fmla="*/ 583 h 583" name="T5"/>
              <a:gd fmla="*/ 976 w 976" name="T6"/>
              <a:gd fmla="*/ 583 h 583" name="T7"/>
              <a:gd fmla="*/ 583 w 976" name="T8"/>
              <a:gd fmla="*/ 583 h 583" name="T9"/>
              <a:gd fmla="*/ 0 w 976" name="T10"/>
              <a:gd fmla="*/ 0 h 583" name="T11"/>
            </a:gdLst>
            <a:cxnLst>
              <a:cxn ang="0">
                <a:pos x="T0" y="T1"/>
              </a:cxn>
              <a:cxn ang="0">
                <a:pos x="T2" y="T3"/>
              </a:cxn>
              <a:cxn ang="0">
                <a:pos x="T4" y="T5"/>
              </a:cxn>
              <a:cxn ang="0">
                <a:pos x="T6" y="T7"/>
              </a:cxn>
              <a:cxn ang="0">
                <a:pos x="T8" y="T9"/>
              </a:cxn>
              <a:cxn ang="0">
                <a:pos x="T10" y="T11"/>
              </a:cxn>
            </a:cxnLst>
            <a:rect b="b" l="0" r="r" t="0"/>
            <a:pathLst>
              <a:path h="583" w="976">
                <a:moveTo>
                  <a:pt x="0" y="0"/>
                </a:moveTo>
                <a:lnTo>
                  <a:pt x="0" y="0"/>
                </a:lnTo>
                <a:lnTo>
                  <a:pt x="583" y="583"/>
                </a:lnTo>
                <a:lnTo>
                  <a:pt x="976" y="583"/>
                </a:lnTo>
                <a:lnTo>
                  <a:pt x="583" y="583"/>
                </a:lnTo>
                <a:lnTo>
                  <a:pt x="0"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sp>
        <p:nvSpPr>
          <p:cNvPr id="64" name="Freeform 31"/>
          <p:cNvSpPr/>
          <p:nvPr/>
        </p:nvSpPr>
        <p:spPr bwMode="auto">
          <a:xfrm>
            <a:off x="3404469" y="2777701"/>
            <a:ext cx="834466" cy="544494"/>
          </a:xfrm>
          <a:custGeom>
            <a:gdLst>
              <a:gd fmla="*/ 936 w 936" name="T0"/>
              <a:gd fmla="*/ 0 h 622" name="T1"/>
              <a:gd fmla="*/ 315 w 936" name="T2"/>
              <a:gd fmla="*/ 622 h 622" name="T3"/>
              <a:gd fmla="*/ 0 w 936" name="T4"/>
              <a:gd fmla="*/ 622 h 622" name="T5"/>
              <a:gd fmla="*/ 315 w 936" name="T6"/>
              <a:gd fmla="*/ 622 h 622" name="T7"/>
              <a:gd fmla="*/ 936 w 936" name="T8"/>
              <a:gd fmla="*/ 0 h 622" name="T9"/>
              <a:gd fmla="*/ 936 w 936" name="T10"/>
              <a:gd fmla="*/ 0 h 622" name="T11"/>
            </a:gdLst>
            <a:cxnLst>
              <a:cxn ang="0">
                <a:pos x="T0" y="T1"/>
              </a:cxn>
              <a:cxn ang="0">
                <a:pos x="T2" y="T3"/>
              </a:cxn>
              <a:cxn ang="0">
                <a:pos x="T4" y="T5"/>
              </a:cxn>
              <a:cxn ang="0">
                <a:pos x="T6" y="T7"/>
              </a:cxn>
              <a:cxn ang="0">
                <a:pos x="T8" y="T9"/>
              </a:cxn>
              <a:cxn ang="0">
                <a:pos x="T10" y="T11"/>
              </a:cxn>
            </a:cxnLst>
            <a:rect b="b" l="0" r="r" t="0"/>
            <a:pathLst>
              <a:path h="622" w="936">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w="9525">
                <a:solidFill>
                  <a:srgbClr val="000000"/>
                </a:solidFill>
                <a:round/>
              </a14:hiddenLine>
            </a:ext>
          </a:extLst>
        </p:spPr>
        <p:txBody>
          <a:bodyPr anchor="t" anchorCtr="0" bIns="33687" compatLnSpc="1" lIns="67374" numCol="1" rIns="67374" tIns="33687" vert="horz" wrap="square"/>
          <a:lstStyle/>
          <a:p>
            <a:endParaRPr altLang="en-US" lang="zh-CN"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67" name="矩形 9"/>
            <p:cNvSpPr/>
            <p:nvPr/>
          </p:nvSpPr>
          <p:spPr>
            <a:xfrm>
              <a:off x="336640" y="3290209"/>
              <a:ext cx="2581890"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70" y="2946350"/>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70" name="矩形 9"/>
            <p:cNvSpPr/>
            <p:nvPr/>
          </p:nvSpPr>
          <p:spPr>
            <a:xfrm>
              <a:off x="803867" y="3290209"/>
              <a:ext cx="2711321"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73" name="矩形 9"/>
            <p:cNvSpPr/>
            <p:nvPr/>
          </p:nvSpPr>
          <p:spPr>
            <a:xfrm>
              <a:off x="580847" y="3321124"/>
              <a:ext cx="2513985"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76" name="矩形 9"/>
            <p:cNvSpPr/>
            <p:nvPr/>
          </p:nvSpPr>
          <p:spPr>
            <a:xfrm>
              <a:off x="336639" y="3290208"/>
              <a:ext cx="2581890"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gdLst>
                <a:gd fmla="*/ 647 w 647" name="T0"/>
                <a:gd fmla="*/ 0 h 1043" name="T1"/>
                <a:gd fmla="*/ 0 w 647" name="T2"/>
                <a:gd fmla="*/ 290 h 1043" name="T3"/>
                <a:gd fmla="*/ 0 w 647" name="T4"/>
                <a:gd fmla="*/ 1043 h 1043" name="T5"/>
                <a:gd fmla="*/ 647 w 647" name="T6"/>
                <a:gd fmla="*/ 396 h 1043" name="T7"/>
                <a:gd fmla="*/ 647 w 647" name="T8"/>
                <a:gd fmla="*/ 0 h 1043" name="T9"/>
              </a:gdLst>
              <a:cxnLst>
                <a:cxn ang="0">
                  <a:pos x="T0" y="T1"/>
                </a:cxn>
                <a:cxn ang="0">
                  <a:pos x="T2" y="T3"/>
                </a:cxn>
                <a:cxn ang="0">
                  <a:pos x="T4" y="T5"/>
                </a:cxn>
                <a:cxn ang="0">
                  <a:pos x="T6" y="T7"/>
                </a:cxn>
                <a:cxn ang="0">
                  <a:pos x="T8" y="T9"/>
                </a:cxn>
              </a:cxnLst>
              <a:rect b="b" l="0" r="r" t="0"/>
              <a:pathLst>
                <a:path h="1043" w="647">
                  <a:moveTo>
                    <a:pt x="647" y="0"/>
                  </a:moveTo>
                  <a:lnTo>
                    <a:pt x="0" y="290"/>
                  </a:lnTo>
                  <a:lnTo>
                    <a:pt x="0" y="1043"/>
                  </a:lnTo>
                  <a:lnTo>
                    <a:pt x="647" y="396"/>
                  </a:lnTo>
                  <a:lnTo>
                    <a:pt x="647" y="0"/>
                  </a:lnTo>
                  <a:close/>
                </a:path>
              </a:pathLst>
            </a:custGeom>
            <a:solidFill>
              <a:srgbClr val="00AEEF">
                <a:alpha val="80000"/>
              </a:srgbClr>
            </a:solidFill>
            <a:ln>
              <a:noFill/>
            </a:ln>
          </p:spPr>
          <p:txBody>
            <a:bodyPr anchor="t" anchorCtr="0" bIns="45708" compatLnSpc="1" lIns="91416" numCol="1" rIns="91416" tIns="45708" vert="horz" wrap="square"/>
            <a:lstStyle/>
            <a:p>
              <a:endParaRPr altLang="en-US" lang="zh-CN" sz="2400"/>
            </a:p>
          </p:txBody>
        </p:sp>
        <p:sp>
          <p:nvSpPr>
            <p:cNvPr id="79" name="Freeform 7"/>
            <p:cNvSpPr/>
            <p:nvPr/>
          </p:nvSpPr>
          <p:spPr bwMode="auto">
            <a:xfrm>
              <a:off x="3834171" y="1790972"/>
              <a:ext cx="586124" cy="931969"/>
            </a:xfrm>
            <a:custGeom>
              <a:gdLst>
                <a:gd fmla="*/ 0 w 647" name="T0"/>
                <a:gd fmla="*/ 0 h 1043" name="T1"/>
                <a:gd fmla="*/ 647 w 647" name="T2"/>
                <a:gd fmla="*/ 290 h 1043" name="T3"/>
                <a:gd fmla="*/ 647 w 647" name="T4"/>
                <a:gd fmla="*/ 1043 h 1043" name="T5"/>
                <a:gd fmla="*/ 0 w 647" name="T6"/>
                <a:gd fmla="*/ 396 h 1043" name="T7"/>
                <a:gd fmla="*/ 0 w 647" name="T8"/>
                <a:gd fmla="*/ 0 h 1043" name="T9"/>
              </a:gdLst>
              <a:cxnLst>
                <a:cxn ang="0">
                  <a:pos x="T0" y="T1"/>
                </a:cxn>
                <a:cxn ang="0">
                  <a:pos x="T2" y="T3"/>
                </a:cxn>
                <a:cxn ang="0">
                  <a:pos x="T4" y="T5"/>
                </a:cxn>
                <a:cxn ang="0">
                  <a:pos x="T6" y="T7"/>
                </a:cxn>
                <a:cxn ang="0">
                  <a:pos x="T8" y="T9"/>
                </a:cxn>
              </a:cxnLst>
              <a:rect b="b" l="0" r="r" t="0"/>
              <a:pathLst>
                <a:path h="1043" w="647">
                  <a:moveTo>
                    <a:pt x="0" y="0"/>
                  </a:moveTo>
                  <a:lnTo>
                    <a:pt x="647" y="290"/>
                  </a:lnTo>
                  <a:lnTo>
                    <a:pt x="647" y="1043"/>
                  </a:lnTo>
                  <a:lnTo>
                    <a:pt x="0" y="396"/>
                  </a:lnTo>
                  <a:lnTo>
                    <a:pt x="0" y="0"/>
                  </a:lnTo>
                  <a:close/>
                </a:path>
              </a:pathLst>
            </a:custGeom>
            <a:solidFill>
              <a:srgbClr val="0070C0"/>
            </a:solidFill>
            <a:ln>
              <a:noFill/>
            </a:ln>
          </p:spPr>
          <p:txBody>
            <a:bodyPr anchor="t" anchorCtr="0" bIns="45708" compatLnSpc="1" lIns="91416" numCol="1" rIns="91416" tIns="45708" vert="horz" wrap="square"/>
            <a:lstStyle/>
            <a:p>
              <a:endParaRPr altLang="en-US" lang="zh-CN" sz="2400"/>
            </a:p>
          </p:txBody>
        </p:sp>
        <p:sp>
          <p:nvSpPr>
            <p:cNvPr id="80" name="Freeform 34"/>
            <p:cNvSpPr>
              <a:spLocks noEditPoints="1"/>
            </p:cNvSpPr>
            <p:nvPr/>
          </p:nvSpPr>
          <p:spPr bwMode="auto">
            <a:xfrm>
              <a:off x="4033471" y="2057249"/>
              <a:ext cx="313445" cy="281467"/>
            </a:xfrm>
            <a:custGeom>
              <a:gdLst>
                <a:gd fmla="*/ 23 w 124" name="T0"/>
                <a:gd fmla="*/ 38 h 113" name="T1"/>
                <a:gd fmla="*/ 0 w 124" name="T2"/>
                <a:gd fmla="*/ 66 h 113" name="T3"/>
                <a:gd fmla="*/ 47 w 124" name="T4"/>
                <a:gd fmla="*/ 98 h 113" name="T5"/>
                <a:gd fmla="*/ 61 w 124" name="T6"/>
                <a:gd fmla="*/ 96 h 113" name="T7"/>
                <a:gd fmla="*/ 78 w 124" name="T8"/>
                <a:gd fmla="*/ 113 h 113" name="T9"/>
                <a:gd fmla="*/ 74 w 124" name="T10"/>
                <a:gd fmla="*/ 92 h 113" name="T11"/>
                <a:gd fmla="*/ 93 w 124" name="T12"/>
                <a:gd fmla="*/ 71 h 113" name="T13"/>
                <a:gd fmla="*/ 74 w 124" name="T14"/>
                <a:gd fmla="*/ 74 h 113" name="T15"/>
                <a:gd fmla="*/ 61 w 124" name="T16"/>
                <a:gd fmla="*/ 73 h 113" name="T17"/>
                <a:gd fmla="*/ 43 w 124" name="T18"/>
                <a:gd fmla="*/ 85 h 113" name="T19"/>
                <a:gd fmla="*/ 43 w 124" name="T20"/>
                <a:gd fmla="*/ 66 h 113" name="T21"/>
                <a:gd fmla="*/ 23 w 124" name="T22"/>
                <a:gd fmla="*/ 38 h 113" name="T23"/>
                <a:gd fmla="*/ 77 w 124" name="T24"/>
                <a:gd fmla="*/ 0 h 113" name="T25"/>
                <a:gd fmla="*/ 30 w 124" name="T26"/>
                <a:gd fmla="*/ 33 h 113" name="T27"/>
                <a:gd fmla="*/ 50 w 124" name="T28"/>
                <a:gd fmla="*/ 59 h 113" name="T29"/>
                <a:gd fmla="*/ 50 w 124" name="T30"/>
                <a:gd fmla="*/ 72 h 113" name="T31"/>
                <a:gd fmla="*/ 63 w 124" name="T32"/>
                <a:gd fmla="*/ 64 h 113" name="T33"/>
                <a:gd fmla="*/ 77 w 124" name="T34"/>
                <a:gd fmla="*/ 65 h 113" name="T35"/>
                <a:gd fmla="*/ 124 w 124" name="T36"/>
                <a:gd fmla="*/ 33 h 113" name="T37"/>
                <a:gd fmla="*/ 77 w 124" name="T38"/>
                <a:gd fmla="*/ 0 h 113"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13" w="124">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anchor="t" anchorCtr="0" bIns="45708" compatLnSpc="1" lIns="91416" numCol="1" rIns="91416" tIns="45708" vert="horz" wrap="square"/>
            <a:lstStyle/>
            <a:p>
              <a:endParaRPr altLang="en-US" lang="zh-CN" sz="2400"/>
            </a:p>
          </p:txBody>
        </p:sp>
        <p:sp>
          <p:nvSpPr>
            <p:cNvPr id="81" name="TextBox 80"/>
            <p:cNvSpPr txBox="1"/>
            <p:nvPr/>
          </p:nvSpPr>
          <p:spPr>
            <a:xfrm>
              <a:off x="4505771" y="2053960"/>
              <a:ext cx="376179" cy="280009"/>
            </a:xfrm>
            <a:prstGeom prst="rect">
              <a:avLst/>
            </a:prstGeom>
            <a:noFill/>
          </p:spPr>
          <p:txBody>
            <a:bodyPr rtlCol="0" wrap="none">
              <a:spAutoFit/>
            </a:bodyPr>
            <a:lstStyle/>
            <a:p>
              <a:r>
                <a:rPr b="1" lang="en-US" sz="1200">
                  <a:solidFill>
                    <a:schemeClr val="bg1"/>
                  </a:solidFill>
                  <a:latin charset="-122" panose="020b0503020204020204" pitchFamily="34" typeface="微软雅黑"/>
                  <a:ea charset="-122" panose="020b0503020204020204" pitchFamily="34" typeface="微软雅黑"/>
                </a:rPr>
                <a:t>01</a:t>
              </a: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gdLst>
                <a:gd fmla="*/ 0 w 1040" name="T0"/>
                <a:gd fmla="*/ 647 h 647" name="T1"/>
                <a:gd fmla="*/ 287 w 1040" name="T2"/>
                <a:gd fmla="*/ 0 h 647" name="T3"/>
                <a:gd fmla="*/ 1040 w 1040" name="T4"/>
                <a:gd fmla="*/ 0 h 647" name="T5"/>
                <a:gd fmla="*/ 393 w 1040" name="T6"/>
                <a:gd fmla="*/ 647 h 647" name="T7"/>
                <a:gd fmla="*/ 0 w 1040" name="T8"/>
                <a:gd fmla="*/ 647 h 647" name="T9"/>
              </a:gdLst>
              <a:cxnLst>
                <a:cxn ang="0">
                  <a:pos x="T0" y="T1"/>
                </a:cxn>
                <a:cxn ang="0">
                  <a:pos x="T2" y="T3"/>
                </a:cxn>
                <a:cxn ang="0">
                  <a:pos x="T4" y="T5"/>
                </a:cxn>
                <a:cxn ang="0">
                  <a:pos x="T6" y="T7"/>
                </a:cxn>
                <a:cxn ang="0">
                  <a:pos x="T8" y="T9"/>
                </a:cxn>
              </a:cxnLst>
              <a:rect b="b" l="0" r="r" t="0"/>
              <a:pathLst>
                <a:path h="647" w="1040">
                  <a:moveTo>
                    <a:pt x="0" y="647"/>
                  </a:moveTo>
                  <a:lnTo>
                    <a:pt x="287" y="0"/>
                  </a:lnTo>
                  <a:lnTo>
                    <a:pt x="1040" y="0"/>
                  </a:lnTo>
                  <a:lnTo>
                    <a:pt x="393" y="647"/>
                  </a:lnTo>
                  <a:lnTo>
                    <a:pt x="0" y="647"/>
                  </a:lnTo>
                  <a:close/>
                </a:path>
              </a:pathLst>
            </a:custGeom>
            <a:solidFill>
              <a:srgbClr val="00AEEF">
                <a:alpha val="80000"/>
              </a:srgbClr>
            </a:solidFill>
            <a:ln>
              <a:noFill/>
            </a:ln>
          </p:spPr>
          <p:txBody>
            <a:bodyPr anchor="t" anchorCtr="0" bIns="45708" compatLnSpc="1" lIns="91416" numCol="1" rIns="91416" tIns="45708" vert="horz" wrap="square"/>
            <a:lstStyle/>
            <a:p>
              <a:endParaRPr altLang="en-US" lang="zh-CN"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gdLst>
                  <a:gd fmla="*/ 0 w 1040" name="T0"/>
                  <a:gd fmla="*/ 0 h 650" name="T1"/>
                  <a:gd fmla="*/ 287 w 1040" name="T2"/>
                  <a:gd fmla="*/ 650 h 650" name="T3"/>
                  <a:gd fmla="*/ 1040 w 1040" name="T4"/>
                  <a:gd fmla="*/ 650 h 650" name="T5"/>
                  <a:gd fmla="*/ 393 w 1040" name="T6"/>
                  <a:gd fmla="*/ 0 h 650" name="T7"/>
                  <a:gd fmla="*/ 0 w 1040" name="T8"/>
                  <a:gd fmla="*/ 0 h 650" name="T9"/>
                </a:gdLst>
                <a:cxnLst>
                  <a:cxn ang="0">
                    <a:pos x="T0" y="T1"/>
                  </a:cxn>
                  <a:cxn ang="0">
                    <a:pos x="T2" y="T3"/>
                  </a:cxn>
                  <a:cxn ang="0">
                    <a:pos x="T4" y="T5"/>
                  </a:cxn>
                  <a:cxn ang="0">
                    <a:pos x="T6" y="T7"/>
                  </a:cxn>
                  <a:cxn ang="0">
                    <a:pos x="T8" y="T9"/>
                  </a:cxn>
                </a:cxnLst>
                <a:rect b="b" l="0" r="r" t="0"/>
                <a:pathLst>
                  <a:path h="650" w="1040">
                    <a:moveTo>
                      <a:pt x="0" y="0"/>
                    </a:moveTo>
                    <a:lnTo>
                      <a:pt x="287" y="650"/>
                    </a:lnTo>
                    <a:lnTo>
                      <a:pt x="1040" y="650"/>
                    </a:lnTo>
                    <a:lnTo>
                      <a:pt x="393" y="0"/>
                    </a:lnTo>
                    <a:lnTo>
                      <a:pt x="0" y="0"/>
                    </a:lnTo>
                  </a:path>
                </a:pathLst>
              </a:custGeom>
              <a:solidFill>
                <a:srgbClr val="0070C0"/>
              </a:solidFill>
              <a:ln>
                <a:noFill/>
              </a:ln>
              <a:extLst>
                <a:ext uri="{91240B29-F687-4F45-9708-019B960494DF}">
                  <a14:hiddenLine w="9525">
                    <a:solidFill>
                      <a:srgbClr val="000000"/>
                    </a:solidFill>
                    <a:round/>
                  </a14:hiddenLine>
                </a:ext>
              </a:extLst>
            </p:spPr>
            <p:txBody>
              <a:bodyPr anchor="t" anchorCtr="0" bIns="45708" compatLnSpc="1" lIns="91416" numCol="1" rIns="91416" tIns="45708" vert="horz" wrap="square"/>
              <a:lstStyle/>
              <a:p>
                <a:endParaRPr altLang="en-US" lang="zh-CN" sz="2400"/>
              </a:p>
            </p:txBody>
          </p:sp>
          <p:sp>
            <p:nvSpPr>
              <p:cNvPr id="86" name="Freeform 32"/>
              <p:cNvSpPr/>
              <p:nvPr/>
            </p:nvSpPr>
            <p:spPr bwMode="auto">
              <a:xfrm>
                <a:off x="3458218" y="2834634"/>
                <a:ext cx="847932" cy="555786"/>
              </a:xfrm>
              <a:custGeom>
                <a:gdLst>
                  <a:gd fmla="*/ 936 w 936" name="T0"/>
                  <a:gd fmla="*/ 0 h 622" name="T1"/>
                  <a:gd fmla="*/ 315 w 936" name="T2"/>
                  <a:gd fmla="*/ 622 h 622" name="T3"/>
                  <a:gd fmla="*/ 0 w 936" name="T4"/>
                  <a:gd fmla="*/ 622 h 622" name="T5"/>
                  <a:gd fmla="*/ 315 w 936" name="T6"/>
                  <a:gd fmla="*/ 622 h 622" name="T7"/>
                  <a:gd fmla="*/ 936 w 936" name="T8"/>
                  <a:gd fmla="*/ 0 h 622" name="T9"/>
                  <a:gd fmla="*/ 936 w 936" name="T10"/>
                  <a:gd fmla="*/ 0 h 622" name="T11"/>
                </a:gdLst>
                <a:cxnLst>
                  <a:cxn ang="0">
                    <a:pos x="T0" y="T1"/>
                  </a:cxn>
                  <a:cxn ang="0">
                    <a:pos x="T2" y="T3"/>
                  </a:cxn>
                  <a:cxn ang="0">
                    <a:pos x="T4" y="T5"/>
                  </a:cxn>
                  <a:cxn ang="0">
                    <a:pos x="T6" y="T7"/>
                  </a:cxn>
                  <a:cxn ang="0">
                    <a:pos x="T8" y="T9"/>
                  </a:cxn>
                  <a:cxn ang="0">
                    <a:pos x="T10" y="T11"/>
                  </a:cxn>
                </a:cxnLst>
                <a:rect b="b" l="0" r="r" t="0"/>
                <a:pathLst>
                  <a:path h="622" w="936">
                    <a:moveTo>
                      <a:pt x="936" y="0"/>
                    </a:moveTo>
                    <a:lnTo>
                      <a:pt x="315" y="622"/>
                    </a:lnTo>
                    <a:lnTo>
                      <a:pt x="0" y="622"/>
                    </a:lnTo>
                    <a:lnTo>
                      <a:pt x="315" y="622"/>
                    </a:lnTo>
                    <a:lnTo>
                      <a:pt x="936" y="0"/>
                    </a:lnTo>
                    <a:lnTo>
                      <a:pt x="936"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14:hiddenLine>
                </a:ext>
              </a:extLst>
            </p:spPr>
            <p:txBody>
              <a:bodyPr anchor="t" anchorCtr="0" bIns="45708" compatLnSpc="1" lIns="91416" numCol="1" rIns="91416" tIns="45708" vert="horz" wrap="square"/>
              <a:lstStyle/>
              <a:p>
                <a:endParaRPr altLang="en-US" lang="zh-CN" sz="2400"/>
              </a:p>
            </p:txBody>
          </p:sp>
          <p:sp>
            <p:nvSpPr>
              <p:cNvPr id="87" name="Freeform 33"/>
              <p:cNvSpPr>
                <a:spLocks noEditPoints="1"/>
              </p:cNvSpPr>
              <p:nvPr/>
            </p:nvSpPr>
            <p:spPr bwMode="auto">
              <a:xfrm>
                <a:off x="3722743" y="2463811"/>
                <a:ext cx="265432" cy="296658"/>
              </a:xfrm>
              <a:custGeom>
                <a:gdLst>
                  <a:gd fmla="*/ 54 w 105" name="T0"/>
                  <a:gd fmla="*/ 33 h 119" name="T1"/>
                  <a:gd fmla="*/ 51 w 105" name="T2"/>
                  <a:gd fmla="*/ 33 h 119" name="T3"/>
                  <a:gd fmla="*/ 51 w 105" name="T4"/>
                  <a:gd fmla="*/ 66 h 119" name="T5"/>
                  <a:gd fmla="*/ 49 w 105" name="T6"/>
                  <a:gd fmla="*/ 69 h 119" name="T7"/>
                  <a:gd fmla="*/ 50 w 105" name="T8"/>
                  <a:gd fmla="*/ 71 h 119" name="T9"/>
                  <a:gd fmla="*/ 51 w 105" name="T10"/>
                  <a:gd fmla="*/ 70 h 119" name="T11"/>
                  <a:gd fmla="*/ 51 w 105" name="T12"/>
                  <a:gd fmla="*/ 73 h 119" name="T13"/>
                  <a:gd fmla="*/ 54 w 105" name="T14"/>
                  <a:gd fmla="*/ 73 h 119" name="T15"/>
                  <a:gd fmla="*/ 54 w 105" name="T16"/>
                  <a:gd fmla="*/ 67 h 119" name="T17"/>
                  <a:gd fmla="*/ 72 w 105" name="T18"/>
                  <a:gd fmla="*/ 49 h 119" name="T19"/>
                  <a:gd fmla="*/ 71 w 105" name="T20"/>
                  <a:gd fmla="*/ 47 h 119" name="T21"/>
                  <a:gd fmla="*/ 54 w 105" name="T22"/>
                  <a:gd fmla="*/ 64 h 119" name="T23"/>
                  <a:gd fmla="*/ 54 w 105" name="T24"/>
                  <a:gd fmla="*/ 33 h 119" name="T25"/>
                  <a:gd fmla="*/ 51 w 105" name="T26"/>
                  <a:gd fmla="*/ 31 h 119" name="T27"/>
                  <a:gd fmla="*/ 54 w 105" name="T28"/>
                  <a:gd fmla="*/ 31 h 119" name="T29"/>
                  <a:gd fmla="*/ 54 w 105" name="T30"/>
                  <a:gd fmla="*/ 21 h 119" name="T31"/>
                  <a:gd fmla="*/ 84 w 105" name="T32"/>
                  <a:gd fmla="*/ 34 h 119" name="T33"/>
                  <a:gd fmla="*/ 77 w 105" name="T34"/>
                  <a:gd fmla="*/ 40 h 119" name="T35"/>
                  <a:gd fmla="*/ 79 w 105" name="T36"/>
                  <a:gd fmla="*/ 42 h 119" name="T37"/>
                  <a:gd fmla="*/ 86 w 105" name="T38"/>
                  <a:gd fmla="*/ 35 h 119" name="T39"/>
                  <a:gd fmla="*/ 98 w 105" name="T40"/>
                  <a:gd fmla="*/ 65 h 119" name="T41"/>
                  <a:gd fmla="*/ 89 w 105" name="T42"/>
                  <a:gd fmla="*/ 65 h 119" name="T43"/>
                  <a:gd fmla="*/ 89 w 105" name="T44"/>
                  <a:gd fmla="*/ 68 h 119" name="T45"/>
                  <a:gd fmla="*/ 98 w 105" name="T46"/>
                  <a:gd fmla="*/ 68 h 119" name="T47"/>
                  <a:gd fmla="*/ 86 w 105" name="T48"/>
                  <a:gd fmla="*/ 98 h 119" name="T49"/>
                  <a:gd fmla="*/ 79 w 105" name="T50"/>
                  <a:gd fmla="*/ 91 h 119" name="T51"/>
                  <a:gd fmla="*/ 77 w 105" name="T52"/>
                  <a:gd fmla="*/ 93 h 119" name="T53"/>
                  <a:gd fmla="*/ 84 w 105" name="T54"/>
                  <a:gd fmla="*/ 100 h 119" name="T55"/>
                  <a:gd fmla="*/ 54 w 105" name="T56"/>
                  <a:gd fmla="*/ 112 h 119" name="T57"/>
                  <a:gd fmla="*/ 54 w 105" name="T58"/>
                  <a:gd fmla="*/ 103 h 119" name="T59"/>
                  <a:gd fmla="*/ 51 w 105" name="T60"/>
                  <a:gd fmla="*/ 103 h 119" name="T61"/>
                  <a:gd fmla="*/ 51 w 105" name="T62"/>
                  <a:gd fmla="*/ 112 h 119" name="T63"/>
                  <a:gd fmla="*/ 21 w 105" name="T64"/>
                  <a:gd fmla="*/ 100 h 119" name="T65"/>
                  <a:gd fmla="*/ 28 w 105" name="T66"/>
                  <a:gd fmla="*/ 93 h 119" name="T67"/>
                  <a:gd fmla="*/ 26 w 105" name="T68"/>
                  <a:gd fmla="*/ 91 h 119" name="T69"/>
                  <a:gd fmla="*/ 20 w 105" name="T70"/>
                  <a:gd fmla="*/ 98 h 119" name="T71"/>
                  <a:gd fmla="*/ 7 w 105" name="T72"/>
                  <a:gd fmla="*/ 68 h 119" name="T73"/>
                  <a:gd fmla="*/ 17 w 105" name="T74"/>
                  <a:gd fmla="*/ 68 h 119" name="T75"/>
                  <a:gd fmla="*/ 17 w 105" name="T76"/>
                  <a:gd fmla="*/ 65 h 119" name="T77"/>
                  <a:gd fmla="*/ 7 w 105" name="T78"/>
                  <a:gd fmla="*/ 65 h 119" name="T79"/>
                  <a:gd fmla="*/ 20 w 105" name="T80"/>
                  <a:gd fmla="*/ 35 h 119" name="T81"/>
                  <a:gd fmla="*/ 26 w 105" name="T82"/>
                  <a:gd fmla="*/ 42 h 119" name="T83"/>
                  <a:gd fmla="*/ 28 w 105" name="T84"/>
                  <a:gd fmla="*/ 40 h 119" name="T85"/>
                  <a:gd fmla="*/ 21 w 105" name="T86"/>
                  <a:gd fmla="*/ 34 h 119" name="T87"/>
                  <a:gd fmla="*/ 51 w 105" name="T88"/>
                  <a:gd fmla="*/ 21 h 119" name="T89"/>
                  <a:gd fmla="*/ 51 w 105" name="T90"/>
                  <a:gd fmla="*/ 31 h 119" name="T91"/>
                  <a:gd fmla="*/ 65 w 105" name="T92"/>
                  <a:gd fmla="*/ 0 h 119" name="T93"/>
                  <a:gd fmla="*/ 40 w 105" name="T94"/>
                  <a:gd fmla="*/ 0 h 119" name="T95"/>
                  <a:gd fmla="*/ 40 w 105" name="T96"/>
                  <a:gd fmla="*/ 10 h 119" name="T97"/>
                  <a:gd fmla="*/ 50 w 105" name="T98"/>
                  <a:gd fmla="*/ 10 h 119" name="T99"/>
                  <a:gd fmla="*/ 50 w 105" name="T100"/>
                  <a:gd fmla="*/ 14 h 119" name="T101"/>
                  <a:gd fmla="*/ 0 w 105" name="T102"/>
                  <a:gd fmla="*/ 67 h 119" name="T103"/>
                  <a:gd fmla="*/ 53 w 105" name="T104"/>
                  <a:gd fmla="*/ 119 h 119" name="T105"/>
                  <a:gd fmla="*/ 105 w 105" name="T106"/>
                  <a:gd fmla="*/ 67 h 119" name="T107"/>
                  <a:gd fmla="*/ 56 w 105" name="T108"/>
                  <a:gd fmla="*/ 14 h 119" name="T109"/>
                  <a:gd fmla="*/ 56 w 105" name="T110"/>
                  <a:gd fmla="*/ 10 h 119" name="T111"/>
                  <a:gd fmla="*/ 65 w 105" name="T112"/>
                  <a:gd fmla="*/ 10 h 119" name="T113"/>
                  <a:gd fmla="*/ 65 w 105" name="T114"/>
                  <a:gd fmla="*/ 0 h 119" name="T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b="b" l="0" r="r" t="0"/>
                <a:pathLst>
                  <a:path h="119" w="105">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anchor="t" anchorCtr="0" bIns="45708" compatLnSpc="1" lIns="91416" numCol="1" rIns="91416" tIns="45708" vert="horz" wrap="square"/>
              <a:lstStyle/>
              <a:p>
                <a:endParaRPr altLang="en-US" lang="zh-CN" sz="2400"/>
              </a:p>
            </p:txBody>
          </p:sp>
          <p:sp>
            <p:nvSpPr>
              <p:cNvPr id="88" name="TextBox 87"/>
              <p:cNvSpPr txBox="1"/>
              <p:nvPr/>
            </p:nvSpPr>
            <p:spPr>
              <a:xfrm>
                <a:off x="3609161" y="2909388"/>
                <a:ext cx="376179" cy="280009"/>
              </a:xfrm>
              <a:prstGeom prst="rect">
                <a:avLst/>
              </a:prstGeom>
              <a:noFill/>
            </p:spPr>
            <p:txBody>
              <a:bodyPr rtlCol="0" wrap="none">
                <a:spAutoFit/>
              </a:bodyPr>
              <a:lstStyle/>
              <a:p>
                <a:r>
                  <a:rPr b="1" lang="en-US" sz="1200">
                    <a:solidFill>
                      <a:schemeClr val="bg1"/>
                    </a:solidFill>
                    <a:latin charset="-122" panose="020b0503020204020204" pitchFamily="34" typeface="微软雅黑"/>
                    <a:ea charset="-122" panose="020b0503020204020204" pitchFamily="34" typeface="微软雅黑"/>
                  </a:rPr>
                  <a:t>02</a:t>
                </a: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gdLst>
                <a:gd fmla="*/ 0 w 647" name="T0"/>
                <a:gd fmla="*/ 1042 h 1042" name="T1"/>
                <a:gd fmla="*/ 647 w 647" name="T2"/>
                <a:gd fmla="*/ 752 h 1042" name="T3"/>
                <a:gd fmla="*/ 647 w 647" name="T4"/>
                <a:gd fmla="*/ 0 h 1042" name="T5"/>
                <a:gd fmla="*/ 0 w 647" name="T6"/>
                <a:gd fmla="*/ 649 h 1042" name="T7"/>
                <a:gd fmla="*/ 0 w 647" name="T8"/>
                <a:gd fmla="*/ 1042 h 1042" name="T9"/>
              </a:gdLst>
              <a:cxnLst>
                <a:cxn ang="0">
                  <a:pos x="T0" y="T1"/>
                </a:cxn>
                <a:cxn ang="0">
                  <a:pos x="T2" y="T3"/>
                </a:cxn>
                <a:cxn ang="0">
                  <a:pos x="T4" y="T5"/>
                </a:cxn>
                <a:cxn ang="0">
                  <a:pos x="T6" y="T7"/>
                </a:cxn>
                <a:cxn ang="0">
                  <a:pos x="T8" y="T9"/>
                </a:cxn>
              </a:cxnLst>
              <a:rect b="b" l="0" r="r" t="0"/>
              <a:pathLst>
                <a:path h="1042" w="647">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w="9525">
                  <a:solidFill>
                    <a:srgbClr val="000000"/>
                  </a:solidFill>
                  <a:round/>
                </a14:hiddenLine>
              </a:ext>
            </a:extLst>
          </p:spPr>
          <p:txBody>
            <a:bodyPr anchor="t" anchorCtr="0" bIns="45708" compatLnSpc="1" lIns="91416" numCol="1" rIns="91416" tIns="45708" vert="horz" wrap="square"/>
            <a:lstStyle/>
            <a:p>
              <a:endParaRPr altLang="en-US" lang="zh-CN" sz="2400"/>
            </a:p>
          </p:txBody>
        </p:sp>
        <p:sp>
          <p:nvSpPr>
            <p:cNvPr id="91" name="Freeform 15"/>
            <p:cNvSpPr/>
            <p:nvPr/>
          </p:nvSpPr>
          <p:spPr bwMode="auto">
            <a:xfrm>
              <a:off x="4420294" y="2899863"/>
              <a:ext cx="586124" cy="931076"/>
            </a:xfrm>
            <a:custGeom>
              <a:gdLst>
                <a:gd fmla="*/ 647 w 647" name="T0"/>
                <a:gd fmla="*/ 1042 h 1042" name="T1"/>
                <a:gd fmla="*/ 0 w 647" name="T2"/>
                <a:gd fmla="*/ 752 h 1042" name="T3"/>
                <a:gd fmla="*/ 0 w 647" name="T4"/>
                <a:gd fmla="*/ 0 h 1042" name="T5"/>
                <a:gd fmla="*/ 647 w 647" name="T6"/>
                <a:gd fmla="*/ 649 h 1042" name="T7"/>
                <a:gd fmla="*/ 647 w 647" name="T8"/>
                <a:gd fmla="*/ 1042 h 1042" name="T9"/>
              </a:gdLst>
              <a:cxnLst>
                <a:cxn ang="0">
                  <a:pos x="T0" y="T1"/>
                </a:cxn>
                <a:cxn ang="0">
                  <a:pos x="T2" y="T3"/>
                </a:cxn>
                <a:cxn ang="0">
                  <a:pos x="T4" y="T5"/>
                </a:cxn>
                <a:cxn ang="0">
                  <a:pos x="T6" y="T7"/>
                </a:cxn>
                <a:cxn ang="0">
                  <a:pos x="T8" y="T9"/>
                </a:cxn>
              </a:cxnLst>
              <a:rect b="b" l="0" r="r" t="0"/>
              <a:pathLst>
                <a:path h="1042" w="647">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w="9525">
                  <a:solidFill>
                    <a:srgbClr val="000000"/>
                  </a:solidFill>
                  <a:round/>
                </a14:hiddenLine>
              </a:ext>
            </a:extLst>
          </p:spPr>
          <p:txBody>
            <a:bodyPr anchor="t" anchorCtr="0" bIns="45708" compatLnSpc="1" lIns="91416" numCol="1" rIns="91416" tIns="45708" vert="horz" wrap="square"/>
            <a:lstStyle/>
            <a:p>
              <a:endParaRPr altLang="en-US" lang="zh-CN" sz="2400"/>
            </a:p>
          </p:txBody>
        </p:sp>
        <p:sp>
          <p:nvSpPr>
            <p:cNvPr id="92" name="Freeform 36"/>
            <p:cNvSpPr>
              <a:spLocks noEditPoints="1"/>
            </p:cNvSpPr>
            <p:nvPr/>
          </p:nvSpPr>
          <p:spPr bwMode="auto">
            <a:xfrm>
              <a:off x="4056119" y="3255495"/>
              <a:ext cx="303480" cy="302019"/>
            </a:xfrm>
            <a:custGeom>
              <a:gdLst>
                <a:gd fmla="*/ 67 w 120" name="T0"/>
                <a:gd fmla="*/ 53 h 121" name="T1"/>
                <a:gd fmla="*/ 67 w 120" name="T2"/>
                <a:gd fmla="*/ 26 h 121" name="T3"/>
                <a:gd fmla="*/ 53 w 120" name="T4"/>
                <a:gd fmla="*/ 26 h 121" name="T5"/>
                <a:gd fmla="*/ 53 w 120" name="T6"/>
                <a:gd fmla="*/ 53 h 121" name="T7"/>
                <a:gd fmla="*/ 27 w 120" name="T8"/>
                <a:gd fmla="*/ 53 h 121" name="T9"/>
                <a:gd fmla="*/ 27 w 120" name="T10"/>
                <a:gd fmla="*/ 68 h 121" name="T11"/>
                <a:gd fmla="*/ 53 w 120" name="T12"/>
                <a:gd fmla="*/ 68 h 121" name="T13"/>
                <a:gd fmla="*/ 53 w 120" name="T14"/>
                <a:gd fmla="*/ 94 h 121" name="T15"/>
                <a:gd fmla="*/ 67 w 120" name="T16"/>
                <a:gd fmla="*/ 94 h 121" name="T17"/>
                <a:gd fmla="*/ 67 w 120" name="T18"/>
                <a:gd fmla="*/ 68 h 121" name="T19"/>
                <a:gd fmla="*/ 93 w 120" name="T20"/>
                <a:gd fmla="*/ 68 h 121" name="T21"/>
                <a:gd fmla="*/ 93 w 120" name="T22"/>
                <a:gd fmla="*/ 53 h 121" name="T23"/>
                <a:gd fmla="*/ 67 w 120" name="T24"/>
                <a:gd fmla="*/ 53 h 121" name="T25"/>
                <a:gd fmla="*/ 60 w 120" name="T26"/>
                <a:gd fmla="*/ 0 h 121" name="T27"/>
                <a:gd fmla="*/ 0 w 120" name="T28"/>
                <a:gd fmla="*/ 61 h 121" name="T29"/>
                <a:gd fmla="*/ 60 w 120" name="T30"/>
                <a:gd fmla="*/ 121 h 121" name="T31"/>
                <a:gd fmla="*/ 120 w 120" name="T32"/>
                <a:gd fmla="*/ 61 h 121" name="T33"/>
                <a:gd fmla="*/ 60 w 120" name="T34"/>
                <a:gd fmla="*/ 0 h 121" name="T35"/>
                <a:gd fmla="*/ 60 w 120" name="T36"/>
                <a:gd fmla="*/ 107 h 121" name="T37"/>
                <a:gd fmla="*/ 13 w 120" name="T38"/>
                <a:gd fmla="*/ 61 h 121" name="T39"/>
                <a:gd fmla="*/ 60 w 120" name="T40"/>
                <a:gd fmla="*/ 14 h 121" name="T41"/>
                <a:gd fmla="*/ 107 w 120" name="T42"/>
                <a:gd fmla="*/ 61 h 121" name="T43"/>
                <a:gd fmla="*/ 60 w 120" name="T44"/>
                <a:gd fmla="*/ 107 h 121" name="T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20" w="120">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anchor="t" anchorCtr="0" bIns="45708" compatLnSpc="1" lIns="91416" numCol="1" rIns="91416" tIns="45708" vert="horz" wrap="square"/>
            <a:lstStyle/>
            <a:p>
              <a:endParaRPr altLang="en-US" lang="zh-CN" sz="2400"/>
            </a:p>
          </p:txBody>
        </p:sp>
        <p:sp>
          <p:nvSpPr>
            <p:cNvPr id="93" name="TextBox 92"/>
            <p:cNvSpPr txBox="1"/>
            <p:nvPr/>
          </p:nvSpPr>
          <p:spPr>
            <a:xfrm>
              <a:off x="4442446" y="3270970"/>
              <a:ext cx="376179" cy="280009"/>
            </a:xfrm>
            <a:prstGeom prst="rect">
              <a:avLst/>
            </a:prstGeom>
            <a:noFill/>
          </p:spPr>
          <p:txBody>
            <a:bodyPr rtlCol="0" wrap="none">
              <a:spAutoFit/>
            </a:bodyPr>
            <a:lstStyle/>
            <a:p>
              <a:r>
                <a:rPr b="1" lang="en-US" sz="1200">
                  <a:solidFill>
                    <a:schemeClr val="bg1"/>
                  </a:solidFill>
                  <a:latin charset="-122" panose="020b0503020204020204" pitchFamily="34" typeface="微软雅黑"/>
                  <a:ea charset="-122" panose="020b0503020204020204" pitchFamily="34" typeface="微软雅黑"/>
                </a:rPr>
                <a:t>03</a:t>
              </a: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gdLst>
                <a:gd fmla="*/ 1040 w 1040" name="T0"/>
                <a:gd fmla="*/ 647 h 647" name="T1"/>
                <a:gd fmla="*/ 753 w 1040" name="T2"/>
                <a:gd fmla="*/ 0 h 647" name="T3"/>
                <a:gd fmla="*/ 0 w 1040" name="T4"/>
                <a:gd fmla="*/ 0 h 647" name="T5"/>
                <a:gd fmla="*/ 647 w 1040" name="T6"/>
                <a:gd fmla="*/ 647 h 647" name="T7"/>
                <a:gd fmla="*/ 1040 w 1040" name="T8"/>
                <a:gd fmla="*/ 647 h 647" name="T9"/>
              </a:gdLst>
              <a:cxnLst>
                <a:cxn ang="0">
                  <a:pos x="T0" y="T1"/>
                </a:cxn>
                <a:cxn ang="0">
                  <a:pos x="T2" y="T3"/>
                </a:cxn>
                <a:cxn ang="0">
                  <a:pos x="T4" y="T5"/>
                </a:cxn>
                <a:cxn ang="0">
                  <a:pos x="T6" y="T7"/>
                </a:cxn>
                <a:cxn ang="0">
                  <a:pos x="T8" y="T9"/>
                </a:cxn>
              </a:cxnLst>
              <a:rect b="b" l="0" r="r" t="0"/>
              <a:pathLst>
                <a:path h="647" w="1040">
                  <a:moveTo>
                    <a:pt x="1040" y="647"/>
                  </a:moveTo>
                  <a:lnTo>
                    <a:pt x="753" y="0"/>
                  </a:lnTo>
                  <a:lnTo>
                    <a:pt x="0" y="0"/>
                  </a:lnTo>
                  <a:lnTo>
                    <a:pt x="647" y="647"/>
                  </a:lnTo>
                  <a:lnTo>
                    <a:pt x="1040" y="647"/>
                  </a:lnTo>
                  <a:close/>
                </a:path>
              </a:pathLst>
            </a:custGeom>
            <a:solidFill>
              <a:srgbClr val="0070C0">
                <a:alpha val="80000"/>
              </a:srgbClr>
            </a:solidFill>
            <a:ln>
              <a:noFill/>
            </a:ln>
          </p:spPr>
          <p:txBody>
            <a:bodyPr anchor="t" anchorCtr="0" bIns="45708" compatLnSpc="1" lIns="91416" numCol="1" rIns="91416" tIns="45708" vert="horz" wrap="square"/>
            <a:lstStyle/>
            <a:p>
              <a:endParaRPr altLang="en-US" lang="zh-CN" sz="2400"/>
            </a:p>
          </p:txBody>
        </p:sp>
        <p:sp>
          <p:nvSpPr>
            <p:cNvPr id="96" name="Freeform 11"/>
            <p:cNvSpPr/>
            <p:nvPr/>
          </p:nvSpPr>
          <p:spPr bwMode="auto">
            <a:xfrm>
              <a:off x="4510886" y="2231490"/>
              <a:ext cx="942147" cy="580805"/>
            </a:xfrm>
            <a:custGeom>
              <a:gdLst>
                <a:gd fmla="*/ 1040 w 1040" name="T0"/>
                <a:gd fmla="*/ 0 h 650" name="T1"/>
                <a:gd fmla="*/ 753 w 1040" name="T2"/>
                <a:gd fmla="*/ 650 h 650" name="T3"/>
                <a:gd fmla="*/ 0 w 1040" name="T4"/>
                <a:gd fmla="*/ 650 h 650" name="T5"/>
                <a:gd fmla="*/ 647 w 1040" name="T6"/>
                <a:gd fmla="*/ 0 h 650" name="T7"/>
                <a:gd fmla="*/ 1040 w 1040" name="T8"/>
                <a:gd fmla="*/ 0 h 650" name="T9"/>
              </a:gdLst>
              <a:cxnLst>
                <a:cxn ang="0">
                  <a:pos x="T0" y="T1"/>
                </a:cxn>
                <a:cxn ang="0">
                  <a:pos x="T2" y="T3"/>
                </a:cxn>
                <a:cxn ang="0">
                  <a:pos x="T4" y="T5"/>
                </a:cxn>
                <a:cxn ang="0">
                  <a:pos x="T6" y="T7"/>
                </a:cxn>
                <a:cxn ang="0">
                  <a:pos x="T8" y="T9"/>
                </a:cxn>
              </a:cxnLst>
              <a:rect b="b" l="0" r="r" t="0"/>
              <a:pathLst>
                <a:path h="650" w="1040">
                  <a:moveTo>
                    <a:pt x="1040" y="0"/>
                  </a:moveTo>
                  <a:lnTo>
                    <a:pt x="753" y="650"/>
                  </a:lnTo>
                  <a:lnTo>
                    <a:pt x="0" y="650"/>
                  </a:lnTo>
                  <a:lnTo>
                    <a:pt x="647" y="0"/>
                  </a:lnTo>
                  <a:lnTo>
                    <a:pt x="1040" y="0"/>
                  </a:lnTo>
                  <a:close/>
                </a:path>
              </a:pathLst>
            </a:custGeom>
            <a:solidFill>
              <a:srgbClr val="00AEEF"/>
            </a:solidFill>
            <a:ln>
              <a:noFill/>
            </a:ln>
          </p:spPr>
          <p:txBody>
            <a:bodyPr anchor="t" anchorCtr="0" bIns="45708" compatLnSpc="1" lIns="91416" numCol="1" rIns="91416" tIns="45708" vert="horz" wrap="square"/>
            <a:lstStyle/>
            <a:p>
              <a:endParaRPr altLang="en-US" lang="zh-CN" sz="2400"/>
            </a:p>
          </p:txBody>
        </p:sp>
        <p:sp>
          <p:nvSpPr>
            <p:cNvPr id="97" name="Freeform 35"/>
            <p:cNvSpPr>
              <a:spLocks noEditPoints="1"/>
            </p:cNvSpPr>
            <p:nvPr/>
          </p:nvSpPr>
          <p:spPr bwMode="auto">
            <a:xfrm>
              <a:off x="4879591" y="2423603"/>
              <a:ext cx="343340" cy="278787"/>
            </a:xfrm>
            <a:custGeom>
              <a:gdLst>
                <a:gd fmla="*/ 18 w 136" name="T0"/>
                <a:gd fmla="*/ 63 h 112" name="T1"/>
                <a:gd fmla="*/ 80 w 136" name="T2"/>
                <a:gd fmla="*/ 63 h 112" name="T3"/>
                <a:gd fmla="*/ 56 w 136" name="T4"/>
                <a:gd fmla="*/ 14 h 112" name="T5"/>
                <a:gd fmla="*/ 41 w 136" name="T6"/>
                <a:gd fmla="*/ 23 h 112" name="T7"/>
                <a:gd fmla="*/ 19 w 136" name="T8"/>
                <a:gd fmla="*/ 23 h 112" name="T9"/>
                <a:gd fmla="*/ 15 w 136" name="T10"/>
                <a:gd fmla="*/ 40 h 112" name="T11"/>
                <a:gd fmla="*/ 0 w 136" name="T12"/>
                <a:gd fmla="*/ 55 h 112" name="T13"/>
                <a:gd fmla="*/ 9 w 136" name="T14"/>
                <a:gd fmla="*/ 70 h 112" name="T15"/>
                <a:gd fmla="*/ 9 w 136" name="T16"/>
                <a:gd fmla="*/ 92 h 112" name="T17"/>
                <a:gd fmla="*/ 26 w 136" name="T18"/>
                <a:gd fmla="*/ 97 h 112" name="T19"/>
                <a:gd fmla="*/ 41 w 136" name="T20"/>
                <a:gd fmla="*/ 112 h 112" name="T21"/>
                <a:gd fmla="*/ 56 w 136" name="T22"/>
                <a:gd fmla="*/ 103 h 112" name="T23"/>
                <a:gd fmla="*/ 78 w 136" name="T24"/>
                <a:gd fmla="*/ 103 h 112" name="T25"/>
                <a:gd fmla="*/ 83 w 136" name="T26"/>
                <a:gd fmla="*/ 86 h 112" name="T27"/>
                <a:gd fmla="*/ 98 w 136" name="T28"/>
                <a:gd fmla="*/ 70 h 112" name="T29"/>
                <a:gd fmla="*/ 89 w 136" name="T30"/>
                <a:gd fmla="*/ 55 h 112" name="T31"/>
                <a:gd fmla="*/ 89 w 136" name="T32"/>
                <a:gd fmla="*/ 33 h 112" name="T33"/>
                <a:gd fmla="*/ 72 w 136" name="T34"/>
                <a:gd fmla="*/ 29 h 112" name="T35"/>
                <a:gd fmla="*/ 56 w 136" name="T36"/>
                <a:gd fmla="*/ 14 h 112" name="T37"/>
                <a:gd fmla="*/ 100 w 136" name="T38"/>
                <a:gd fmla="*/ 23 h 112" name="T39"/>
                <a:gd fmla="*/ 124 w 136" name="T40"/>
                <a:gd fmla="*/ 23 h 112" name="T41"/>
                <a:gd fmla="*/ 116 w 136" name="T42"/>
                <a:gd fmla="*/ 0 h 112" name="T43"/>
                <a:gd fmla="*/ 108 w 136" name="T44"/>
                <a:gd fmla="*/ 4 h 112" name="T45"/>
                <a:gd fmla="*/ 98 w 136" name="T46"/>
                <a:gd fmla="*/ 4 h 112" name="T47"/>
                <a:gd fmla="*/ 96 w 136" name="T48"/>
                <a:gd fmla="*/ 12 h 112" name="T49"/>
                <a:gd fmla="*/ 88 w 136" name="T50"/>
                <a:gd fmla="*/ 20 h 112" name="T51"/>
                <a:gd fmla="*/ 93 w 136" name="T52"/>
                <a:gd fmla="*/ 27 h 112" name="T53"/>
                <a:gd fmla="*/ 93 w 136" name="T54"/>
                <a:gd fmla="*/ 37 h 112" name="T55"/>
                <a:gd fmla="*/ 101 w 136" name="T56"/>
                <a:gd fmla="*/ 39 h 112" name="T57"/>
                <a:gd fmla="*/ 108 w 136" name="T58"/>
                <a:gd fmla="*/ 47 h 112" name="T59"/>
                <a:gd fmla="*/ 116 w 136" name="T60"/>
                <a:gd fmla="*/ 42 h 112" name="T61"/>
                <a:gd fmla="*/ 126 w 136" name="T62"/>
                <a:gd fmla="*/ 43 h 112" name="T63"/>
                <a:gd fmla="*/ 128 w 136" name="T64"/>
                <a:gd fmla="*/ 34 h 112" name="T65"/>
                <a:gd fmla="*/ 136 w 136" name="T66"/>
                <a:gd fmla="*/ 27 h 112" name="T67"/>
                <a:gd fmla="*/ 131 w 136" name="T68"/>
                <a:gd fmla="*/ 20 h 112" name="T69"/>
                <a:gd fmla="*/ 131 w 136" name="T70"/>
                <a:gd fmla="*/ 9 h 112" name="T71"/>
                <a:gd fmla="*/ 123 w 136" name="T72"/>
                <a:gd fmla="*/ 7 h 112" name="T73"/>
                <a:gd fmla="*/ 116 w 136" name="T74"/>
                <a:gd fmla="*/ 0 h 112"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12" w="136">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anchor="t" anchorCtr="0" bIns="45708" compatLnSpc="1" lIns="91416" numCol="1" rIns="91416" tIns="45708" vert="horz" wrap="square"/>
            <a:lstStyle/>
            <a:p>
              <a:endParaRPr altLang="en-US" lang="zh-CN" sz="2400"/>
            </a:p>
          </p:txBody>
        </p:sp>
        <p:sp>
          <p:nvSpPr>
            <p:cNvPr id="98" name="TextBox 97"/>
            <p:cNvSpPr txBox="1"/>
            <p:nvPr/>
          </p:nvSpPr>
          <p:spPr>
            <a:xfrm>
              <a:off x="4873417" y="2920359"/>
              <a:ext cx="376179" cy="280009"/>
            </a:xfrm>
            <a:prstGeom prst="rect">
              <a:avLst/>
            </a:prstGeom>
            <a:noFill/>
          </p:spPr>
          <p:txBody>
            <a:bodyPr rtlCol="0" wrap="none">
              <a:spAutoFit/>
            </a:bodyPr>
            <a:lstStyle/>
            <a:p>
              <a:r>
                <a:rPr b="1" lang="en-US" sz="1200">
                  <a:solidFill>
                    <a:schemeClr val="bg1"/>
                  </a:solidFill>
                  <a:latin charset="-122" panose="020b0503020204020204" pitchFamily="34" typeface="微软雅黑"/>
                  <a:ea charset="-122" panose="020b0503020204020204" pitchFamily="34" typeface="微软雅黑"/>
                </a:rPr>
                <a:t>04</a:t>
              </a:r>
            </a:p>
          </p:txBody>
        </p:sp>
      </p:grpSp>
      <p:sp>
        <p:nvSpPr>
          <p:cNvPr id="48" name="平行四边形 47"/>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9" name="平行四边形 48"/>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0" name="平行四边形 49"/>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1" name="平行四边形 50"/>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100" name="Group 7"/>
          <p:cNvGrpSpPr/>
          <p:nvPr/>
        </p:nvGrpSpPr>
        <p:grpSpPr>
          <a:xfrm>
            <a:off x="180202" y="181952"/>
            <a:ext cx="216018" cy="113981"/>
            <a:chExt cx="1041399" cy="549275"/>
          </a:xfrm>
          <a:solidFill>
            <a:srgbClr val="133E73"/>
          </a:solidFill>
        </p:grpSpPr>
        <p:sp>
          <p:nvSpPr>
            <p:cNvPr id="101"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02"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03"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104"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100"/>
                                        </p:tgtEl>
                                        <p:attrNameLst>
                                          <p:attrName>style.visibility</p:attrName>
                                        </p:attrNameLst>
                                      </p:cBhvr>
                                      <p:to>
                                        <p:strVal val="visible"/>
                                      </p:to>
                                    </p:set>
                                    <p:anim calcmode="lin" valueType="num">
                                      <p:cBhvr additive="base">
                                        <p:cTn dur="500" fill="hold" id="7"/>
                                        <p:tgtEl>
                                          <p:spTgt spid="100"/>
                                        </p:tgtEl>
                                        <p:attrNameLst>
                                          <p:attrName>ppt_x</p:attrName>
                                        </p:attrNameLst>
                                      </p:cBhvr>
                                      <p:tavLst>
                                        <p:tav tm="0">
                                          <p:val>
                                            <p:strVal val="0-#ppt_w/2"/>
                                          </p:val>
                                        </p:tav>
                                        <p:tav tm="100000">
                                          <p:val>
                                            <p:strVal val="#ppt_x"/>
                                          </p:val>
                                        </p:tav>
                                      </p:tavLst>
                                    </p:anim>
                                    <p:anim calcmode="lin" valueType="num">
                                      <p:cBhvr additive="base">
                                        <p:cTn dur="500" fill="hold" id="8"/>
                                        <p:tgtEl>
                                          <p:spTgt spid="100"/>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99"/>
                                        </p:tgtEl>
                                        <p:attrNameLst>
                                          <p:attrName>style.visibility</p:attrName>
                                        </p:attrNameLst>
                                      </p:cBhvr>
                                      <p:to>
                                        <p:strVal val="visible"/>
                                      </p:to>
                                    </p:set>
                                    <p:anim calcmode="lin" valueType="num">
                                      <p:cBhvr>
                                        <p:cTn dur="500" fill="hold" id="12"/>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99"/>
                                        </p:tgtEl>
                                        <p:attrNameLst>
                                          <p:attrName>ppt_y</p:attrName>
                                        </p:attrNameLst>
                                      </p:cBhvr>
                                      <p:tavLst>
                                        <p:tav tm="0">
                                          <p:val>
                                            <p:strVal val="#ppt_y"/>
                                          </p:val>
                                        </p:tav>
                                        <p:tav tm="100000">
                                          <p:val>
                                            <p:strVal val="#ppt_y"/>
                                          </p:val>
                                        </p:tav>
                                      </p:tavLst>
                                    </p:anim>
                                    <p:anim calcmode="lin" valueType="num">
                                      <p:cBhvr>
                                        <p:cTn dur="500" fill="hold" id="14"/>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99"/>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99"/>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50"/>
                                        </p:tgtEl>
                                        <p:attrNameLst>
                                          <p:attrName>fillcolor</p:attrName>
                                        </p:attrNameLst>
                                      </p:cBhvr>
                                      <p:to>
                                        <a:srgbClr val="00AEEF"/>
                                      </p:to>
                                    </p:animClr>
                                    <p:set>
                                      <p:cBhvr>
                                        <p:cTn dur="300" fill="hold" id="20"/>
                                        <p:tgtEl>
                                          <p:spTgt spid="50"/>
                                        </p:tgtEl>
                                        <p:attrNameLst>
                                          <p:attrName>fill.type</p:attrName>
                                        </p:attrNameLst>
                                      </p:cBhvr>
                                      <p:to>
                                        <p:strVal val="solid"/>
                                      </p:to>
                                    </p:set>
                                    <p:set>
                                      <p:cBhvr>
                                        <p:cTn dur="300" fill="hold" id="21"/>
                                        <p:tgtEl>
                                          <p:spTgt spid="50"/>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2" presetSubtype="1">
                                  <p:stCondLst>
                                    <p:cond delay="0"/>
                                  </p:stCondLst>
                                  <p:childTnLst>
                                    <p:set>
                                      <p:cBhvr>
                                        <p:cTn dur="1" fill="hold" id="24">
                                          <p:stCondLst>
                                            <p:cond delay="0"/>
                                          </p:stCondLst>
                                        </p:cTn>
                                        <p:tgtEl>
                                          <p:spTgt spid="77"/>
                                        </p:tgtEl>
                                        <p:attrNameLst>
                                          <p:attrName>style.visibility</p:attrName>
                                        </p:attrNameLst>
                                      </p:cBhvr>
                                      <p:to>
                                        <p:strVal val="visible"/>
                                      </p:to>
                                    </p:set>
                                    <p:anim calcmode="lin" valueType="num">
                                      <p:cBhvr additive="base">
                                        <p:cTn dur="500" fill="hold" id="25"/>
                                        <p:tgtEl>
                                          <p:spTgt spid="77"/>
                                        </p:tgtEl>
                                        <p:attrNameLst>
                                          <p:attrName>ppt_x</p:attrName>
                                        </p:attrNameLst>
                                      </p:cBhvr>
                                      <p:tavLst>
                                        <p:tav tm="0">
                                          <p:val>
                                            <p:strVal val="#ppt_x"/>
                                          </p:val>
                                        </p:tav>
                                        <p:tav tm="100000">
                                          <p:val>
                                            <p:strVal val="#ppt_x"/>
                                          </p:val>
                                        </p:tav>
                                      </p:tavLst>
                                    </p:anim>
                                    <p:anim calcmode="lin" valueType="num">
                                      <p:cBhvr additive="base">
                                        <p:cTn dur="500" fill="hold" id="26"/>
                                        <p:tgtEl>
                                          <p:spTgt spid="77"/>
                                        </p:tgtEl>
                                        <p:attrNameLst>
                                          <p:attrName>ppt_y</p:attrName>
                                        </p:attrNameLst>
                                      </p:cBhvr>
                                      <p:tavLst>
                                        <p:tav tm="0">
                                          <p:val>
                                            <p:strVal val="0-#ppt_h/2"/>
                                          </p:val>
                                        </p:tav>
                                        <p:tav tm="100000">
                                          <p:val>
                                            <p:strVal val="#ppt_y"/>
                                          </p:val>
                                        </p:tav>
                                      </p:tavLst>
                                    </p:anim>
                                  </p:childTnLst>
                                </p:cTn>
                              </p:par>
                            </p:childTnLst>
                          </p:cTn>
                        </p:par>
                        <p:par>
                          <p:cTn fill="hold" id="27" nodeType="afterGroup">
                            <p:stCondLst>
                              <p:cond delay="1800"/>
                            </p:stCondLst>
                            <p:childTnLst>
                              <p:par>
                                <p:cTn fill="hold" id="28" nodeType="afterEffect" presetClass="entr" presetID="2" presetSubtype="8">
                                  <p:stCondLst>
                                    <p:cond delay="0"/>
                                  </p:stCondLst>
                                  <p:childTnLst>
                                    <p:set>
                                      <p:cBhvr>
                                        <p:cTn dur="1" fill="hold" id="29">
                                          <p:stCondLst>
                                            <p:cond delay="0"/>
                                          </p:stCondLst>
                                        </p:cTn>
                                        <p:tgtEl>
                                          <p:spTgt spid="82"/>
                                        </p:tgtEl>
                                        <p:attrNameLst>
                                          <p:attrName>style.visibility</p:attrName>
                                        </p:attrNameLst>
                                      </p:cBhvr>
                                      <p:to>
                                        <p:strVal val="visible"/>
                                      </p:to>
                                    </p:set>
                                    <p:anim calcmode="lin" valueType="num">
                                      <p:cBhvr additive="base">
                                        <p:cTn dur="500" fill="hold" id="30"/>
                                        <p:tgtEl>
                                          <p:spTgt spid="82"/>
                                        </p:tgtEl>
                                        <p:attrNameLst>
                                          <p:attrName>ppt_x</p:attrName>
                                        </p:attrNameLst>
                                      </p:cBhvr>
                                      <p:tavLst>
                                        <p:tav tm="0">
                                          <p:val>
                                            <p:strVal val="0-#ppt_w/2"/>
                                          </p:val>
                                        </p:tav>
                                        <p:tav tm="100000">
                                          <p:val>
                                            <p:strVal val="#ppt_x"/>
                                          </p:val>
                                        </p:tav>
                                      </p:tavLst>
                                    </p:anim>
                                    <p:anim calcmode="lin" valueType="num">
                                      <p:cBhvr additive="base">
                                        <p:cTn dur="500" fill="hold" id="31"/>
                                        <p:tgtEl>
                                          <p:spTgt spid="82"/>
                                        </p:tgtEl>
                                        <p:attrNameLst>
                                          <p:attrName>ppt_y</p:attrName>
                                        </p:attrNameLst>
                                      </p:cBhvr>
                                      <p:tavLst>
                                        <p:tav tm="0">
                                          <p:val>
                                            <p:strVal val="#ppt_y"/>
                                          </p:val>
                                        </p:tav>
                                        <p:tav tm="100000">
                                          <p:val>
                                            <p:strVal val="#ppt_y"/>
                                          </p:val>
                                        </p:tav>
                                      </p:tavLst>
                                    </p:anim>
                                  </p:childTnLst>
                                </p:cTn>
                              </p:par>
                            </p:childTnLst>
                          </p:cTn>
                        </p:par>
                        <p:par>
                          <p:cTn fill="hold" id="32" nodeType="afterGroup">
                            <p:stCondLst>
                              <p:cond delay="2300"/>
                            </p:stCondLst>
                            <p:childTnLst>
                              <p:par>
                                <p:cTn fill="hold" id="33" nodeType="afterEffect" presetClass="entr" presetID="2" presetSubtype="4">
                                  <p:stCondLst>
                                    <p:cond delay="0"/>
                                  </p:stCondLst>
                                  <p:childTnLst>
                                    <p:set>
                                      <p:cBhvr>
                                        <p:cTn dur="1" fill="hold" id="34">
                                          <p:stCondLst>
                                            <p:cond delay="0"/>
                                          </p:stCondLst>
                                        </p:cTn>
                                        <p:tgtEl>
                                          <p:spTgt spid="89"/>
                                        </p:tgtEl>
                                        <p:attrNameLst>
                                          <p:attrName>style.visibility</p:attrName>
                                        </p:attrNameLst>
                                      </p:cBhvr>
                                      <p:to>
                                        <p:strVal val="visible"/>
                                      </p:to>
                                    </p:set>
                                    <p:anim calcmode="lin" valueType="num">
                                      <p:cBhvr additive="base">
                                        <p:cTn dur="500" fill="hold" id="35"/>
                                        <p:tgtEl>
                                          <p:spTgt spid="89"/>
                                        </p:tgtEl>
                                        <p:attrNameLst>
                                          <p:attrName>ppt_x</p:attrName>
                                        </p:attrNameLst>
                                      </p:cBhvr>
                                      <p:tavLst>
                                        <p:tav tm="0">
                                          <p:val>
                                            <p:strVal val="#ppt_x"/>
                                          </p:val>
                                        </p:tav>
                                        <p:tav tm="100000">
                                          <p:val>
                                            <p:strVal val="#ppt_x"/>
                                          </p:val>
                                        </p:tav>
                                      </p:tavLst>
                                    </p:anim>
                                    <p:anim calcmode="lin" valueType="num">
                                      <p:cBhvr additive="base">
                                        <p:cTn dur="500" fill="hold" id="36"/>
                                        <p:tgtEl>
                                          <p:spTgt spid="89"/>
                                        </p:tgtEl>
                                        <p:attrNameLst>
                                          <p:attrName>ppt_y</p:attrName>
                                        </p:attrNameLst>
                                      </p:cBhvr>
                                      <p:tavLst>
                                        <p:tav tm="0">
                                          <p:val>
                                            <p:strVal val="1+#ppt_h/2"/>
                                          </p:val>
                                        </p:tav>
                                        <p:tav tm="100000">
                                          <p:val>
                                            <p:strVal val="#ppt_y"/>
                                          </p:val>
                                        </p:tav>
                                      </p:tavLst>
                                    </p:anim>
                                  </p:childTnLst>
                                </p:cTn>
                              </p:par>
                            </p:childTnLst>
                          </p:cTn>
                        </p:par>
                        <p:par>
                          <p:cTn fill="hold" id="37" nodeType="afterGroup">
                            <p:stCondLst>
                              <p:cond delay="2800"/>
                            </p:stCondLst>
                            <p:childTnLst>
                              <p:par>
                                <p:cTn fill="hold" id="38" nodeType="afterEffect" presetClass="entr" presetID="2" presetSubtype="2">
                                  <p:stCondLst>
                                    <p:cond delay="0"/>
                                  </p:stCondLst>
                                  <p:childTnLst>
                                    <p:set>
                                      <p:cBhvr>
                                        <p:cTn dur="1" fill="hold" id="39">
                                          <p:stCondLst>
                                            <p:cond delay="0"/>
                                          </p:stCondLst>
                                        </p:cTn>
                                        <p:tgtEl>
                                          <p:spTgt spid="94"/>
                                        </p:tgtEl>
                                        <p:attrNameLst>
                                          <p:attrName>style.visibility</p:attrName>
                                        </p:attrNameLst>
                                      </p:cBhvr>
                                      <p:to>
                                        <p:strVal val="visible"/>
                                      </p:to>
                                    </p:set>
                                    <p:anim calcmode="lin" valueType="num">
                                      <p:cBhvr additive="base">
                                        <p:cTn dur="500" fill="hold" id="40"/>
                                        <p:tgtEl>
                                          <p:spTgt spid="94"/>
                                        </p:tgtEl>
                                        <p:attrNameLst>
                                          <p:attrName>ppt_x</p:attrName>
                                        </p:attrNameLst>
                                      </p:cBhvr>
                                      <p:tavLst>
                                        <p:tav tm="0">
                                          <p:val>
                                            <p:strVal val="1+#ppt_w/2"/>
                                          </p:val>
                                        </p:tav>
                                        <p:tav tm="100000">
                                          <p:val>
                                            <p:strVal val="#ppt_x"/>
                                          </p:val>
                                        </p:tav>
                                      </p:tavLst>
                                    </p:anim>
                                    <p:anim calcmode="lin" valueType="num">
                                      <p:cBhvr additive="base">
                                        <p:cTn dur="500" fill="hold" id="41"/>
                                        <p:tgtEl>
                                          <p:spTgt spid="94"/>
                                        </p:tgtEl>
                                        <p:attrNameLst>
                                          <p:attrName>ppt_y</p:attrName>
                                        </p:attrNameLst>
                                      </p:cBhvr>
                                      <p:tavLst>
                                        <p:tav tm="0">
                                          <p:val>
                                            <p:strVal val="#ppt_y"/>
                                          </p:val>
                                        </p:tav>
                                        <p:tav tm="100000">
                                          <p:val>
                                            <p:strVal val="#ppt_y"/>
                                          </p:val>
                                        </p:tav>
                                      </p:tavLst>
                                    </p:anim>
                                  </p:childTnLst>
                                </p:cTn>
                              </p:par>
                            </p:childTnLst>
                          </p:cTn>
                        </p:par>
                        <p:par>
                          <p:cTn fill="hold" id="42" nodeType="afterGroup">
                            <p:stCondLst>
                              <p:cond delay="3300"/>
                            </p:stCondLst>
                            <p:childTnLst>
                              <p:par>
                                <p:cTn fill="hold" id="43" nodeType="afterEffect" presetClass="entr" presetID="12" presetSubtype="1">
                                  <p:stCondLst>
                                    <p:cond delay="0"/>
                                  </p:stCondLst>
                                  <p:childTnLst>
                                    <p:set>
                                      <p:cBhvr>
                                        <p:cTn dur="1" fill="hold" id="44">
                                          <p:stCondLst>
                                            <p:cond delay="0"/>
                                          </p:stCondLst>
                                        </p:cTn>
                                        <p:tgtEl>
                                          <p:spTgt spid="65"/>
                                        </p:tgtEl>
                                        <p:attrNameLst>
                                          <p:attrName>style.visibility</p:attrName>
                                        </p:attrNameLst>
                                      </p:cBhvr>
                                      <p:to>
                                        <p:strVal val="visible"/>
                                      </p:to>
                                    </p:set>
                                    <p:animEffect filter="slide(fromTop)" transition="in">
                                      <p:cBhvr>
                                        <p:cTn dur="500" id="45"/>
                                        <p:tgtEl>
                                          <p:spTgt spid="65"/>
                                        </p:tgtEl>
                                      </p:cBhvr>
                                    </p:animEffect>
                                  </p:childTnLst>
                                </p:cTn>
                              </p:par>
                            </p:childTnLst>
                          </p:cTn>
                        </p:par>
                        <p:par>
                          <p:cTn fill="hold" id="46" nodeType="afterGroup">
                            <p:stCondLst>
                              <p:cond delay="3800"/>
                            </p:stCondLst>
                            <p:childTnLst>
                              <p:par>
                                <p:cTn fill="hold" id="47" nodeType="afterEffect" presetClass="entr" presetID="12" presetSubtype="1">
                                  <p:stCondLst>
                                    <p:cond delay="0"/>
                                  </p:stCondLst>
                                  <p:childTnLst>
                                    <p:set>
                                      <p:cBhvr>
                                        <p:cTn dur="1" fill="hold" id="48">
                                          <p:stCondLst>
                                            <p:cond delay="0"/>
                                          </p:stCondLst>
                                        </p:cTn>
                                        <p:tgtEl>
                                          <p:spTgt spid="71"/>
                                        </p:tgtEl>
                                        <p:attrNameLst>
                                          <p:attrName>style.visibility</p:attrName>
                                        </p:attrNameLst>
                                      </p:cBhvr>
                                      <p:to>
                                        <p:strVal val="visible"/>
                                      </p:to>
                                    </p:set>
                                    <p:animEffect filter="slide(fromTop)" transition="in">
                                      <p:cBhvr>
                                        <p:cTn dur="500" id="49"/>
                                        <p:tgtEl>
                                          <p:spTgt spid="71"/>
                                        </p:tgtEl>
                                      </p:cBhvr>
                                    </p:animEffect>
                                  </p:childTnLst>
                                </p:cTn>
                              </p:par>
                            </p:childTnLst>
                          </p:cTn>
                        </p:par>
                        <p:par>
                          <p:cTn fill="hold" id="50" nodeType="afterGroup">
                            <p:stCondLst>
                              <p:cond delay="4300"/>
                            </p:stCondLst>
                            <p:childTnLst>
                              <p:par>
                                <p:cTn fill="hold" id="51" nodeType="afterEffect" presetClass="mediacall" presetID="1" presetSubtype="0">
                                  <p:stCondLst>
                                    <p:cond delay="0"/>
                                  </p:stCondLst>
                                  <p:childTnLst>
                                    <p:cmd cmd="playFrom(0.0)" type="call">
                                      <p:cBhvr>
                                        <p:cTn dur="1" fill="hold" id="52"/>
                                        <p:tgtEl>
                                          <p:spTgt spid="104"/>
                                        </p:tgtEl>
                                      </p:cBhvr>
                                    </p:cmd>
                                  </p:childTnLst>
                                </p:cTn>
                              </p:par>
                            </p:childTnLst>
                          </p:cTn>
                        </p:par>
                        <p:par>
                          <p:cTn fill="hold" id="54" nodeType="afterGroup">
                            <p:stCondLst>
                              <p:cond delay="4301"/>
                            </p:stCondLst>
                            <p:childTnLst>
                              <p:par>
                                <p:cTn fill="hold" id="55" nodeType="afterEffect" presetClass="entr" presetID="12" presetSubtype="1">
                                  <p:stCondLst>
                                    <p:cond delay="0"/>
                                  </p:stCondLst>
                                  <p:childTnLst>
                                    <p:set>
                                      <p:cBhvr>
                                        <p:cTn dur="1" fill="hold" id="56">
                                          <p:stCondLst>
                                            <p:cond delay="0"/>
                                          </p:stCondLst>
                                        </p:cTn>
                                        <p:tgtEl>
                                          <p:spTgt spid="74"/>
                                        </p:tgtEl>
                                        <p:attrNameLst>
                                          <p:attrName>style.visibility</p:attrName>
                                        </p:attrNameLst>
                                      </p:cBhvr>
                                      <p:to>
                                        <p:strVal val="visible"/>
                                      </p:to>
                                    </p:set>
                                    <p:animEffect filter="slide(fromTop)" transition="in">
                                      <p:cBhvr>
                                        <p:cTn dur="500" id="57"/>
                                        <p:tgtEl>
                                          <p:spTgt spid="74"/>
                                        </p:tgtEl>
                                      </p:cBhvr>
                                    </p:animEffect>
                                  </p:childTnLst>
                                </p:cTn>
                              </p:par>
                            </p:childTnLst>
                          </p:cTn>
                        </p:par>
                        <p:par>
                          <p:cTn fill="hold" id="58" nodeType="afterGroup">
                            <p:stCondLst>
                              <p:cond delay="4801"/>
                            </p:stCondLst>
                            <p:childTnLst>
                              <p:par>
                                <p:cTn fill="hold" id="59" nodeType="afterEffect" presetClass="entr" presetID="12" presetSubtype="1">
                                  <p:stCondLst>
                                    <p:cond delay="0"/>
                                  </p:stCondLst>
                                  <p:childTnLst>
                                    <p:set>
                                      <p:cBhvr>
                                        <p:cTn dur="1" fill="hold" id="60">
                                          <p:stCondLst>
                                            <p:cond delay="0"/>
                                          </p:stCondLst>
                                        </p:cTn>
                                        <p:tgtEl>
                                          <p:spTgt spid="68"/>
                                        </p:tgtEl>
                                        <p:attrNameLst>
                                          <p:attrName>style.visibility</p:attrName>
                                        </p:attrNameLst>
                                      </p:cBhvr>
                                      <p:to>
                                        <p:strVal val="visible"/>
                                      </p:to>
                                    </p:set>
                                    <p:animEffect filter="slide(fromTop)" transition="in">
                                      <p:cBhvr>
                                        <p:cTn dur="500" id="61"/>
                                        <p:tgtEl>
                                          <p:spTgt spid="68"/>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53">
                  <p:stCondLst>
                    <p:cond delay="indefinite"/>
                  </p:stCondLst>
                  <p:endCondLst>
                    <p:cond delay="0" evt="onPrev">
                      <p:tgtEl>
                        <p:sldTgt/>
                      </p:tgtEl>
                    </p:cond>
                    <p:cond delay="0" evt="onStopAudio">
                      <p:tgtEl>
                        <p:sldTgt/>
                      </p:tgtEl>
                    </p:cond>
                  </p:endCondLst>
                </p:cTn>
                <p:tgtEl>
                  <p:spTgt spid="104"/>
                </p:tgtEl>
              </p:cMediaNode>
            </p:audio>
          </p:childTnLst>
        </p:cTn>
      </p:par>
    </p:tnLst>
    <p:bldLst>
      <p:bldP grpId="0" spid="50"/>
      <p:bldP grpId="0" spid="99"/>
    </p:bldLst>
  </p:timing>
  <p:extLst mod="1">
    <p:ext uri="{E180D4A7-C9FB-4DFB-919C-405C955672EB}">
      <p14:showEvtLst>
        <p14:playEvt objId="104" time="1315"/>
        <p14:stopEvt objId="104" time="2081"/>
      </p14:showEvtLst>
    </p:ext>
  </p:extLst>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fmla="val 50000" name="adj1"/>
                <a:gd fmla="val 0" name="adj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flipH="1" rot="5400000">
              <a:off x="3618301" y="2958707"/>
              <a:ext cx="249700" cy="1499779"/>
            </a:xfrm>
            <a:prstGeom prst="round2SameRect">
              <a:avLst>
                <a:gd fmla="val 0" name="adj1"/>
                <a:gd fmla="val 0" name="adj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flipH="1" rot="5400000">
              <a:off x="5186867" y="2958707"/>
              <a:ext cx="249700" cy="1499779"/>
            </a:xfrm>
            <a:prstGeom prst="round2SameRect">
              <a:avLst>
                <a:gd fmla="val 0" name="adj1"/>
                <a:gd fmla="val 0" name="adj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flipH="1" rot="5400000">
              <a:off x="6755433" y="2958707"/>
              <a:ext cx="249700" cy="1499779"/>
            </a:xfrm>
            <a:prstGeom prst="round2SameRect">
              <a:avLst>
                <a:gd fmla="val 0" name="adj1"/>
                <a:gd fmla="val 0" name="adj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flipH="1" rot="5400000">
              <a:off x="9892566" y="2958708"/>
              <a:ext cx="249700" cy="1499779"/>
            </a:xfrm>
            <a:prstGeom prst="round2SameRect">
              <a:avLst>
                <a:gd fmla="val 50000" name="adj1"/>
                <a:gd fmla="val 0" name="adj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flipH="1" rot="5400000">
              <a:off x="8324000" y="2958708"/>
              <a:ext cx="249700" cy="1499779"/>
            </a:xfrm>
            <a:prstGeom prst="round2SameRect">
              <a:avLst>
                <a:gd fmla="val 0" name="adj1"/>
                <a:gd fmla="val 0" name="adj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noProof="1" sz="1000">
                <a:solidFill>
                  <a:schemeClr val="tx1">
                    <a:lumMod val="50000"/>
                    <a:lumOff val="50000"/>
                  </a:schemeClr>
                </a:solidFill>
                <a:sym charset="0" pitchFamily="34" typeface="Arial"/>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gdLst>
                <a:gd fmla="+- 0 10800 1271" name="T0"/>
                <a:gd fmla="*/ T0 w 19058" name="T1"/>
                <a:gd fmla="+- 0 10799 1270" name="T2"/>
                <a:gd fmla="*/ 10799 h 19059" name="T3"/>
                <a:gd fmla="+- 0 10800 1271" name="T4"/>
                <a:gd fmla="*/ T4 w 19058" name="T5"/>
                <a:gd fmla="+- 0 10799 1270" name="T6"/>
                <a:gd fmla="*/ 10799 h 19059" name="T7"/>
                <a:gd fmla="+- 0 10800 1271" name="T8"/>
                <a:gd fmla="*/ T8 w 19058" name="T9"/>
                <a:gd fmla="+- 0 10799 1270" name="T10"/>
                <a:gd fmla="*/ 10799 h 19059" name="T11"/>
                <a:gd fmla="+- 0 10800 1271" name="T12"/>
                <a:gd fmla="*/ T12 w 19058" name="T13"/>
                <a:gd fmla="+- 0 10799 1270" name="T14"/>
                <a:gd fmla="*/ 10799 h 19059" name="T15"/>
              </a:gdLst>
              <a:cxnLst>
                <a:cxn ang="0">
                  <a:pos x="T1" y="T3"/>
                </a:cxn>
                <a:cxn ang="0">
                  <a:pos x="T5" y="T7"/>
                </a:cxn>
                <a:cxn ang="0">
                  <a:pos x="T9" y="T11"/>
                </a:cxn>
                <a:cxn ang="0">
                  <a:pos x="T13" y="T15"/>
                </a:cxn>
              </a:cxnLst>
              <a:rect b="b" l="0" r="r" t="0"/>
              <a:pathLst>
                <a:path h="19059" w="19058">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38" name="AutoShape 8"/>
            <p:cNvSpPr/>
            <p:nvPr/>
          </p:nvSpPr>
          <p:spPr bwMode="auto">
            <a:xfrm>
              <a:off x="9348788" y="4638675"/>
              <a:ext cx="57944" cy="57944"/>
            </a:xfrm>
            <a:custGeom>
              <a:gdLst>
                <a:gd fmla="+- 0 10801 1272" name="T0"/>
                <a:gd fmla="*/ T0 w 19059" name="T1"/>
                <a:gd fmla="+- 0 10800 1272" name="T2"/>
                <a:gd fmla="*/ 10800 h 19056" name="T3"/>
                <a:gd fmla="+- 0 10801 1272" name="T4"/>
                <a:gd fmla="*/ T4 w 19059" name="T5"/>
                <a:gd fmla="+- 0 10800 1272" name="T6"/>
                <a:gd fmla="*/ 10800 h 19056" name="T7"/>
                <a:gd fmla="+- 0 10801 1272" name="T8"/>
                <a:gd fmla="*/ T8 w 19059" name="T9"/>
                <a:gd fmla="+- 0 10800 1272" name="T10"/>
                <a:gd fmla="*/ 10800 h 19056" name="T11"/>
                <a:gd fmla="+- 0 10801 1272" name="T12"/>
                <a:gd fmla="*/ T12 w 19059" name="T13"/>
                <a:gd fmla="+- 0 10800 1272" name="T14"/>
                <a:gd fmla="*/ 10800 h 19056" name="T15"/>
              </a:gdLst>
              <a:cxnLst>
                <a:cxn ang="0">
                  <a:pos x="T1" y="T3"/>
                </a:cxn>
                <a:cxn ang="0">
                  <a:pos x="T5" y="T7"/>
                </a:cxn>
                <a:cxn ang="0">
                  <a:pos x="T9" y="T11"/>
                </a:cxn>
                <a:cxn ang="0">
                  <a:pos x="T13" y="T15"/>
                </a:cxn>
              </a:cxnLst>
              <a:rect b="b" l="0" r="r" t="0"/>
              <a:pathLst>
                <a:path h="19056" w="19059">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39" name="AutoShape 9"/>
            <p:cNvSpPr/>
            <p:nvPr/>
          </p:nvSpPr>
          <p:spPr bwMode="auto">
            <a:xfrm>
              <a:off x="9290050" y="4580732"/>
              <a:ext cx="174625" cy="174625"/>
            </a:xfrm>
            <a:custGeom>
              <a:gdLst>
                <a:gd fmla="+- 0 10800 1271" name="T0"/>
                <a:gd fmla="*/ T0 w 19059" name="T1"/>
                <a:gd fmla="+- 0 10800 1271" name="T2"/>
                <a:gd fmla="*/ 10800 h 19058" name="T3"/>
                <a:gd fmla="+- 0 10800 1271" name="T4"/>
                <a:gd fmla="*/ T4 w 19059" name="T5"/>
                <a:gd fmla="+- 0 10800 1271" name="T6"/>
                <a:gd fmla="*/ 10800 h 19058" name="T7"/>
                <a:gd fmla="+- 0 10800 1271" name="T8"/>
                <a:gd fmla="*/ T8 w 19059" name="T9"/>
                <a:gd fmla="+- 0 10800 1271" name="T10"/>
                <a:gd fmla="*/ 10800 h 19058" name="T11"/>
                <a:gd fmla="+- 0 10800 1271" name="T12"/>
                <a:gd fmla="*/ T12 w 19059" name="T13"/>
                <a:gd fmla="+- 0 10800 1271" name="T14"/>
                <a:gd fmla="*/ 10800 h 19058" name="T15"/>
              </a:gdLst>
              <a:cxnLst>
                <a:cxn ang="0">
                  <a:pos x="T1" y="T3"/>
                </a:cxn>
                <a:cxn ang="0">
                  <a:pos x="T5" y="T7"/>
                </a:cxn>
                <a:cxn ang="0">
                  <a:pos x="T9" y="T11"/>
                </a:cxn>
                <a:cxn ang="0">
                  <a:pos x="T13" y="T15"/>
                </a:cxn>
              </a:cxnLst>
              <a:rect b="b" l="0" r="r" t="0"/>
              <a:pathLst>
                <a:path h="19058" w="19059">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40" name="AutoShape 10"/>
            <p:cNvSpPr/>
            <p:nvPr/>
          </p:nvSpPr>
          <p:spPr bwMode="auto">
            <a:xfrm>
              <a:off x="9406732" y="4696619"/>
              <a:ext cx="72231" cy="74613"/>
            </a:xfrm>
            <a:custGeom>
              <a:gdLst>
                <a:gd fmla="+- 0 10804 288" name="T0"/>
                <a:gd fmla="*/ T0 w 21033" name="T1"/>
                <a:gd fmla="+- 0 10798 277" name="T2"/>
                <a:gd fmla="*/ 10798 h 21043" name="T3"/>
                <a:gd fmla="+- 0 10804 288" name="T4"/>
                <a:gd fmla="*/ T4 w 21033" name="T5"/>
                <a:gd fmla="+- 0 10798 277" name="T6"/>
                <a:gd fmla="*/ 10798 h 21043" name="T7"/>
                <a:gd fmla="+- 0 10804 288" name="T8"/>
                <a:gd fmla="*/ T8 w 21033" name="T9"/>
                <a:gd fmla="+- 0 10798 277" name="T10"/>
                <a:gd fmla="*/ 10798 h 21043" name="T11"/>
                <a:gd fmla="+- 0 10804 288" name="T12"/>
                <a:gd fmla="*/ T12 w 21033" name="T13"/>
                <a:gd fmla="+- 0 10798 277" name="T14"/>
                <a:gd fmla="*/ 10798 h 21043" name="T15"/>
              </a:gdLst>
              <a:cxnLst>
                <a:cxn ang="0">
                  <a:pos x="T1" y="T3"/>
                </a:cxn>
                <a:cxn ang="0">
                  <a:pos x="T5" y="T7"/>
                </a:cxn>
                <a:cxn ang="0">
                  <a:pos x="T9" y="T11"/>
                </a:cxn>
                <a:cxn ang="0">
                  <a:pos x="T13" y="T15"/>
                </a:cxn>
              </a:cxnLst>
              <a:rect b="b" l="0" r="r" t="0"/>
              <a:pathLst>
                <a:path h="21043" w="2103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41" name="AutoShape 11"/>
            <p:cNvSpPr/>
            <p:nvPr/>
          </p:nvSpPr>
          <p:spPr bwMode="auto">
            <a:xfrm>
              <a:off x="9435307" y="4725988"/>
              <a:ext cx="103981" cy="106363"/>
            </a:xfrm>
            <a:custGeom>
              <a:gdLst>
                <a:gd fmla="+- 0 10803 203" name="T0"/>
                <a:gd fmla="*/ T0 w 21201" name="T1"/>
                <a:gd fmla="+- 0 10798 194" name="T2"/>
                <a:gd fmla="*/ 10798 h 21209" name="T3"/>
                <a:gd fmla="+- 0 10803 203" name="T4"/>
                <a:gd fmla="*/ T4 w 21201" name="T5"/>
                <a:gd fmla="+- 0 10798 194" name="T6"/>
                <a:gd fmla="*/ 10798 h 21209" name="T7"/>
                <a:gd fmla="+- 0 10803 203" name="T8"/>
                <a:gd fmla="*/ T8 w 21201" name="T9"/>
                <a:gd fmla="+- 0 10798 194" name="T10"/>
                <a:gd fmla="*/ 10798 h 21209" name="T11"/>
                <a:gd fmla="+- 0 10803 203" name="T12"/>
                <a:gd fmla="*/ T12 w 21201" name="T13"/>
                <a:gd fmla="+- 0 10798 194" name="T14"/>
                <a:gd fmla="*/ 10798 h 21209" name="T15"/>
              </a:gdLst>
              <a:cxnLst>
                <a:cxn ang="0">
                  <a:pos x="T1" y="T3"/>
                </a:cxn>
                <a:cxn ang="0">
                  <a:pos x="T5" y="T7"/>
                </a:cxn>
                <a:cxn ang="0">
                  <a:pos x="T9" y="T11"/>
                </a:cxn>
                <a:cxn ang="0">
                  <a:pos x="T13" y="T15"/>
                </a:cxn>
              </a:cxnLst>
              <a:rect b="b" l="0" r="r" t="0"/>
              <a:pathLst>
                <a:path h="21209" w="21201">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42" name="AutoShape 12"/>
            <p:cNvSpPr/>
            <p:nvPr/>
          </p:nvSpPr>
          <p:spPr bwMode="auto">
            <a:xfrm>
              <a:off x="9421019" y="4711700"/>
              <a:ext cx="88106" cy="89694"/>
            </a:xfrm>
            <a:custGeom>
              <a:gdLst>
                <a:gd fmla="+- 0 10802 238" name="T0"/>
                <a:gd fmla="*/ T0 w 21128" name="T1"/>
                <a:gd fmla="+- 0 10797 227" name="T2"/>
                <a:gd fmla="*/ 10797 h 21141" name="T3"/>
                <a:gd fmla="+- 0 10802 238" name="T4"/>
                <a:gd fmla="*/ T4 w 21128" name="T5"/>
                <a:gd fmla="+- 0 10797 227" name="T6"/>
                <a:gd fmla="*/ 10797 h 21141" name="T7"/>
                <a:gd fmla="+- 0 10802 238" name="T8"/>
                <a:gd fmla="*/ T8 w 21128" name="T9"/>
                <a:gd fmla="+- 0 10797 227" name="T10"/>
                <a:gd fmla="*/ 10797 h 21141" name="T11"/>
                <a:gd fmla="+- 0 10802 238" name="T12"/>
                <a:gd fmla="*/ T12 w 21128" name="T13"/>
                <a:gd fmla="+- 0 10797 227" name="T14"/>
                <a:gd fmla="*/ 10797 h 21141" name="T15"/>
              </a:gdLst>
              <a:cxnLst>
                <a:cxn ang="0">
                  <a:pos x="T1" y="T3"/>
                </a:cxn>
                <a:cxn ang="0">
                  <a:pos x="T5" y="T7"/>
                </a:cxn>
                <a:cxn ang="0">
                  <a:pos x="T9" y="T11"/>
                </a:cxn>
                <a:cxn ang="0">
                  <a:pos x="T13" y="T15"/>
                </a:cxn>
              </a:cxnLst>
              <a:rect b="b" l="0" r="r" t="0"/>
              <a:pathLst>
                <a:path h="21141" w="21128">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43" name="AutoShape 13"/>
            <p:cNvSpPr/>
            <p:nvPr/>
          </p:nvSpPr>
          <p:spPr bwMode="auto">
            <a:xfrm>
              <a:off x="9275763" y="4566444"/>
              <a:ext cx="73025" cy="73819"/>
            </a:xfrm>
            <a:custGeom>
              <a:gdLst>
                <a:gd fmla="+- 0 10797 278" name="T0"/>
                <a:gd fmla="*/ T0 w 21039" name="T1"/>
                <a:gd fmla="+- 0 10803 281" name="T2"/>
                <a:gd fmla="*/ 10803 h 21044" name="T3"/>
                <a:gd fmla="+- 0 10797 278" name="T4"/>
                <a:gd fmla="*/ T4 w 21039" name="T5"/>
                <a:gd fmla="+- 0 10803 281" name="T6"/>
                <a:gd fmla="*/ 10803 h 21044" name="T7"/>
                <a:gd fmla="+- 0 10797 278" name="T8"/>
                <a:gd fmla="*/ T8 w 21039" name="T9"/>
                <a:gd fmla="+- 0 10803 281" name="T10"/>
                <a:gd fmla="*/ 10803 h 21044" name="T11"/>
                <a:gd fmla="+- 0 10797 278" name="T12"/>
                <a:gd fmla="*/ T12 w 21039" name="T13"/>
                <a:gd fmla="+- 0 10803 281" name="T14"/>
                <a:gd fmla="*/ 10803 h 21044" name="T15"/>
              </a:gdLst>
              <a:cxnLst>
                <a:cxn ang="0">
                  <a:pos x="T1" y="T3"/>
                </a:cxn>
                <a:cxn ang="0">
                  <a:pos x="T5" y="T7"/>
                </a:cxn>
                <a:cxn ang="0">
                  <a:pos x="T9" y="T11"/>
                </a:cxn>
                <a:cxn ang="0">
                  <a:pos x="T13" y="T15"/>
                </a:cxn>
              </a:cxnLst>
              <a:rect b="b" l="0" r="r" t="0"/>
              <a:pathLst>
                <a:path h="21044" w="21039">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44" name="AutoShape 14"/>
            <p:cNvSpPr/>
            <p:nvPr/>
          </p:nvSpPr>
          <p:spPr bwMode="auto">
            <a:xfrm>
              <a:off x="9217819" y="4508500"/>
              <a:ext cx="103981" cy="105569"/>
            </a:xfrm>
            <a:custGeom>
              <a:gdLst>
                <a:gd fmla="+- 0 10797 198" name="T0"/>
                <a:gd fmla="*/ T0 w 21199" name="T1"/>
                <a:gd fmla="+- 0 10802 198" name="T2"/>
                <a:gd fmla="*/ 10802 h 21208" name="T3"/>
                <a:gd fmla="+- 0 10797 198" name="T4"/>
                <a:gd fmla="*/ T4 w 21199" name="T5"/>
                <a:gd fmla="+- 0 10802 198" name="T6"/>
                <a:gd fmla="*/ 10802 h 21208" name="T7"/>
                <a:gd fmla="+- 0 10797 198" name="T8"/>
                <a:gd fmla="*/ T8 w 21199" name="T9"/>
                <a:gd fmla="+- 0 10802 198" name="T10"/>
                <a:gd fmla="*/ 10802 h 21208" name="T11"/>
                <a:gd fmla="+- 0 10797 198" name="T12"/>
                <a:gd fmla="*/ T12 w 21199" name="T13"/>
                <a:gd fmla="+- 0 10802 198" name="T14"/>
                <a:gd fmla="*/ 10802 h 21208" name="T15"/>
              </a:gdLst>
              <a:cxnLst>
                <a:cxn ang="0">
                  <a:pos x="T1" y="T3"/>
                </a:cxn>
                <a:cxn ang="0">
                  <a:pos x="T5" y="T7"/>
                </a:cxn>
                <a:cxn ang="0">
                  <a:pos x="T9" y="T11"/>
                </a:cxn>
                <a:cxn ang="0">
                  <a:pos x="T13" y="T15"/>
                </a:cxn>
              </a:cxnLst>
              <a:rect b="b" l="0" r="r" t="0"/>
              <a:pathLst>
                <a:path h="21208" w="21199">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sp>
          <p:nvSpPr>
            <p:cNvPr id="45" name="AutoShape 15"/>
            <p:cNvSpPr/>
            <p:nvPr/>
          </p:nvSpPr>
          <p:spPr bwMode="auto">
            <a:xfrm>
              <a:off x="9247188" y="4537075"/>
              <a:ext cx="88107" cy="90488"/>
            </a:xfrm>
            <a:custGeom>
              <a:gdLst>
                <a:gd fmla="+- 0 10796 232" name="T0"/>
                <a:gd fmla="*/ T0 w 21129" name="T1"/>
                <a:gd fmla="+- 0 10804 234" name="T2"/>
                <a:gd fmla="*/ 10804 h 21141" name="T3"/>
                <a:gd fmla="+- 0 10796 232" name="T4"/>
                <a:gd fmla="*/ T4 w 21129" name="T5"/>
                <a:gd fmla="+- 0 10804 234" name="T6"/>
                <a:gd fmla="*/ 10804 h 21141" name="T7"/>
                <a:gd fmla="+- 0 10796 232" name="T8"/>
                <a:gd fmla="*/ T8 w 21129" name="T9"/>
                <a:gd fmla="+- 0 10804 234" name="T10"/>
                <a:gd fmla="*/ 10804 h 21141" name="T11"/>
                <a:gd fmla="+- 0 10796 232" name="T12"/>
                <a:gd fmla="*/ T12 w 21129" name="T13"/>
                <a:gd fmla="+- 0 10804 234" name="T14"/>
                <a:gd fmla="*/ 10804 h 21141" name="T15"/>
              </a:gdLst>
              <a:cxnLst>
                <a:cxn ang="0">
                  <a:pos x="T1" y="T3"/>
                </a:cxn>
                <a:cxn ang="0">
                  <a:pos x="T5" y="T7"/>
                </a:cxn>
                <a:cxn ang="0">
                  <a:pos x="T9" y="T11"/>
                </a:cxn>
                <a:cxn ang="0">
                  <a:pos x="T13" y="T15"/>
                </a:cxn>
              </a:cxnLst>
              <a:rect b="b" l="0" r="r" t="0"/>
              <a:pathLst>
                <a:path h="21141" w="21129">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anchor="ctr" bIns="20091" lIns="20091" rIns="20091" tIns="20091"/>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48" name="AutoShape 57"/>
            <p:cNvSpPr/>
            <p:nvPr/>
          </p:nvSpPr>
          <p:spPr bwMode="auto">
            <a:xfrm>
              <a:off x="7606507" y="2577307"/>
              <a:ext cx="145256" cy="464344"/>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49" name="AutoShape 58"/>
            <p:cNvSpPr/>
            <p:nvPr/>
          </p:nvSpPr>
          <p:spPr bwMode="auto">
            <a:xfrm>
              <a:off x="7446963" y="2577307"/>
              <a:ext cx="145257" cy="464344"/>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grpSp>
      <p:sp>
        <p:nvSpPr>
          <p:cNvPr id="50" name="AutoShape 59"/>
          <p:cNvSpPr/>
          <p:nvPr/>
        </p:nvSpPr>
        <p:spPr bwMode="auto">
          <a:xfrm>
            <a:off x="2373630" y="3268017"/>
            <a:ext cx="343377" cy="341848"/>
          </a:xfrm>
          <a:custGeom>
            <a:gdLst>
              <a:gd fmla="+- 0 10794 23" name="T0"/>
              <a:gd fmla="*/ T0 w 21543" name="T1"/>
              <a:gd fmla="*/ 10800 h 21600" name="T2"/>
              <a:gd fmla="+- 0 10794 23" name="T3"/>
              <a:gd fmla="*/ T3 w 21543" name="T4"/>
              <a:gd fmla="*/ 10800 h 21600" name="T5"/>
              <a:gd fmla="+- 0 10794 23" name="T6"/>
              <a:gd fmla="*/ T6 w 21543" name="T7"/>
              <a:gd fmla="*/ 10800 h 21600" name="T8"/>
              <a:gd fmla="+- 0 10794 23" name="T9"/>
              <a:gd fmla="*/ T9 w 21543" name="T10"/>
              <a:gd fmla="*/ 10800 h 21600" name="T11"/>
            </a:gdLst>
            <a:cxnLst>
              <a:cxn ang="0">
                <a:pos x="T1" y="T2"/>
              </a:cxn>
              <a:cxn ang="0">
                <a:pos x="T4" y="T5"/>
              </a:cxn>
              <a:cxn ang="0">
                <a:pos x="T7" y="T8"/>
              </a:cxn>
              <a:cxn ang="0">
                <a:pos x="T10" y="T11"/>
              </a:cxn>
            </a:cxnLst>
            <a:rect b="b" l="0" r="r" t="0"/>
            <a:pathLst>
              <a:path h="21600" w="21543">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anchor="ctr" bIns="14040" lIns="14040" rIns="14040" tIns="14040"/>
          <a:lstStyle/>
          <a:p>
            <a:pPr algn="ctr" defTabSz="168177" eaLnBrk="1">
              <a:lnSpc>
                <a:spcPct val="130000"/>
              </a:lnSpc>
              <a:defRPr/>
            </a:pPr>
            <a:endParaRPr lang="en-US" noProof="1" sz="1000">
              <a:solidFill>
                <a:schemeClr val="tx1">
                  <a:lumMod val="50000"/>
                  <a:lumOff val="50000"/>
                </a:schemeClr>
              </a:solidFill>
              <a:latin charset="0" pitchFamily="34" typeface="Arial"/>
              <a:ea charset="-122" panose="020b0503020204020204" pitchFamily="34" typeface="微软雅黑"/>
              <a:sym charset="0" pitchFamily="34" typeface="Arial"/>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53" name="AutoShape 121"/>
            <p:cNvSpPr/>
            <p:nvPr/>
          </p:nvSpPr>
          <p:spPr bwMode="auto">
            <a:xfrm>
              <a:off x="5542757" y="2785269"/>
              <a:ext cx="65088" cy="65088"/>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54" name="AutoShape 122"/>
            <p:cNvSpPr/>
            <p:nvPr/>
          </p:nvSpPr>
          <p:spPr bwMode="auto">
            <a:xfrm>
              <a:off x="5368132" y="2625725"/>
              <a:ext cx="465138" cy="391319"/>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gdLst>
                <a:gd fmla="+- 0 10800 376" name="T0"/>
                <a:gd fmla="*/ T0 w 20848" name="T1"/>
                <a:gd fmla="*/ 10800 h 21600" name="T2"/>
                <a:gd fmla="+- 0 10800 376" name="T3"/>
                <a:gd fmla="*/ T3 w 20848" name="T4"/>
                <a:gd fmla="*/ 10800 h 21600" name="T5"/>
                <a:gd fmla="+- 0 10800 376" name="T6"/>
                <a:gd fmla="*/ T6 w 20848" name="T7"/>
                <a:gd fmla="*/ 10800 h 21600" name="T8"/>
                <a:gd fmla="+- 0 10800 376" name="T9"/>
                <a:gd fmla="*/ T9 w 20848" name="T10"/>
                <a:gd fmla="*/ 10800 h 21600" name="T11"/>
              </a:gdLst>
              <a:cxnLst>
                <a:cxn ang="0">
                  <a:pos x="T1" y="T2"/>
                </a:cxn>
                <a:cxn ang="0">
                  <a:pos x="T4" y="T5"/>
                </a:cxn>
                <a:cxn ang="0">
                  <a:pos x="T7" y="T8"/>
                </a:cxn>
                <a:cxn ang="0">
                  <a:pos x="T10" y="T11"/>
                </a:cxn>
              </a:cxnLst>
              <a:rect b="b" l="0" r="r" t="0"/>
              <a:pathLst>
                <a:path h="21600" w="20848">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57" name="AutoShape 141"/>
            <p:cNvSpPr/>
            <p:nvPr/>
          </p:nvSpPr>
          <p:spPr bwMode="auto">
            <a:xfrm>
              <a:off x="2581275" y="1710532"/>
              <a:ext cx="464344" cy="362744"/>
            </a:xfrm>
            <a:custGeom>
              <a:gdLst>
                <a:gd fmla="+- 0 10800 252" name="T0"/>
                <a:gd fmla="*/ T0 w 21096" name="T1"/>
                <a:gd fmla="*/ 10800 h 21600" name="T2"/>
                <a:gd fmla="+- 0 10800 252" name="T3"/>
                <a:gd fmla="*/ T3 w 21096" name="T4"/>
                <a:gd fmla="*/ 10800 h 21600" name="T5"/>
                <a:gd fmla="+- 0 10800 252" name="T6"/>
                <a:gd fmla="*/ T6 w 21096" name="T7"/>
                <a:gd fmla="*/ 10800 h 21600" name="T8"/>
                <a:gd fmla="+- 0 10800 252" name="T9"/>
                <a:gd fmla="*/ T9 w 21096" name="T10"/>
                <a:gd fmla="*/ 10800 h 21600" name="T11"/>
              </a:gdLst>
              <a:cxnLst>
                <a:cxn ang="0">
                  <a:pos x="T1" y="T2"/>
                </a:cxn>
                <a:cxn ang="0">
                  <a:pos x="T4" y="T5"/>
                </a:cxn>
                <a:cxn ang="0">
                  <a:pos x="T7" y="T8"/>
                </a:cxn>
                <a:cxn ang="0">
                  <a:pos x="T10" y="T11"/>
                </a:cxn>
              </a:cxnLst>
              <a:rect b="b" l="0" r="r" t="0"/>
              <a:pathLst>
                <a:path h="21600" w="21096">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58" name="AutoShape 142"/>
            <p:cNvSpPr/>
            <p:nvPr/>
          </p:nvSpPr>
          <p:spPr bwMode="auto">
            <a:xfrm>
              <a:off x="2944019" y="1783557"/>
              <a:ext cx="43656" cy="42863"/>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59" name="AutoShape 143"/>
            <p:cNvSpPr/>
            <p:nvPr/>
          </p:nvSpPr>
          <p:spPr bwMode="auto">
            <a:xfrm>
              <a:off x="2929732" y="1971675"/>
              <a:ext cx="57944" cy="15082"/>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60" name="AutoShape 144"/>
            <p:cNvSpPr/>
            <p:nvPr/>
          </p:nvSpPr>
          <p:spPr bwMode="auto">
            <a:xfrm>
              <a:off x="2944019" y="1928019"/>
              <a:ext cx="58738" cy="15081"/>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61" name="AutoShape 145"/>
            <p:cNvSpPr/>
            <p:nvPr/>
          </p:nvSpPr>
          <p:spPr bwMode="auto">
            <a:xfrm>
              <a:off x="2944019" y="1885157"/>
              <a:ext cx="58738" cy="14288"/>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62" name="AutoShape 146"/>
            <p:cNvSpPr/>
            <p:nvPr/>
          </p:nvSpPr>
          <p:spPr bwMode="auto">
            <a:xfrm>
              <a:off x="2697957" y="1826419"/>
              <a:ext cx="86519" cy="61119"/>
            </a:xfrm>
            <a:custGeom>
              <a:gdLst>
                <a:gd fmla="+- 0 10822 44" name="T0"/>
                <a:gd fmla="*/ T0 w 21556" name="T1"/>
                <a:gd fmla="+- 0 10826 53" name="T2"/>
                <a:gd fmla="*/ 10826 h 21547" name="T3"/>
                <a:gd fmla="+- 0 10822 44" name="T4"/>
                <a:gd fmla="*/ T4 w 21556" name="T5"/>
                <a:gd fmla="+- 0 10826 53" name="T6"/>
                <a:gd fmla="*/ 10826 h 21547" name="T7"/>
                <a:gd fmla="+- 0 10822 44" name="T8"/>
                <a:gd fmla="*/ T8 w 21556" name="T9"/>
                <a:gd fmla="+- 0 10826 53" name="T10"/>
                <a:gd fmla="*/ 10826 h 21547" name="T11"/>
                <a:gd fmla="+- 0 10822 44" name="T12"/>
                <a:gd fmla="*/ T12 w 21556" name="T13"/>
                <a:gd fmla="+- 0 10826 53" name="T14"/>
                <a:gd fmla="*/ 10826 h 21547" name="T15"/>
              </a:gdLst>
              <a:cxnLst>
                <a:cxn ang="0">
                  <a:pos x="T1" y="T3"/>
                </a:cxn>
                <a:cxn ang="0">
                  <a:pos x="T5" y="T7"/>
                </a:cxn>
                <a:cxn ang="0">
                  <a:pos x="T9" y="T11"/>
                </a:cxn>
                <a:cxn ang="0">
                  <a:pos x="T13" y="T15"/>
                </a:cxn>
              </a:cxnLst>
              <a:rect b="b" l="0" r="r" t="0"/>
              <a:pathLst>
                <a:path h="21547" w="21556">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65" name="AutoShape 98"/>
            <p:cNvSpPr/>
            <p:nvPr/>
          </p:nvSpPr>
          <p:spPr bwMode="auto">
            <a:xfrm>
              <a:off x="5571332" y="4483894"/>
              <a:ext cx="58738" cy="14288"/>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sp>
          <p:nvSpPr>
            <p:cNvPr id="66" name="AutoShape 99"/>
            <p:cNvSpPr/>
            <p:nvPr/>
          </p:nvSpPr>
          <p:spPr bwMode="auto">
            <a:xfrm>
              <a:off x="5586413" y="4847432"/>
              <a:ext cx="28575" cy="14288"/>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anchor="ctr" bIns="20091" lIns="20091" rIns="20091" tIns="20091"/>
            <a:lstStyle/>
            <a:p>
              <a:pPr algn="ctr" defTabSz="168177" eaLnBrk="1">
                <a:lnSpc>
                  <a:spcPct val="130000"/>
                </a:lnSpc>
                <a:defRPr/>
              </a:pPr>
              <a:endParaRPr lang="en-US" noProof="1" sz="900">
                <a:solidFill>
                  <a:schemeClr val="tx1">
                    <a:lumMod val="50000"/>
                    <a:lumOff val="50000"/>
                  </a:schemeClr>
                </a:solidFill>
                <a:effectLst>
                  <a:outerShdw algn="tl" blurRad="38100" dir="2700000" dist="38100">
                    <a:srgbClr val="000000"/>
                  </a:outerShdw>
                </a:effectLst>
                <a:latin charset="0" pitchFamily="34" typeface="Arial"/>
                <a:ea charset="-122" panose="020b0503020204020204" pitchFamily="34" typeface="微软雅黑"/>
                <a:sym charset="0" pitchFamily="34" typeface="Arial"/>
              </a:endParaRPr>
            </a:p>
          </p:txBody>
        </p:sp>
      </p:grpSp>
      <p:sp>
        <p:nvSpPr>
          <p:cNvPr id="67" name="TextBox 23"/>
          <p:cNvSpPr txBox="1">
            <a:spLocks noChangeArrowheads="1"/>
          </p:cNvSpPr>
          <p:nvPr/>
        </p:nvSpPr>
        <p:spPr bwMode="auto">
          <a:xfrm>
            <a:off x="6567489" y="1932710"/>
            <a:ext cx="1652429"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68" name="TextBox 24"/>
          <p:cNvSpPr txBox="1">
            <a:spLocks noChangeArrowheads="1"/>
          </p:cNvSpPr>
          <p:nvPr/>
        </p:nvSpPr>
        <p:spPr bwMode="auto">
          <a:xfrm>
            <a:off x="6567486" y="165171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rgbClr val="00A4E3"/>
                </a:solidFill>
                <a:ea charset="-122" panose="020b0503020204020204" pitchFamily="34" typeface="微软雅黑"/>
              </a:rPr>
              <a:t>请替换文字内容</a:t>
            </a:r>
          </a:p>
        </p:txBody>
      </p:sp>
      <p:sp>
        <p:nvSpPr>
          <p:cNvPr id="69" name="TextBox 23"/>
          <p:cNvSpPr txBox="1">
            <a:spLocks noChangeArrowheads="1"/>
          </p:cNvSpPr>
          <p:nvPr/>
        </p:nvSpPr>
        <p:spPr bwMode="auto">
          <a:xfrm>
            <a:off x="5480685" y="3919629"/>
            <a:ext cx="1652429"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70" name="TextBox 24"/>
          <p:cNvSpPr txBox="1">
            <a:spLocks noChangeArrowheads="1"/>
          </p:cNvSpPr>
          <p:nvPr/>
        </p:nvSpPr>
        <p:spPr bwMode="auto">
          <a:xfrm>
            <a:off x="5480685" y="3638629"/>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rgbClr val="00A4E3"/>
                </a:solidFill>
                <a:ea charset="-122" panose="020b0503020204020204" pitchFamily="34" typeface="微软雅黑"/>
              </a:rPr>
              <a:t>请替换文字内容</a:t>
            </a:r>
          </a:p>
        </p:txBody>
      </p:sp>
      <p:sp>
        <p:nvSpPr>
          <p:cNvPr id="71" name="TextBox 23"/>
          <p:cNvSpPr txBox="1">
            <a:spLocks noChangeArrowheads="1"/>
          </p:cNvSpPr>
          <p:nvPr/>
        </p:nvSpPr>
        <p:spPr bwMode="auto">
          <a:xfrm>
            <a:off x="4168299" y="1932710"/>
            <a:ext cx="1652428"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72" name="TextBox 24"/>
          <p:cNvSpPr txBox="1">
            <a:spLocks noChangeArrowheads="1"/>
          </p:cNvSpPr>
          <p:nvPr/>
        </p:nvSpPr>
        <p:spPr bwMode="auto">
          <a:xfrm>
            <a:off x="4168299" y="165171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rgbClr val="00A4E3"/>
                </a:solidFill>
                <a:ea charset="-122" panose="020b0503020204020204" pitchFamily="34" typeface="微软雅黑"/>
              </a:rPr>
              <a:t>请替换文字内容</a:t>
            </a:r>
          </a:p>
        </p:txBody>
      </p:sp>
      <p:sp>
        <p:nvSpPr>
          <p:cNvPr id="73" name="TextBox 23"/>
          <p:cNvSpPr txBox="1">
            <a:spLocks noChangeArrowheads="1"/>
          </p:cNvSpPr>
          <p:nvPr/>
        </p:nvSpPr>
        <p:spPr bwMode="auto">
          <a:xfrm>
            <a:off x="3218180" y="3919629"/>
            <a:ext cx="1652429"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74" name="TextBox 24"/>
          <p:cNvSpPr txBox="1">
            <a:spLocks noChangeArrowheads="1"/>
          </p:cNvSpPr>
          <p:nvPr/>
        </p:nvSpPr>
        <p:spPr bwMode="auto">
          <a:xfrm>
            <a:off x="3218180" y="3638629"/>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rgbClr val="00A4E3"/>
                </a:solidFill>
                <a:ea charset="-122" panose="020b0503020204020204" pitchFamily="34" typeface="微软雅黑"/>
              </a:rPr>
              <a:t>请替换文字内容</a:t>
            </a:r>
          </a:p>
        </p:txBody>
      </p:sp>
      <p:sp>
        <p:nvSpPr>
          <p:cNvPr id="75" name="TextBox 23"/>
          <p:cNvSpPr txBox="1">
            <a:spLocks noChangeArrowheads="1"/>
          </p:cNvSpPr>
          <p:nvPr/>
        </p:nvSpPr>
        <p:spPr bwMode="auto">
          <a:xfrm>
            <a:off x="1956912" y="1932710"/>
            <a:ext cx="1652428"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76" name="TextBox 24"/>
          <p:cNvSpPr txBox="1">
            <a:spLocks noChangeArrowheads="1"/>
          </p:cNvSpPr>
          <p:nvPr/>
        </p:nvSpPr>
        <p:spPr bwMode="auto">
          <a:xfrm>
            <a:off x="1956912" y="165171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rgbClr val="00A4E3"/>
                </a:solidFill>
                <a:ea charset="-122" panose="020b0503020204020204" pitchFamily="34" typeface="微软雅黑"/>
              </a:rPr>
              <a:t>请替换文字内容</a:t>
            </a:r>
          </a:p>
        </p:txBody>
      </p:sp>
      <p:sp>
        <p:nvSpPr>
          <p:cNvPr id="77" name="TextBox 23"/>
          <p:cNvSpPr txBox="1">
            <a:spLocks noChangeArrowheads="1"/>
          </p:cNvSpPr>
          <p:nvPr/>
        </p:nvSpPr>
        <p:spPr bwMode="auto">
          <a:xfrm>
            <a:off x="903447" y="3919629"/>
            <a:ext cx="1652428"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78" name="TextBox 24"/>
          <p:cNvSpPr txBox="1">
            <a:spLocks noChangeArrowheads="1"/>
          </p:cNvSpPr>
          <p:nvPr/>
        </p:nvSpPr>
        <p:spPr bwMode="auto">
          <a:xfrm>
            <a:off x="903447" y="3638629"/>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rgbClr val="00A4E3"/>
                </a:solidFill>
                <a:ea charset="-122" panose="020b0503020204020204" pitchFamily="34" typeface="微软雅黑"/>
              </a:rPr>
              <a:t>请替换文字内容</a:t>
            </a:r>
          </a:p>
        </p:txBody>
      </p:sp>
      <p:sp>
        <p:nvSpPr>
          <p:cNvPr id="79" name="平行四边形 78"/>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0" name="平行四边形 79"/>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1" name="平行四边形 80"/>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2" name="平行四边形 81"/>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85" name="Group 7"/>
          <p:cNvGrpSpPr/>
          <p:nvPr/>
        </p:nvGrpSpPr>
        <p:grpSpPr>
          <a:xfrm>
            <a:off x="180202" y="181952"/>
            <a:ext cx="216018" cy="113981"/>
            <a:chExt cx="1041399" cy="549275"/>
          </a:xfrm>
          <a:solidFill>
            <a:srgbClr val="133E73"/>
          </a:solidFill>
        </p:grpSpPr>
        <p:sp>
          <p:nvSpPr>
            <p:cNvPr id="86"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87"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88"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89"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85"/>
                                        </p:tgtEl>
                                        <p:attrNameLst>
                                          <p:attrName>style.visibility</p:attrName>
                                        </p:attrNameLst>
                                      </p:cBhvr>
                                      <p:to>
                                        <p:strVal val="visible"/>
                                      </p:to>
                                    </p:set>
                                    <p:anim calcmode="lin" valueType="num">
                                      <p:cBhvr additive="base">
                                        <p:cTn dur="500" fill="hold" id="7"/>
                                        <p:tgtEl>
                                          <p:spTgt spid="85"/>
                                        </p:tgtEl>
                                        <p:attrNameLst>
                                          <p:attrName>ppt_x</p:attrName>
                                        </p:attrNameLst>
                                      </p:cBhvr>
                                      <p:tavLst>
                                        <p:tav tm="0">
                                          <p:val>
                                            <p:strVal val="0-#ppt_w/2"/>
                                          </p:val>
                                        </p:tav>
                                        <p:tav tm="100000">
                                          <p:val>
                                            <p:strVal val="#ppt_x"/>
                                          </p:val>
                                        </p:tav>
                                      </p:tavLst>
                                    </p:anim>
                                    <p:anim calcmode="lin" valueType="num">
                                      <p:cBhvr additive="base">
                                        <p:cTn dur="500" fill="hold" id="8"/>
                                        <p:tgtEl>
                                          <p:spTgt spid="85"/>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84"/>
                                        </p:tgtEl>
                                        <p:attrNameLst>
                                          <p:attrName>style.visibility</p:attrName>
                                        </p:attrNameLst>
                                      </p:cBhvr>
                                      <p:to>
                                        <p:strVal val="visible"/>
                                      </p:to>
                                    </p:set>
                                    <p:anim calcmode="lin" valueType="num">
                                      <p:cBhvr>
                                        <p:cTn dur="500" fill="hold" id="12"/>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84"/>
                                        </p:tgtEl>
                                        <p:attrNameLst>
                                          <p:attrName>ppt_y</p:attrName>
                                        </p:attrNameLst>
                                      </p:cBhvr>
                                      <p:tavLst>
                                        <p:tav tm="0">
                                          <p:val>
                                            <p:strVal val="#ppt_y"/>
                                          </p:val>
                                        </p:tav>
                                        <p:tav tm="100000">
                                          <p:val>
                                            <p:strVal val="#ppt_y"/>
                                          </p:val>
                                        </p:tav>
                                      </p:tavLst>
                                    </p:anim>
                                    <p:anim calcmode="lin" valueType="num">
                                      <p:cBhvr>
                                        <p:cTn dur="500" fill="hold" id="14"/>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84"/>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84"/>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81"/>
                                        </p:tgtEl>
                                        <p:attrNameLst>
                                          <p:attrName>fillcolor</p:attrName>
                                        </p:attrNameLst>
                                      </p:cBhvr>
                                      <p:to>
                                        <a:srgbClr val="00AEEF"/>
                                      </p:to>
                                    </p:animClr>
                                    <p:set>
                                      <p:cBhvr>
                                        <p:cTn dur="300" fill="hold" id="20"/>
                                        <p:tgtEl>
                                          <p:spTgt spid="81"/>
                                        </p:tgtEl>
                                        <p:attrNameLst>
                                          <p:attrName>fill.type</p:attrName>
                                        </p:attrNameLst>
                                      </p:cBhvr>
                                      <p:to>
                                        <p:strVal val="solid"/>
                                      </p:to>
                                    </p:set>
                                    <p:set>
                                      <p:cBhvr>
                                        <p:cTn dur="300" fill="hold" id="21"/>
                                        <p:tgtEl>
                                          <p:spTgt spid="81"/>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2" presetSubtype="8">
                                  <p:stCondLst>
                                    <p:cond delay="0"/>
                                  </p:stCondLst>
                                  <p:childTnLst>
                                    <p:set>
                                      <p:cBhvr>
                                        <p:cTn dur="1" fill="hold" id="24">
                                          <p:stCondLst>
                                            <p:cond delay="0"/>
                                          </p:stCondLst>
                                        </p:cTn>
                                        <p:tgtEl>
                                          <p:spTgt spid="30"/>
                                        </p:tgtEl>
                                        <p:attrNameLst>
                                          <p:attrName>style.visibility</p:attrName>
                                        </p:attrNameLst>
                                      </p:cBhvr>
                                      <p:to>
                                        <p:strVal val="visible"/>
                                      </p:to>
                                    </p:set>
                                    <p:anim calcmode="lin" valueType="num">
                                      <p:cBhvr>
                                        <p:cTn dur="500" fill="hold" id="25"/>
                                        <p:tgtEl>
                                          <p:spTgt spid="30"/>
                                        </p:tgtEl>
                                        <p:attrNameLst>
                                          <p:attrName>ppt_x</p:attrName>
                                        </p:attrNameLst>
                                      </p:cBhvr>
                                      <p:tavLst>
                                        <p:tav tm="0">
                                          <p:val>
                                            <p:strVal val="0-#ppt_w/2"/>
                                          </p:val>
                                        </p:tav>
                                        <p:tav tm="100000">
                                          <p:val>
                                            <p:strVal val="#ppt_x"/>
                                          </p:val>
                                        </p:tav>
                                      </p:tavLst>
                                    </p:anim>
                                    <p:anim calcmode="lin" valueType="num">
                                      <p:cBhvr>
                                        <p:cTn dur="500" fill="hold" id="26"/>
                                        <p:tgtEl>
                                          <p:spTgt spid="30"/>
                                        </p:tgtEl>
                                        <p:attrNameLst>
                                          <p:attrName>ppt_y</p:attrName>
                                        </p:attrNameLst>
                                      </p:cBhvr>
                                      <p:tavLst>
                                        <p:tav tm="0">
                                          <p:val>
                                            <p:strVal val="#ppt_y"/>
                                          </p:val>
                                        </p:tav>
                                        <p:tav tm="100000">
                                          <p:val>
                                            <p:strVal val="#ppt_y"/>
                                          </p:val>
                                        </p:tav>
                                      </p:tavLst>
                                    </p:anim>
                                  </p:childTnLst>
                                </p:cTn>
                              </p:par>
                            </p:childTnLst>
                          </p:cTn>
                        </p:par>
                        <p:par>
                          <p:cTn fill="hold" id="27" nodeType="afterGroup">
                            <p:stCondLst>
                              <p:cond delay="1800"/>
                            </p:stCondLst>
                            <p:childTnLst>
                              <p:par>
                                <p:cTn fill="hold" id="28" nodeType="afterEffect" presetClass="entr" presetID="53" presetSubtype="0">
                                  <p:stCondLst>
                                    <p:cond delay="0"/>
                                  </p:stCondLst>
                                  <p:childTnLst>
                                    <p:set>
                                      <p:cBhvr>
                                        <p:cTn dur="1" fill="hold" id="29">
                                          <p:stCondLst>
                                            <p:cond delay="0"/>
                                          </p:stCondLst>
                                        </p:cTn>
                                        <p:tgtEl>
                                          <p:spTgt spid="36"/>
                                        </p:tgtEl>
                                        <p:attrNameLst>
                                          <p:attrName>style.visibility</p:attrName>
                                        </p:attrNameLst>
                                      </p:cBhvr>
                                      <p:to>
                                        <p:strVal val="visible"/>
                                      </p:to>
                                    </p:set>
                                    <p:anim calcmode="lin" valueType="num">
                                      <p:cBhvr>
                                        <p:cTn dur="500" fill="hold" id="30"/>
                                        <p:tgtEl>
                                          <p:spTgt spid="36"/>
                                        </p:tgtEl>
                                        <p:attrNameLst>
                                          <p:attrName>ppt_w</p:attrName>
                                        </p:attrNameLst>
                                      </p:cBhvr>
                                      <p:tavLst>
                                        <p:tav tm="0">
                                          <p:val>
                                            <p:fltVal val="0"/>
                                          </p:val>
                                        </p:tav>
                                        <p:tav tm="100000">
                                          <p:val>
                                            <p:strVal val="#ppt_w"/>
                                          </p:val>
                                        </p:tav>
                                      </p:tavLst>
                                    </p:anim>
                                    <p:anim calcmode="lin" valueType="num">
                                      <p:cBhvr>
                                        <p:cTn dur="500" fill="hold" id="31"/>
                                        <p:tgtEl>
                                          <p:spTgt spid="36"/>
                                        </p:tgtEl>
                                        <p:attrNameLst>
                                          <p:attrName>ppt_h</p:attrName>
                                        </p:attrNameLst>
                                      </p:cBhvr>
                                      <p:tavLst>
                                        <p:tav tm="0">
                                          <p:val>
                                            <p:fltVal val="0"/>
                                          </p:val>
                                        </p:tav>
                                        <p:tav tm="100000">
                                          <p:val>
                                            <p:strVal val="#ppt_h"/>
                                          </p:val>
                                        </p:tav>
                                      </p:tavLst>
                                    </p:anim>
                                    <p:animEffect filter="fade" transition="in">
                                      <p:cBhvr>
                                        <p:cTn dur="500" id="32"/>
                                        <p:tgtEl>
                                          <p:spTgt spid="36"/>
                                        </p:tgtEl>
                                      </p:cBhvr>
                                    </p:animEffect>
                                  </p:childTnLst>
                                </p:cTn>
                              </p:par>
                            </p:childTnLst>
                          </p:cTn>
                        </p:par>
                        <p:par>
                          <p:cTn fill="hold" id="33" nodeType="afterGroup">
                            <p:stCondLst>
                              <p:cond delay="2300"/>
                            </p:stCondLst>
                            <p:childTnLst>
                              <p:par>
                                <p:cTn fill="hold" grpId="0" id="34" nodeType="afterEffect" presetClass="entr" presetID="12" presetSubtype="4">
                                  <p:stCondLst>
                                    <p:cond delay="0"/>
                                  </p:stCondLst>
                                  <p:childTnLst>
                                    <p:set>
                                      <p:cBhvr>
                                        <p:cTn dur="1" fill="hold" id="35">
                                          <p:stCondLst>
                                            <p:cond delay="0"/>
                                          </p:stCondLst>
                                        </p:cTn>
                                        <p:tgtEl>
                                          <p:spTgt spid="67"/>
                                        </p:tgtEl>
                                        <p:attrNameLst>
                                          <p:attrName>style.visibility</p:attrName>
                                        </p:attrNameLst>
                                      </p:cBhvr>
                                      <p:to>
                                        <p:strVal val="visible"/>
                                      </p:to>
                                    </p:set>
                                    <p:anim calcmode="lin" valueType="num">
                                      <p:cBhvr>
                                        <p:cTn dur="500" id="36"/>
                                        <p:tgtEl>
                                          <p:spTgt spid="67"/>
                                        </p:tgtEl>
                                        <p:attrNameLst>
                                          <p:attrName>ppt_y</p:attrName>
                                        </p:attrNameLst>
                                      </p:cBhvr>
                                      <p:tavLst>
                                        <p:tav tm="0">
                                          <p:val>
                                            <p:strVal val="#ppt_y+#ppt_h*1.125000"/>
                                          </p:val>
                                        </p:tav>
                                        <p:tav tm="100000">
                                          <p:val>
                                            <p:strVal val="#ppt_y"/>
                                          </p:val>
                                        </p:tav>
                                      </p:tavLst>
                                    </p:anim>
                                    <p:animEffect filter="wipe(up)" transition="in">
                                      <p:cBhvr>
                                        <p:cTn dur="500" id="37"/>
                                        <p:tgtEl>
                                          <p:spTgt spid="67"/>
                                        </p:tgtEl>
                                      </p:cBhvr>
                                    </p:animEffect>
                                  </p:childTnLst>
                                </p:cTn>
                              </p:par>
                              <p:par>
                                <p:cTn fill="hold" grpId="0" id="38" nodeType="withEffect" presetClass="entr" presetID="12" presetSubtype="1">
                                  <p:stCondLst>
                                    <p:cond delay="0"/>
                                  </p:stCondLst>
                                  <p:childTnLst>
                                    <p:set>
                                      <p:cBhvr>
                                        <p:cTn dur="1" fill="hold" id="39">
                                          <p:stCondLst>
                                            <p:cond delay="0"/>
                                          </p:stCondLst>
                                        </p:cTn>
                                        <p:tgtEl>
                                          <p:spTgt spid="68"/>
                                        </p:tgtEl>
                                        <p:attrNameLst>
                                          <p:attrName>style.visibility</p:attrName>
                                        </p:attrNameLst>
                                      </p:cBhvr>
                                      <p:to>
                                        <p:strVal val="visible"/>
                                      </p:to>
                                    </p:set>
                                    <p:anim calcmode="lin" valueType="num">
                                      <p:cBhvr>
                                        <p:cTn dur="500" id="40"/>
                                        <p:tgtEl>
                                          <p:spTgt spid="68"/>
                                        </p:tgtEl>
                                        <p:attrNameLst>
                                          <p:attrName>ppt_y</p:attrName>
                                        </p:attrNameLst>
                                      </p:cBhvr>
                                      <p:tavLst>
                                        <p:tav tm="0">
                                          <p:val>
                                            <p:strVal val="#ppt_y-#ppt_h*1.125000"/>
                                          </p:val>
                                        </p:tav>
                                        <p:tav tm="100000">
                                          <p:val>
                                            <p:strVal val="#ppt_y"/>
                                          </p:val>
                                        </p:tav>
                                      </p:tavLst>
                                    </p:anim>
                                    <p:animEffect filter="wipe(down)" transition="in">
                                      <p:cBhvr>
                                        <p:cTn dur="500" id="41"/>
                                        <p:tgtEl>
                                          <p:spTgt spid="68"/>
                                        </p:tgtEl>
                                      </p:cBhvr>
                                    </p:animEffect>
                                  </p:childTnLst>
                                </p:cTn>
                              </p:par>
                            </p:childTnLst>
                          </p:cTn>
                        </p:par>
                        <p:par>
                          <p:cTn fill="hold" id="42" nodeType="afterGroup">
                            <p:stCondLst>
                              <p:cond delay="2800"/>
                            </p:stCondLst>
                            <p:childTnLst>
                              <p:par>
                                <p:cTn fill="hold" id="43" nodeType="afterEffect" presetClass="entr" presetID="2" presetSubtype="8">
                                  <p:stCondLst>
                                    <p:cond delay="0"/>
                                  </p:stCondLst>
                                  <p:childTnLst>
                                    <p:set>
                                      <p:cBhvr>
                                        <p:cTn dur="1" fill="hold" id="44">
                                          <p:stCondLst>
                                            <p:cond delay="0"/>
                                          </p:stCondLst>
                                        </p:cTn>
                                        <p:tgtEl>
                                          <p:spTgt spid="33"/>
                                        </p:tgtEl>
                                        <p:attrNameLst>
                                          <p:attrName>style.visibility</p:attrName>
                                        </p:attrNameLst>
                                      </p:cBhvr>
                                      <p:to>
                                        <p:strVal val="visible"/>
                                      </p:to>
                                    </p:set>
                                    <p:anim calcmode="lin" valueType="num">
                                      <p:cBhvr>
                                        <p:cTn dur="500" fill="hold" id="45"/>
                                        <p:tgtEl>
                                          <p:spTgt spid="33"/>
                                        </p:tgtEl>
                                        <p:attrNameLst>
                                          <p:attrName>ppt_x</p:attrName>
                                        </p:attrNameLst>
                                      </p:cBhvr>
                                      <p:tavLst>
                                        <p:tav tm="0">
                                          <p:val>
                                            <p:strVal val="0-#ppt_w/2"/>
                                          </p:val>
                                        </p:tav>
                                        <p:tav tm="100000">
                                          <p:val>
                                            <p:strVal val="#ppt_x"/>
                                          </p:val>
                                        </p:tav>
                                      </p:tavLst>
                                    </p:anim>
                                    <p:anim calcmode="lin" valueType="num">
                                      <p:cBhvr>
                                        <p:cTn dur="500" fill="hold" id="46"/>
                                        <p:tgtEl>
                                          <p:spTgt spid="33"/>
                                        </p:tgtEl>
                                        <p:attrNameLst>
                                          <p:attrName>ppt_y</p:attrName>
                                        </p:attrNameLst>
                                      </p:cBhvr>
                                      <p:tavLst>
                                        <p:tav tm="0">
                                          <p:val>
                                            <p:strVal val="#ppt_y"/>
                                          </p:val>
                                        </p:tav>
                                        <p:tav tm="100000">
                                          <p:val>
                                            <p:strVal val="#ppt_y"/>
                                          </p:val>
                                        </p:tav>
                                      </p:tavLst>
                                    </p:anim>
                                  </p:childTnLst>
                                </p:cTn>
                              </p:par>
                            </p:childTnLst>
                          </p:cTn>
                        </p:par>
                        <p:par>
                          <p:cTn fill="hold" id="47" nodeType="afterGroup">
                            <p:stCondLst>
                              <p:cond delay="3300"/>
                            </p:stCondLst>
                            <p:childTnLst>
                              <p:par>
                                <p:cTn fill="hold" id="48" nodeType="afterEffect" presetClass="entr" presetID="53" presetSubtype="0">
                                  <p:stCondLst>
                                    <p:cond delay="0"/>
                                  </p:stCondLst>
                                  <p:childTnLst>
                                    <p:set>
                                      <p:cBhvr>
                                        <p:cTn dur="1" fill="hold" id="49">
                                          <p:stCondLst>
                                            <p:cond delay="0"/>
                                          </p:stCondLst>
                                        </p:cTn>
                                        <p:tgtEl>
                                          <p:spTgt spid="46"/>
                                        </p:tgtEl>
                                        <p:attrNameLst>
                                          <p:attrName>style.visibility</p:attrName>
                                        </p:attrNameLst>
                                      </p:cBhvr>
                                      <p:to>
                                        <p:strVal val="visible"/>
                                      </p:to>
                                    </p:set>
                                    <p:anim calcmode="lin" valueType="num">
                                      <p:cBhvr>
                                        <p:cTn dur="500" fill="hold" id="50"/>
                                        <p:tgtEl>
                                          <p:spTgt spid="46"/>
                                        </p:tgtEl>
                                        <p:attrNameLst>
                                          <p:attrName>ppt_w</p:attrName>
                                        </p:attrNameLst>
                                      </p:cBhvr>
                                      <p:tavLst>
                                        <p:tav tm="0">
                                          <p:val>
                                            <p:fltVal val="0"/>
                                          </p:val>
                                        </p:tav>
                                        <p:tav tm="100000">
                                          <p:val>
                                            <p:strVal val="#ppt_w"/>
                                          </p:val>
                                        </p:tav>
                                      </p:tavLst>
                                    </p:anim>
                                    <p:anim calcmode="lin" valueType="num">
                                      <p:cBhvr>
                                        <p:cTn dur="500" fill="hold" id="51"/>
                                        <p:tgtEl>
                                          <p:spTgt spid="46"/>
                                        </p:tgtEl>
                                        <p:attrNameLst>
                                          <p:attrName>ppt_h</p:attrName>
                                        </p:attrNameLst>
                                      </p:cBhvr>
                                      <p:tavLst>
                                        <p:tav tm="0">
                                          <p:val>
                                            <p:fltVal val="0"/>
                                          </p:val>
                                        </p:tav>
                                        <p:tav tm="100000">
                                          <p:val>
                                            <p:strVal val="#ppt_h"/>
                                          </p:val>
                                        </p:tav>
                                      </p:tavLst>
                                    </p:anim>
                                    <p:animEffect filter="fade" transition="in">
                                      <p:cBhvr>
                                        <p:cTn dur="500" id="52"/>
                                        <p:tgtEl>
                                          <p:spTgt spid="46"/>
                                        </p:tgtEl>
                                      </p:cBhvr>
                                    </p:animEffect>
                                  </p:childTnLst>
                                </p:cTn>
                              </p:par>
                            </p:childTnLst>
                          </p:cTn>
                        </p:par>
                        <p:par>
                          <p:cTn fill="hold" id="53" nodeType="afterGroup">
                            <p:stCondLst>
                              <p:cond delay="3800"/>
                            </p:stCondLst>
                            <p:childTnLst>
                              <p:par>
                                <p:cTn fill="hold" grpId="0" id="54" nodeType="afterEffect" presetClass="entr" presetID="12" presetSubtype="4">
                                  <p:stCondLst>
                                    <p:cond delay="0"/>
                                  </p:stCondLst>
                                  <p:childTnLst>
                                    <p:set>
                                      <p:cBhvr>
                                        <p:cTn dur="1" fill="hold" id="55">
                                          <p:stCondLst>
                                            <p:cond delay="0"/>
                                          </p:stCondLst>
                                        </p:cTn>
                                        <p:tgtEl>
                                          <p:spTgt spid="69"/>
                                        </p:tgtEl>
                                        <p:attrNameLst>
                                          <p:attrName>style.visibility</p:attrName>
                                        </p:attrNameLst>
                                      </p:cBhvr>
                                      <p:to>
                                        <p:strVal val="visible"/>
                                      </p:to>
                                    </p:set>
                                    <p:anim calcmode="lin" valueType="num">
                                      <p:cBhvr>
                                        <p:cTn dur="500" id="56"/>
                                        <p:tgtEl>
                                          <p:spTgt spid="69"/>
                                        </p:tgtEl>
                                        <p:attrNameLst>
                                          <p:attrName>ppt_y</p:attrName>
                                        </p:attrNameLst>
                                      </p:cBhvr>
                                      <p:tavLst>
                                        <p:tav tm="0">
                                          <p:val>
                                            <p:strVal val="#ppt_y+#ppt_h*1.125000"/>
                                          </p:val>
                                        </p:tav>
                                        <p:tav tm="100000">
                                          <p:val>
                                            <p:strVal val="#ppt_y"/>
                                          </p:val>
                                        </p:tav>
                                      </p:tavLst>
                                    </p:anim>
                                    <p:animEffect filter="wipe(up)" transition="in">
                                      <p:cBhvr>
                                        <p:cTn dur="500" id="57"/>
                                        <p:tgtEl>
                                          <p:spTgt spid="69"/>
                                        </p:tgtEl>
                                      </p:cBhvr>
                                    </p:animEffect>
                                  </p:childTnLst>
                                </p:cTn>
                              </p:par>
                              <p:par>
                                <p:cTn fill="hold" grpId="0" id="58" nodeType="withEffect" presetClass="entr" presetID="12" presetSubtype="1">
                                  <p:stCondLst>
                                    <p:cond delay="0"/>
                                  </p:stCondLst>
                                  <p:childTnLst>
                                    <p:set>
                                      <p:cBhvr>
                                        <p:cTn dur="1" fill="hold" id="59">
                                          <p:stCondLst>
                                            <p:cond delay="0"/>
                                          </p:stCondLst>
                                        </p:cTn>
                                        <p:tgtEl>
                                          <p:spTgt spid="70"/>
                                        </p:tgtEl>
                                        <p:attrNameLst>
                                          <p:attrName>style.visibility</p:attrName>
                                        </p:attrNameLst>
                                      </p:cBhvr>
                                      <p:to>
                                        <p:strVal val="visible"/>
                                      </p:to>
                                    </p:set>
                                    <p:anim calcmode="lin" valueType="num">
                                      <p:cBhvr>
                                        <p:cTn dur="500" id="60"/>
                                        <p:tgtEl>
                                          <p:spTgt spid="70"/>
                                        </p:tgtEl>
                                        <p:attrNameLst>
                                          <p:attrName>ppt_y</p:attrName>
                                        </p:attrNameLst>
                                      </p:cBhvr>
                                      <p:tavLst>
                                        <p:tav tm="0">
                                          <p:val>
                                            <p:strVal val="#ppt_y-#ppt_h*1.125000"/>
                                          </p:val>
                                        </p:tav>
                                        <p:tav tm="100000">
                                          <p:val>
                                            <p:strVal val="#ppt_y"/>
                                          </p:val>
                                        </p:tav>
                                      </p:tavLst>
                                    </p:anim>
                                    <p:animEffect filter="wipe(down)" transition="in">
                                      <p:cBhvr>
                                        <p:cTn dur="500" id="61"/>
                                        <p:tgtEl>
                                          <p:spTgt spid="70"/>
                                        </p:tgtEl>
                                      </p:cBhvr>
                                    </p:animEffect>
                                  </p:childTnLst>
                                </p:cTn>
                              </p:par>
                            </p:childTnLst>
                          </p:cTn>
                        </p:par>
                        <p:par>
                          <p:cTn fill="hold" id="62" nodeType="afterGroup">
                            <p:stCondLst>
                              <p:cond delay="4300"/>
                            </p:stCondLst>
                            <p:childTnLst>
                              <p:par>
                                <p:cTn fill="hold" id="63" nodeType="afterEffect" presetClass="entr" presetID="2" presetSubtype="8">
                                  <p:stCondLst>
                                    <p:cond delay="0"/>
                                  </p:stCondLst>
                                  <p:childTnLst>
                                    <p:set>
                                      <p:cBhvr>
                                        <p:cTn dur="1" fill="hold" id="64">
                                          <p:stCondLst>
                                            <p:cond delay="0"/>
                                          </p:stCondLst>
                                        </p:cTn>
                                        <p:tgtEl>
                                          <p:spTgt spid="27"/>
                                        </p:tgtEl>
                                        <p:attrNameLst>
                                          <p:attrName>style.visibility</p:attrName>
                                        </p:attrNameLst>
                                      </p:cBhvr>
                                      <p:to>
                                        <p:strVal val="visible"/>
                                      </p:to>
                                    </p:set>
                                    <p:anim calcmode="lin" valueType="num">
                                      <p:cBhvr>
                                        <p:cTn dur="500" fill="hold" id="65"/>
                                        <p:tgtEl>
                                          <p:spTgt spid="27"/>
                                        </p:tgtEl>
                                        <p:attrNameLst>
                                          <p:attrName>ppt_x</p:attrName>
                                        </p:attrNameLst>
                                      </p:cBhvr>
                                      <p:tavLst>
                                        <p:tav tm="0">
                                          <p:val>
                                            <p:strVal val="0-#ppt_w/2"/>
                                          </p:val>
                                        </p:tav>
                                        <p:tav tm="100000">
                                          <p:val>
                                            <p:strVal val="#ppt_x"/>
                                          </p:val>
                                        </p:tav>
                                      </p:tavLst>
                                    </p:anim>
                                    <p:anim calcmode="lin" valueType="num">
                                      <p:cBhvr>
                                        <p:cTn dur="500" fill="hold" id="66"/>
                                        <p:tgtEl>
                                          <p:spTgt spid="27"/>
                                        </p:tgtEl>
                                        <p:attrNameLst>
                                          <p:attrName>ppt_y</p:attrName>
                                        </p:attrNameLst>
                                      </p:cBhvr>
                                      <p:tavLst>
                                        <p:tav tm="0">
                                          <p:val>
                                            <p:strVal val="#ppt_y"/>
                                          </p:val>
                                        </p:tav>
                                        <p:tav tm="100000">
                                          <p:val>
                                            <p:strVal val="#ppt_y"/>
                                          </p:val>
                                        </p:tav>
                                      </p:tavLst>
                                    </p:anim>
                                  </p:childTnLst>
                                </p:cTn>
                              </p:par>
                            </p:childTnLst>
                          </p:cTn>
                        </p:par>
                        <p:par>
                          <p:cTn fill="hold" id="67" nodeType="afterGroup">
                            <p:stCondLst>
                              <p:cond delay="4800"/>
                            </p:stCondLst>
                            <p:childTnLst>
                              <p:par>
                                <p:cTn fill="hold" id="68" nodeType="afterEffect" presetClass="entr" presetID="53" presetSubtype="0">
                                  <p:stCondLst>
                                    <p:cond delay="0"/>
                                  </p:stCondLst>
                                  <p:childTnLst>
                                    <p:set>
                                      <p:cBhvr>
                                        <p:cTn dur="1" fill="hold" id="69">
                                          <p:stCondLst>
                                            <p:cond delay="0"/>
                                          </p:stCondLst>
                                        </p:cTn>
                                        <p:tgtEl>
                                          <p:spTgt spid="63"/>
                                        </p:tgtEl>
                                        <p:attrNameLst>
                                          <p:attrName>style.visibility</p:attrName>
                                        </p:attrNameLst>
                                      </p:cBhvr>
                                      <p:to>
                                        <p:strVal val="visible"/>
                                      </p:to>
                                    </p:set>
                                    <p:anim calcmode="lin" valueType="num">
                                      <p:cBhvr>
                                        <p:cTn dur="500" fill="hold" id="70"/>
                                        <p:tgtEl>
                                          <p:spTgt spid="63"/>
                                        </p:tgtEl>
                                        <p:attrNameLst>
                                          <p:attrName>ppt_w</p:attrName>
                                        </p:attrNameLst>
                                      </p:cBhvr>
                                      <p:tavLst>
                                        <p:tav tm="0">
                                          <p:val>
                                            <p:fltVal val="0"/>
                                          </p:val>
                                        </p:tav>
                                        <p:tav tm="100000">
                                          <p:val>
                                            <p:strVal val="#ppt_w"/>
                                          </p:val>
                                        </p:tav>
                                      </p:tavLst>
                                    </p:anim>
                                    <p:anim calcmode="lin" valueType="num">
                                      <p:cBhvr>
                                        <p:cTn dur="500" fill="hold" id="71"/>
                                        <p:tgtEl>
                                          <p:spTgt spid="63"/>
                                        </p:tgtEl>
                                        <p:attrNameLst>
                                          <p:attrName>ppt_h</p:attrName>
                                        </p:attrNameLst>
                                      </p:cBhvr>
                                      <p:tavLst>
                                        <p:tav tm="0">
                                          <p:val>
                                            <p:fltVal val="0"/>
                                          </p:val>
                                        </p:tav>
                                        <p:tav tm="100000">
                                          <p:val>
                                            <p:strVal val="#ppt_h"/>
                                          </p:val>
                                        </p:tav>
                                      </p:tavLst>
                                    </p:anim>
                                    <p:animEffect filter="fade" transition="in">
                                      <p:cBhvr>
                                        <p:cTn dur="500" id="72"/>
                                        <p:tgtEl>
                                          <p:spTgt spid="63"/>
                                        </p:tgtEl>
                                      </p:cBhvr>
                                    </p:animEffect>
                                  </p:childTnLst>
                                </p:cTn>
                              </p:par>
                            </p:childTnLst>
                          </p:cTn>
                        </p:par>
                        <p:par>
                          <p:cTn fill="hold" id="73" nodeType="afterGroup">
                            <p:stCondLst>
                              <p:cond delay="5300"/>
                            </p:stCondLst>
                            <p:childTnLst>
                              <p:par>
                                <p:cTn fill="hold" grpId="0" id="74" nodeType="afterEffect" presetClass="entr" presetID="12" presetSubtype="4">
                                  <p:stCondLst>
                                    <p:cond delay="0"/>
                                  </p:stCondLst>
                                  <p:childTnLst>
                                    <p:set>
                                      <p:cBhvr>
                                        <p:cTn dur="1" fill="hold" id="75">
                                          <p:stCondLst>
                                            <p:cond delay="0"/>
                                          </p:stCondLst>
                                        </p:cTn>
                                        <p:tgtEl>
                                          <p:spTgt spid="71"/>
                                        </p:tgtEl>
                                        <p:attrNameLst>
                                          <p:attrName>style.visibility</p:attrName>
                                        </p:attrNameLst>
                                      </p:cBhvr>
                                      <p:to>
                                        <p:strVal val="visible"/>
                                      </p:to>
                                    </p:set>
                                    <p:anim calcmode="lin" valueType="num">
                                      <p:cBhvr>
                                        <p:cTn dur="500" id="76"/>
                                        <p:tgtEl>
                                          <p:spTgt spid="71"/>
                                        </p:tgtEl>
                                        <p:attrNameLst>
                                          <p:attrName>ppt_y</p:attrName>
                                        </p:attrNameLst>
                                      </p:cBhvr>
                                      <p:tavLst>
                                        <p:tav tm="0">
                                          <p:val>
                                            <p:strVal val="#ppt_y+#ppt_h*1.125000"/>
                                          </p:val>
                                        </p:tav>
                                        <p:tav tm="100000">
                                          <p:val>
                                            <p:strVal val="#ppt_y"/>
                                          </p:val>
                                        </p:tav>
                                      </p:tavLst>
                                    </p:anim>
                                    <p:animEffect filter="wipe(up)" transition="in">
                                      <p:cBhvr>
                                        <p:cTn dur="500" id="77"/>
                                        <p:tgtEl>
                                          <p:spTgt spid="71"/>
                                        </p:tgtEl>
                                      </p:cBhvr>
                                    </p:animEffect>
                                  </p:childTnLst>
                                </p:cTn>
                              </p:par>
                              <p:par>
                                <p:cTn fill="hold" grpId="0" id="78" nodeType="withEffect" presetClass="entr" presetID="12" presetSubtype="1">
                                  <p:stCondLst>
                                    <p:cond delay="0"/>
                                  </p:stCondLst>
                                  <p:childTnLst>
                                    <p:set>
                                      <p:cBhvr>
                                        <p:cTn dur="1" fill="hold" id="79">
                                          <p:stCondLst>
                                            <p:cond delay="0"/>
                                          </p:stCondLst>
                                        </p:cTn>
                                        <p:tgtEl>
                                          <p:spTgt spid="72"/>
                                        </p:tgtEl>
                                        <p:attrNameLst>
                                          <p:attrName>style.visibility</p:attrName>
                                        </p:attrNameLst>
                                      </p:cBhvr>
                                      <p:to>
                                        <p:strVal val="visible"/>
                                      </p:to>
                                    </p:set>
                                    <p:anim calcmode="lin" valueType="num">
                                      <p:cBhvr>
                                        <p:cTn dur="500" id="80"/>
                                        <p:tgtEl>
                                          <p:spTgt spid="72"/>
                                        </p:tgtEl>
                                        <p:attrNameLst>
                                          <p:attrName>ppt_y</p:attrName>
                                        </p:attrNameLst>
                                      </p:cBhvr>
                                      <p:tavLst>
                                        <p:tav tm="0">
                                          <p:val>
                                            <p:strVal val="#ppt_y-#ppt_h*1.125000"/>
                                          </p:val>
                                        </p:tav>
                                        <p:tav tm="100000">
                                          <p:val>
                                            <p:strVal val="#ppt_y"/>
                                          </p:val>
                                        </p:tav>
                                      </p:tavLst>
                                    </p:anim>
                                    <p:animEffect filter="wipe(down)" transition="in">
                                      <p:cBhvr>
                                        <p:cTn dur="500" id="81"/>
                                        <p:tgtEl>
                                          <p:spTgt spid="72"/>
                                        </p:tgtEl>
                                      </p:cBhvr>
                                    </p:animEffect>
                                  </p:childTnLst>
                                </p:cTn>
                              </p:par>
                            </p:childTnLst>
                          </p:cTn>
                        </p:par>
                        <p:par>
                          <p:cTn fill="hold" id="82" nodeType="afterGroup">
                            <p:stCondLst>
                              <p:cond delay="5800"/>
                            </p:stCondLst>
                            <p:childTnLst>
                              <p:par>
                                <p:cTn fill="hold" id="83" nodeType="afterEffect" presetClass="entr" presetID="2" presetSubtype="8">
                                  <p:stCondLst>
                                    <p:cond delay="0"/>
                                  </p:stCondLst>
                                  <p:childTnLst>
                                    <p:set>
                                      <p:cBhvr>
                                        <p:cTn dur="1" fill="hold" id="84">
                                          <p:stCondLst>
                                            <p:cond delay="0"/>
                                          </p:stCondLst>
                                        </p:cTn>
                                        <p:tgtEl>
                                          <p:spTgt spid="24"/>
                                        </p:tgtEl>
                                        <p:attrNameLst>
                                          <p:attrName>style.visibility</p:attrName>
                                        </p:attrNameLst>
                                      </p:cBhvr>
                                      <p:to>
                                        <p:strVal val="visible"/>
                                      </p:to>
                                    </p:set>
                                    <p:anim calcmode="lin" valueType="num">
                                      <p:cBhvr>
                                        <p:cTn dur="500" fill="hold" id="85"/>
                                        <p:tgtEl>
                                          <p:spTgt spid="24"/>
                                        </p:tgtEl>
                                        <p:attrNameLst>
                                          <p:attrName>ppt_x</p:attrName>
                                        </p:attrNameLst>
                                      </p:cBhvr>
                                      <p:tavLst>
                                        <p:tav tm="0">
                                          <p:val>
                                            <p:strVal val="0-#ppt_w/2"/>
                                          </p:val>
                                        </p:tav>
                                        <p:tav tm="100000">
                                          <p:val>
                                            <p:strVal val="#ppt_x"/>
                                          </p:val>
                                        </p:tav>
                                      </p:tavLst>
                                    </p:anim>
                                    <p:anim calcmode="lin" valueType="num">
                                      <p:cBhvr>
                                        <p:cTn dur="500" fill="hold" id="86"/>
                                        <p:tgtEl>
                                          <p:spTgt spid="24"/>
                                        </p:tgtEl>
                                        <p:attrNameLst>
                                          <p:attrName>ppt_y</p:attrName>
                                        </p:attrNameLst>
                                      </p:cBhvr>
                                      <p:tavLst>
                                        <p:tav tm="0">
                                          <p:val>
                                            <p:strVal val="#ppt_y"/>
                                          </p:val>
                                        </p:tav>
                                        <p:tav tm="100000">
                                          <p:val>
                                            <p:strVal val="#ppt_y"/>
                                          </p:val>
                                        </p:tav>
                                      </p:tavLst>
                                    </p:anim>
                                  </p:childTnLst>
                                </p:cTn>
                              </p:par>
                            </p:childTnLst>
                          </p:cTn>
                        </p:par>
                        <p:par>
                          <p:cTn fill="hold" id="87" nodeType="afterGroup">
                            <p:stCondLst>
                              <p:cond delay="6300"/>
                            </p:stCondLst>
                            <p:childTnLst>
                              <p:par>
                                <p:cTn fill="hold" id="88" nodeType="afterEffect" presetClass="entr" presetID="53" presetSubtype="0">
                                  <p:stCondLst>
                                    <p:cond delay="0"/>
                                  </p:stCondLst>
                                  <p:childTnLst>
                                    <p:set>
                                      <p:cBhvr>
                                        <p:cTn dur="1" fill="hold" id="89">
                                          <p:stCondLst>
                                            <p:cond delay="0"/>
                                          </p:stCondLst>
                                        </p:cTn>
                                        <p:tgtEl>
                                          <p:spTgt spid="51"/>
                                        </p:tgtEl>
                                        <p:attrNameLst>
                                          <p:attrName>style.visibility</p:attrName>
                                        </p:attrNameLst>
                                      </p:cBhvr>
                                      <p:to>
                                        <p:strVal val="visible"/>
                                      </p:to>
                                    </p:set>
                                    <p:anim calcmode="lin" valueType="num">
                                      <p:cBhvr>
                                        <p:cTn dur="500" fill="hold" id="90"/>
                                        <p:tgtEl>
                                          <p:spTgt spid="51"/>
                                        </p:tgtEl>
                                        <p:attrNameLst>
                                          <p:attrName>ppt_w</p:attrName>
                                        </p:attrNameLst>
                                      </p:cBhvr>
                                      <p:tavLst>
                                        <p:tav tm="0">
                                          <p:val>
                                            <p:fltVal val="0"/>
                                          </p:val>
                                        </p:tav>
                                        <p:tav tm="100000">
                                          <p:val>
                                            <p:strVal val="#ppt_w"/>
                                          </p:val>
                                        </p:tav>
                                      </p:tavLst>
                                    </p:anim>
                                    <p:anim calcmode="lin" valueType="num">
                                      <p:cBhvr>
                                        <p:cTn dur="500" fill="hold" id="91"/>
                                        <p:tgtEl>
                                          <p:spTgt spid="51"/>
                                        </p:tgtEl>
                                        <p:attrNameLst>
                                          <p:attrName>ppt_h</p:attrName>
                                        </p:attrNameLst>
                                      </p:cBhvr>
                                      <p:tavLst>
                                        <p:tav tm="0">
                                          <p:val>
                                            <p:fltVal val="0"/>
                                          </p:val>
                                        </p:tav>
                                        <p:tav tm="100000">
                                          <p:val>
                                            <p:strVal val="#ppt_h"/>
                                          </p:val>
                                        </p:tav>
                                      </p:tavLst>
                                    </p:anim>
                                    <p:animEffect filter="fade" transition="in">
                                      <p:cBhvr>
                                        <p:cTn dur="500" id="92"/>
                                        <p:tgtEl>
                                          <p:spTgt spid="51"/>
                                        </p:tgtEl>
                                      </p:cBhvr>
                                    </p:animEffect>
                                  </p:childTnLst>
                                </p:cTn>
                              </p:par>
                            </p:childTnLst>
                          </p:cTn>
                        </p:par>
                        <p:par>
                          <p:cTn fill="hold" id="93" nodeType="afterGroup">
                            <p:stCondLst>
                              <p:cond delay="6800"/>
                            </p:stCondLst>
                            <p:childTnLst>
                              <p:par>
                                <p:cTn fill="hold" grpId="0" id="94" nodeType="afterEffect" presetClass="entr" presetID="12" presetSubtype="4">
                                  <p:stCondLst>
                                    <p:cond delay="0"/>
                                  </p:stCondLst>
                                  <p:childTnLst>
                                    <p:set>
                                      <p:cBhvr>
                                        <p:cTn dur="1" fill="hold" id="95">
                                          <p:stCondLst>
                                            <p:cond delay="0"/>
                                          </p:stCondLst>
                                        </p:cTn>
                                        <p:tgtEl>
                                          <p:spTgt spid="73"/>
                                        </p:tgtEl>
                                        <p:attrNameLst>
                                          <p:attrName>style.visibility</p:attrName>
                                        </p:attrNameLst>
                                      </p:cBhvr>
                                      <p:to>
                                        <p:strVal val="visible"/>
                                      </p:to>
                                    </p:set>
                                    <p:anim calcmode="lin" valueType="num">
                                      <p:cBhvr>
                                        <p:cTn dur="500" id="96"/>
                                        <p:tgtEl>
                                          <p:spTgt spid="73"/>
                                        </p:tgtEl>
                                        <p:attrNameLst>
                                          <p:attrName>ppt_y</p:attrName>
                                        </p:attrNameLst>
                                      </p:cBhvr>
                                      <p:tavLst>
                                        <p:tav tm="0">
                                          <p:val>
                                            <p:strVal val="#ppt_y+#ppt_h*1.125000"/>
                                          </p:val>
                                        </p:tav>
                                        <p:tav tm="100000">
                                          <p:val>
                                            <p:strVal val="#ppt_y"/>
                                          </p:val>
                                        </p:tav>
                                      </p:tavLst>
                                    </p:anim>
                                    <p:animEffect filter="wipe(up)" transition="in">
                                      <p:cBhvr>
                                        <p:cTn dur="500" id="97"/>
                                        <p:tgtEl>
                                          <p:spTgt spid="73"/>
                                        </p:tgtEl>
                                      </p:cBhvr>
                                    </p:animEffect>
                                  </p:childTnLst>
                                </p:cTn>
                              </p:par>
                              <p:par>
                                <p:cTn fill="hold" grpId="0" id="98" nodeType="withEffect" presetClass="entr" presetID="12" presetSubtype="1">
                                  <p:stCondLst>
                                    <p:cond delay="0"/>
                                  </p:stCondLst>
                                  <p:childTnLst>
                                    <p:set>
                                      <p:cBhvr>
                                        <p:cTn dur="1" fill="hold" id="99">
                                          <p:stCondLst>
                                            <p:cond delay="0"/>
                                          </p:stCondLst>
                                        </p:cTn>
                                        <p:tgtEl>
                                          <p:spTgt spid="74"/>
                                        </p:tgtEl>
                                        <p:attrNameLst>
                                          <p:attrName>style.visibility</p:attrName>
                                        </p:attrNameLst>
                                      </p:cBhvr>
                                      <p:to>
                                        <p:strVal val="visible"/>
                                      </p:to>
                                    </p:set>
                                    <p:anim calcmode="lin" valueType="num">
                                      <p:cBhvr>
                                        <p:cTn dur="500" id="100"/>
                                        <p:tgtEl>
                                          <p:spTgt spid="74"/>
                                        </p:tgtEl>
                                        <p:attrNameLst>
                                          <p:attrName>ppt_y</p:attrName>
                                        </p:attrNameLst>
                                      </p:cBhvr>
                                      <p:tavLst>
                                        <p:tav tm="0">
                                          <p:val>
                                            <p:strVal val="#ppt_y-#ppt_h*1.125000"/>
                                          </p:val>
                                        </p:tav>
                                        <p:tav tm="100000">
                                          <p:val>
                                            <p:strVal val="#ppt_y"/>
                                          </p:val>
                                        </p:tav>
                                      </p:tavLst>
                                    </p:anim>
                                    <p:animEffect filter="wipe(down)" transition="in">
                                      <p:cBhvr>
                                        <p:cTn dur="500" id="101"/>
                                        <p:tgtEl>
                                          <p:spTgt spid="74"/>
                                        </p:tgtEl>
                                      </p:cBhvr>
                                    </p:animEffect>
                                  </p:childTnLst>
                                </p:cTn>
                              </p:par>
                            </p:childTnLst>
                          </p:cTn>
                        </p:par>
                        <p:par>
                          <p:cTn fill="hold" id="102" nodeType="afterGroup">
                            <p:stCondLst>
                              <p:cond delay="7300"/>
                            </p:stCondLst>
                            <p:childTnLst>
                              <p:par>
                                <p:cTn fill="hold" id="103" nodeType="afterEffect" presetClass="mediacall" presetID="1" presetSubtype="0">
                                  <p:stCondLst>
                                    <p:cond delay="0"/>
                                  </p:stCondLst>
                                  <p:childTnLst>
                                    <p:cmd cmd="playFrom(0.0)" type="call">
                                      <p:cBhvr>
                                        <p:cTn dur="1" fill="hold" id="104"/>
                                        <p:tgtEl>
                                          <p:spTgt spid="89"/>
                                        </p:tgtEl>
                                      </p:cBhvr>
                                    </p:cmd>
                                  </p:childTnLst>
                                </p:cTn>
                              </p:par>
                            </p:childTnLst>
                          </p:cTn>
                        </p:par>
                        <p:par>
                          <p:cTn fill="hold" id="106" nodeType="afterGroup">
                            <p:stCondLst>
                              <p:cond delay="7301"/>
                            </p:stCondLst>
                            <p:childTnLst>
                              <p:par>
                                <p:cTn fill="hold" id="107" nodeType="afterEffect" presetClass="entr" presetID="2" presetSubtype="8">
                                  <p:stCondLst>
                                    <p:cond delay="0"/>
                                  </p:stCondLst>
                                  <p:childTnLst>
                                    <p:set>
                                      <p:cBhvr>
                                        <p:cTn dur="1" fill="hold" id="108">
                                          <p:stCondLst>
                                            <p:cond delay="0"/>
                                          </p:stCondLst>
                                        </p:cTn>
                                        <p:tgtEl>
                                          <p:spTgt spid="21"/>
                                        </p:tgtEl>
                                        <p:attrNameLst>
                                          <p:attrName>style.visibility</p:attrName>
                                        </p:attrNameLst>
                                      </p:cBhvr>
                                      <p:to>
                                        <p:strVal val="visible"/>
                                      </p:to>
                                    </p:set>
                                    <p:anim calcmode="lin" valueType="num">
                                      <p:cBhvr>
                                        <p:cTn dur="500" fill="hold" id="109"/>
                                        <p:tgtEl>
                                          <p:spTgt spid="21"/>
                                        </p:tgtEl>
                                        <p:attrNameLst>
                                          <p:attrName>ppt_x</p:attrName>
                                        </p:attrNameLst>
                                      </p:cBhvr>
                                      <p:tavLst>
                                        <p:tav tm="0">
                                          <p:val>
                                            <p:strVal val="0-#ppt_w/2"/>
                                          </p:val>
                                        </p:tav>
                                        <p:tav tm="100000">
                                          <p:val>
                                            <p:strVal val="#ppt_x"/>
                                          </p:val>
                                        </p:tav>
                                      </p:tavLst>
                                    </p:anim>
                                    <p:anim calcmode="lin" valueType="num">
                                      <p:cBhvr>
                                        <p:cTn dur="500" fill="hold" id="110"/>
                                        <p:tgtEl>
                                          <p:spTgt spid="21"/>
                                        </p:tgtEl>
                                        <p:attrNameLst>
                                          <p:attrName>ppt_y</p:attrName>
                                        </p:attrNameLst>
                                      </p:cBhvr>
                                      <p:tavLst>
                                        <p:tav tm="0">
                                          <p:val>
                                            <p:strVal val="#ppt_y"/>
                                          </p:val>
                                        </p:tav>
                                        <p:tav tm="100000">
                                          <p:val>
                                            <p:strVal val="#ppt_y"/>
                                          </p:val>
                                        </p:tav>
                                      </p:tavLst>
                                    </p:anim>
                                  </p:childTnLst>
                                </p:cTn>
                              </p:par>
                            </p:childTnLst>
                          </p:cTn>
                        </p:par>
                        <p:par>
                          <p:cTn fill="hold" id="111" nodeType="afterGroup">
                            <p:stCondLst>
                              <p:cond delay="7801"/>
                            </p:stCondLst>
                            <p:childTnLst>
                              <p:par>
                                <p:cTn fill="hold" id="112" nodeType="afterEffect" presetClass="entr" presetID="53" presetSubtype="0">
                                  <p:stCondLst>
                                    <p:cond delay="0"/>
                                  </p:stCondLst>
                                  <p:childTnLst>
                                    <p:set>
                                      <p:cBhvr>
                                        <p:cTn dur="1" fill="hold" id="113">
                                          <p:stCondLst>
                                            <p:cond delay="0"/>
                                          </p:stCondLst>
                                        </p:cTn>
                                        <p:tgtEl>
                                          <p:spTgt spid="50"/>
                                        </p:tgtEl>
                                        <p:attrNameLst>
                                          <p:attrName>style.visibility</p:attrName>
                                        </p:attrNameLst>
                                      </p:cBhvr>
                                      <p:to>
                                        <p:strVal val="visible"/>
                                      </p:to>
                                    </p:set>
                                    <p:anim calcmode="lin" valueType="num">
                                      <p:cBhvr>
                                        <p:cTn dur="500" fill="hold" id="114"/>
                                        <p:tgtEl>
                                          <p:spTgt spid="50"/>
                                        </p:tgtEl>
                                        <p:attrNameLst>
                                          <p:attrName>ppt_w</p:attrName>
                                        </p:attrNameLst>
                                      </p:cBhvr>
                                      <p:tavLst>
                                        <p:tav tm="0">
                                          <p:val>
                                            <p:fltVal val="0"/>
                                          </p:val>
                                        </p:tav>
                                        <p:tav tm="100000">
                                          <p:val>
                                            <p:strVal val="#ppt_w"/>
                                          </p:val>
                                        </p:tav>
                                      </p:tavLst>
                                    </p:anim>
                                    <p:anim calcmode="lin" valueType="num">
                                      <p:cBhvr>
                                        <p:cTn dur="500" fill="hold" id="115"/>
                                        <p:tgtEl>
                                          <p:spTgt spid="50"/>
                                        </p:tgtEl>
                                        <p:attrNameLst>
                                          <p:attrName>ppt_h</p:attrName>
                                        </p:attrNameLst>
                                      </p:cBhvr>
                                      <p:tavLst>
                                        <p:tav tm="0">
                                          <p:val>
                                            <p:fltVal val="0"/>
                                          </p:val>
                                        </p:tav>
                                        <p:tav tm="100000">
                                          <p:val>
                                            <p:strVal val="#ppt_h"/>
                                          </p:val>
                                        </p:tav>
                                      </p:tavLst>
                                    </p:anim>
                                    <p:animEffect filter="fade" transition="in">
                                      <p:cBhvr>
                                        <p:cTn dur="500" id="116"/>
                                        <p:tgtEl>
                                          <p:spTgt spid="50"/>
                                        </p:tgtEl>
                                      </p:cBhvr>
                                    </p:animEffect>
                                  </p:childTnLst>
                                </p:cTn>
                              </p:par>
                            </p:childTnLst>
                          </p:cTn>
                        </p:par>
                        <p:par>
                          <p:cTn fill="hold" id="117" nodeType="afterGroup">
                            <p:stCondLst>
                              <p:cond delay="8301"/>
                            </p:stCondLst>
                            <p:childTnLst>
                              <p:par>
                                <p:cTn fill="hold" grpId="0" id="118" nodeType="afterEffect" presetClass="entr" presetID="12" presetSubtype="4">
                                  <p:stCondLst>
                                    <p:cond delay="0"/>
                                  </p:stCondLst>
                                  <p:childTnLst>
                                    <p:set>
                                      <p:cBhvr>
                                        <p:cTn dur="1" fill="hold" id="119">
                                          <p:stCondLst>
                                            <p:cond delay="0"/>
                                          </p:stCondLst>
                                        </p:cTn>
                                        <p:tgtEl>
                                          <p:spTgt spid="75"/>
                                        </p:tgtEl>
                                        <p:attrNameLst>
                                          <p:attrName>style.visibility</p:attrName>
                                        </p:attrNameLst>
                                      </p:cBhvr>
                                      <p:to>
                                        <p:strVal val="visible"/>
                                      </p:to>
                                    </p:set>
                                    <p:anim calcmode="lin" valueType="num">
                                      <p:cBhvr>
                                        <p:cTn dur="500" id="120"/>
                                        <p:tgtEl>
                                          <p:spTgt spid="75"/>
                                        </p:tgtEl>
                                        <p:attrNameLst>
                                          <p:attrName>ppt_y</p:attrName>
                                        </p:attrNameLst>
                                      </p:cBhvr>
                                      <p:tavLst>
                                        <p:tav tm="0">
                                          <p:val>
                                            <p:strVal val="#ppt_y+#ppt_h*1.125000"/>
                                          </p:val>
                                        </p:tav>
                                        <p:tav tm="100000">
                                          <p:val>
                                            <p:strVal val="#ppt_y"/>
                                          </p:val>
                                        </p:tav>
                                      </p:tavLst>
                                    </p:anim>
                                    <p:animEffect filter="wipe(up)" transition="in">
                                      <p:cBhvr>
                                        <p:cTn dur="500" id="121"/>
                                        <p:tgtEl>
                                          <p:spTgt spid="75"/>
                                        </p:tgtEl>
                                      </p:cBhvr>
                                    </p:animEffect>
                                  </p:childTnLst>
                                </p:cTn>
                              </p:par>
                              <p:par>
                                <p:cTn fill="hold" grpId="0" id="122" nodeType="withEffect" presetClass="entr" presetID="12" presetSubtype="1">
                                  <p:stCondLst>
                                    <p:cond delay="0"/>
                                  </p:stCondLst>
                                  <p:childTnLst>
                                    <p:set>
                                      <p:cBhvr>
                                        <p:cTn dur="1" fill="hold" id="123">
                                          <p:stCondLst>
                                            <p:cond delay="0"/>
                                          </p:stCondLst>
                                        </p:cTn>
                                        <p:tgtEl>
                                          <p:spTgt spid="76"/>
                                        </p:tgtEl>
                                        <p:attrNameLst>
                                          <p:attrName>style.visibility</p:attrName>
                                        </p:attrNameLst>
                                      </p:cBhvr>
                                      <p:to>
                                        <p:strVal val="visible"/>
                                      </p:to>
                                    </p:set>
                                    <p:anim calcmode="lin" valueType="num">
                                      <p:cBhvr>
                                        <p:cTn dur="500" id="124"/>
                                        <p:tgtEl>
                                          <p:spTgt spid="76"/>
                                        </p:tgtEl>
                                        <p:attrNameLst>
                                          <p:attrName>ppt_y</p:attrName>
                                        </p:attrNameLst>
                                      </p:cBhvr>
                                      <p:tavLst>
                                        <p:tav tm="0">
                                          <p:val>
                                            <p:strVal val="#ppt_y-#ppt_h*1.125000"/>
                                          </p:val>
                                        </p:tav>
                                        <p:tav tm="100000">
                                          <p:val>
                                            <p:strVal val="#ppt_y"/>
                                          </p:val>
                                        </p:tav>
                                      </p:tavLst>
                                    </p:anim>
                                    <p:animEffect filter="wipe(down)" transition="in">
                                      <p:cBhvr>
                                        <p:cTn dur="500" id="125"/>
                                        <p:tgtEl>
                                          <p:spTgt spid="76"/>
                                        </p:tgtEl>
                                      </p:cBhvr>
                                    </p:animEffect>
                                  </p:childTnLst>
                                </p:cTn>
                              </p:par>
                            </p:childTnLst>
                          </p:cTn>
                        </p:par>
                        <p:par>
                          <p:cTn fill="hold" id="126" nodeType="afterGroup">
                            <p:stCondLst>
                              <p:cond delay="8801"/>
                            </p:stCondLst>
                            <p:childTnLst>
                              <p:par>
                                <p:cTn fill="hold" id="127" nodeType="afterEffect" presetClass="entr" presetID="2" presetSubtype="8">
                                  <p:stCondLst>
                                    <p:cond delay="0"/>
                                  </p:stCondLst>
                                  <p:childTnLst>
                                    <p:set>
                                      <p:cBhvr>
                                        <p:cTn dur="1" fill="hold" id="128">
                                          <p:stCondLst>
                                            <p:cond delay="0"/>
                                          </p:stCondLst>
                                        </p:cTn>
                                        <p:tgtEl>
                                          <p:spTgt spid="18"/>
                                        </p:tgtEl>
                                        <p:attrNameLst>
                                          <p:attrName>style.visibility</p:attrName>
                                        </p:attrNameLst>
                                      </p:cBhvr>
                                      <p:to>
                                        <p:strVal val="visible"/>
                                      </p:to>
                                    </p:set>
                                    <p:anim calcmode="lin" valueType="num">
                                      <p:cBhvr>
                                        <p:cTn dur="500" fill="hold" id="129"/>
                                        <p:tgtEl>
                                          <p:spTgt spid="18"/>
                                        </p:tgtEl>
                                        <p:attrNameLst>
                                          <p:attrName>ppt_x</p:attrName>
                                        </p:attrNameLst>
                                      </p:cBhvr>
                                      <p:tavLst>
                                        <p:tav tm="0">
                                          <p:val>
                                            <p:strVal val="0-#ppt_w/2"/>
                                          </p:val>
                                        </p:tav>
                                        <p:tav tm="100000">
                                          <p:val>
                                            <p:strVal val="#ppt_x"/>
                                          </p:val>
                                        </p:tav>
                                      </p:tavLst>
                                    </p:anim>
                                    <p:anim calcmode="lin" valueType="num">
                                      <p:cBhvr>
                                        <p:cTn dur="500" fill="hold" id="130"/>
                                        <p:tgtEl>
                                          <p:spTgt spid="18"/>
                                        </p:tgtEl>
                                        <p:attrNameLst>
                                          <p:attrName>ppt_y</p:attrName>
                                        </p:attrNameLst>
                                      </p:cBhvr>
                                      <p:tavLst>
                                        <p:tav tm="0">
                                          <p:val>
                                            <p:strVal val="#ppt_y"/>
                                          </p:val>
                                        </p:tav>
                                        <p:tav tm="100000">
                                          <p:val>
                                            <p:strVal val="#ppt_y"/>
                                          </p:val>
                                        </p:tav>
                                      </p:tavLst>
                                    </p:anim>
                                  </p:childTnLst>
                                </p:cTn>
                              </p:par>
                            </p:childTnLst>
                          </p:cTn>
                        </p:par>
                        <p:par>
                          <p:cTn fill="hold" id="131" nodeType="afterGroup">
                            <p:stCondLst>
                              <p:cond delay="9301"/>
                            </p:stCondLst>
                            <p:childTnLst>
                              <p:par>
                                <p:cTn fill="hold" id="132" nodeType="afterEffect" presetClass="entr" presetID="53" presetSubtype="0">
                                  <p:stCondLst>
                                    <p:cond delay="0"/>
                                  </p:stCondLst>
                                  <p:childTnLst>
                                    <p:set>
                                      <p:cBhvr>
                                        <p:cTn dur="1" fill="hold" id="133">
                                          <p:stCondLst>
                                            <p:cond delay="0"/>
                                          </p:stCondLst>
                                        </p:cTn>
                                        <p:tgtEl>
                                          <p:spTgt spid="55"/>
                                        </p:tgtEl>
                                        <p:attrNameLst>
                                          <p:attrName>style.visibility</p:attrName>
                                        </p:attrNameLst>
                                      </p:cBhvr>
                                      <p:to>
                                        <p:strVal val="visible"/>
                                      </p:to>
                                    </p:set>
                                    <p:anim calcmode="lin" valueType="num">
                                      <p:cBhvr>
                                        <p:cTn dur="500" fill="hold" id="134"/>
                                        <p:tgtEl>
                                          <p:spTgt spid="55"/>
                                        </p:tgtEl>
                                        <p:attrNameLst>
                                          <p:attrName>ppt_w</p:attrName>
                                        </p:attrNameLst>
                                      </p:cBhvr>
                                      <p:tavLst>
                                        <p:tav tm="0">
                                          <p:val>
                                            <p:fltVal val="0"/>
                                          </p:val>
                                        </p:tav>
                                        <p:tav tm="100000">
                                          <p:val>
                                            <p:strVal val="#ppt_w"/>
                                          </p:val>
                                        </p:tav>
                                      </p:tavLst>
                                    </p:anim>
                                    <p:anim calcmode="lin" valueType="num">
                                      <p:cBhvr>
                                        <p:cTn dur="500" fill="hold" id="135"/>
                                        <p:tgtEl>
                                          <p:spTgt spid="55"/>
                                        </p:tgtEl>
                                        <p:attrNameLst>
                                          <p:attrName>ppt_h</p:attrName>
                                        </p:attrNameLst>
                                      </p:cBhvr>
                                      <p:tavLst>
                                        <p:tav tm="0">
                                          <p:val>
                                            <p:fltVal val="0"/>
                                          </p:val>
                                        </p:tav>
                                        <p:tav tm="100000">
                                          <p:val>
                                            <p:strVal val="#ppt_h"/>
                                          </p:val>
                                        </p:tav>
                                      </p:tavLst>
                                    </p:anim>
                                    <p:animEffect filter="fade" transition="in">
                                      <p:cBhvr>
                                        <p:cTn dur="500" id="136"/>
                                        <p:tgtEl>
                                          <p:spTgt spid="55"/>
                                        </p:tgtEl>
                                      </p:cBhvr>
                                    </p:animEffect>
                                  </p:childTnLst>
                                </p:cTn>
                              </p:par>
                            </p:childTnLst>
                          </p:cTn>
                        </p:par>
                        <p:par>
                          <p:cTn fill="hold" id="137" nodeType="afterGroup">
                            <p:stCondLst>
                              <p:cond delay="9801"/>
                            </p:stCondLst>
                            <p:childTnLst>
                              <p:par>
                                <p:cTn fill="hold" grpId="0" id="138" nodeType="afterEffect" presetClass="entr" presetID="12" presetSubtype="4">
                                  <p:stCondLst>
                                    <p:cond delay="0"/>
                                  </p:stCondLst>
                                  <p:childTnLst>
                                    <p:set>
                                      <p:cBhvr>
                                        <p:cTn dur="1" fill="hold" id="139">
                                          <p:stCondLst>
                                            <p:cond delay="0"/>
                                          </p:stCondLst>
                                        </p:cTn>
                                        <p:tgtEl>
                                          <p:spTgt spid="77"/>
                                        </p:tgtEl>
                                        <p:attrNameLst>
                                          <p:attrName>style.visibility</p:attrName>
                                        </p:attrNameLst>
                                      </p:cBhvr>
                                      <p:to>
                                        <p:strVal val="visible"/>
                                      </p:to>
                                    </p:set>
                                    <p:anim calcmode="lin" valueType="num">
                                      <p:cBhvr>
                                        <p:cTn dur="500" id="140"/>
                                        <p:tgtEl>
                                          <p:spTgt spid="77"/>
                                        </p:tgtEl>
                                        <p:attrNameLst>
                                          <p:attrName>ppt_y</p:attrName>
                                        </p:attrNameLst>
                                      </p:cBhvr>
                                      <p:tavLst>
                                        <p:tav tm="0">
                                          <p:val>
                                            <p:strVal val="#ppt_y+#ppt_h*1.125000"/>
                                          </p:val>
                                        </p:tav>
                                        <p:tav tm="100000">
                                          <p:val>
                                            <p:strVal val="#ppt_y"/>
                                          </p:val>
                                        </p:tav>
                                      </p:tavLst>
                                    </p:anim>
                                    <p:animEffect filter="wipe(up)" transition="in">
                                      <p:cBhvr>
                                        <p:cTn dur="500" id="141"/>
                                        <p:tgtEl>
                                          <p:spTgt spid="77"/>
                                        </p:tgtEl>
                                      </p:cBhvr>
                                    </p:animEffect>
                                  </p:childTnLst>
                                </p:cTn>
                              </p:par>
                              <p:par>
                                <p:cTn fill="hold" grpId="0" id="142" nodeType="withEffect" presetClass="entr" presetID="12" presetSubtype="1">
                                  <p:stCondLst>
                                    <p:cond delay="0"/>
                                  </p:stCondLst>
                                  <p:childTnLst>
                                    <p:set>
                                      <p:cBhvr>
                                        <p:cTn dur="1" fill="hold" id="143">
                                          <p:stCondLst>
                                            <p:cond delay="0"/>
                                          </p:stCondLst>
                                        </p:cTn>
                                        <p:tgtEl>
                                          <p:spTgt spid="78"/>
                                        </p:tgtEl>
                                        <p:attrNameLst>
                                          <p:attrName>style.visibility</p:attrName>
                                        </p:attrNameLst>
                                      </p:cBhvr>
                                      <p:to>
                                        <p:strVal val="visible"/>
                                      </p:to>
                                    </p:set>
                                    <p:anim calcmode="lin" valueType="num">
                                      <p:cBhvr>
                                        <p:cTn dur="500" id="144"/>
                                        <p:tgtEl>
                                          <p:spTgt spid="78"/>
                                        </p:tgtEl>
                                        <p:attrNameLst>
                                          <p:attrName>ppt_y</p:attrName>
                                        </p:attrNameLst>
                                      </p:cBhvr>
                                      <p:tavLst>
                                        <p:tav tm="0">
                                          <p:val>
                                            <p:strVal val="#ppt_y-#ppt_h*1.125000"/>
                                          </p:val>
                                        </p:tav>
                                        <p:tav tm="100000">
                                          <p:val>
                                            <p:strVal val="#ppt_y"/>
                                          </p:val>
                                        </p:tav>
                                      </p:tavLst>
                                    </p:anim>
                                    <p:animEffect filter="wipe(down)" transition="in">
                                      <p:cBhvr>
                                        <p:cTn dur="500" id="145"/>
                                        <p:tgtEl>
                                          <p:spTgt spid="78"/>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105">
                  <p:stCondLst>
                    <p:cond delay="indefinite"/>
                  </p:stCondLst>
                  <p:endCondLst>
                    <p:cond delay="0" evt="onPrev">
                      <p:tgtEl>
                        <p:sldTgt/>
                      </p:tgtEl>
                    </p:cond>
                    <p:cond delay="0" evt="onStopAudio">
                      <p:tgtEl>
                        <p:sldTgt/>
                      </p:tgtEl>
                    </p:cond>
                  </p:endCondLst>
                </p:cTn>
                <p:tgtEl>
                  <p:spTgt spid="89"/>
                </p:tgtEl>
              </p:cMediaNode>
            </p:audio>
          </p:childTnLst>
        </p:cTn>
      </p:par>
    </p:tnLst>
    <p:bldLst>
      <p:bldP grpId="0" spid="67"/>
      <p:bldP grpId="0" spid="68"/>
      <p:bldP grpId="0" spid="69"/>
      <p:bldP grpId="0" spid="70"/>
      <p:bldP grpId="0" spid="71"/>
      <p:bldP grpId="0" spid="72"/>
      <p:bldP grpId="0" spid="73"/>
      <p:bldP grpId="0" spid="74"/>
      <p:bldP grpId="0" spid="75"/>
      <p:bldP grpId="0" spid="76"/>
      <p:bldP grpId="0" spid="77"/>
      <p:bldP grpId="0" spid="78"/>
      <p:bldP grpId="0" spid="81"/>
      <p:bldP grpId="0" spid="84"/>
    </p:bldLst>
  </p:timing>
  <p:extLst mod="1">
    <p:ext uri="{E180D4A7-C9FB-4DFB-919C-405C955672EB}">
      <p14:showEvtLst>
        <p14:playEvt objId="89" time="1315"/>
        <p14:stopEvt objId="89" time="2081"/>
      </p14:showEvtLst>
    </p:ext>
  </p:extLst>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rrowheads="1" noChangeAspect="1"/>
            </p:cNvPicPr>
            <p:nvPr/>
          </p:nvPicPr>
          <p:blipFill>
            <a:blip r:embed="rId3">
              <a:extLst>
                <a:ext uri="{28A0092B-C50C-407E-A947-70E740481C1C}">
                  <a14:useLocalDpi val="0"/>
                </a:ext>
              </a:extLst>
            </a:blip>
            <a:stretch>
              <a:fillRect/>
            </a:stretch>
          </p:blipFill>
          <p:spPr bwMode="auto">
            <a:xfrm flipV="1" rot="1164247">
              <a:off x="7212990" y="3259838"/>
              <a:ext cx="563293" cy="62699"/>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24" name="Picture 3"/>
            <p:cNvPicPr>
              <a:picLocks noChangeArrowheads="1" noChangeAspect="1"/>
            </p:cNvPicPr>
            <p:nvPr/>
          </p:nvPicPr>
          <p:blipFill>
            <a:blip r:embed="rId4">
              <a:extLst>
                <a:ext uri="{28A0092B-C50C-407E-A947-70E740481C1C}">
                  <a14:useLocalDpi val="0"/>
                </a:ext>
              </a:extLst>
            </a:blip>
            <a:stretch>
              <a:fillRect/>
            </a:stretch>
          </p:blipFill>
          <p:spPr bwMode="auto">
            <a:xfrm flipV="1" rot="19878224">
              <a:off x="8211649" y="3972668"/>
              <a:ext cx="558904" cy="62211"/>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25" name="Picture 3"/>
            <p:cNvPicPr>
              <a:picLocks noChangeArrowheads="1" noChangeAspect="1"/>
            </p:cNvPicPr>
            <p:nvPr/>
          </p:nvPicPr>
          <p:blipFill>
            <a:blip r:embed="rId3">
              <a:extLst>
                <a:ext uri="{28A0092B-C50C-407E-A947-70E740481C1C}">
                  <a14:useLocalDpi val="0"/>
                </a:ext>
              </a:extLst>
            </a:blip>
            <a:stretch>
              <a:fillRect/>
            </a:stretch>
          </p:blipFill>
          <p:spPr bwMode="auto">
            <a:xfrm flipV="1" rot="1152643">
              <a:off x="7672523" y="4013457"/>
              <a:ext cx="563293" cy="62699"/>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26" name="Picture 3"/>
            <p:cNvPicPr>
              <a:picLocks noChangeArrowheads="1" noChangeAspect="1"/>
            </p:cNvPicPr>
            <p:nvPr/>
          </p:nvPicPr>
          <p:blipFill>
            <a:blip r:embed="rId3">
              <a:extLst>
                <a:ext uri="{28A0092B-C50C-407E-A947-70E740481C1C}">
                  <a14:useLocalDpi val="0"/>
                </a:ext>
              </a:extLst>
            </a:blip>
            <a:stretch>
              <a:fillRect/>
            </a:stretch>
          </p:blipFill>
          <p:spPr bwMode="auto">
            <a:xfrm flipV="1" rot="12057140">
              <a:off x="8245135" y="3111865"/>
              <a:ext cx="563293" cy="62699"/>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27" name="Picture 3"/>
            <p:cNvPicPr>
              <a:picLocks noChangeArrowheads="1" noChangeAspect="1"/>
            </p:cNvPicPr>
            <p:nvPr/>
          </p:nvPicPr>
          <p:blipFill>
            <a:blip r:embed="rId3">
              <a:extLst>
                <a:ext uri="{28A0092B-C50C-407E-A947-70E740481C1C}">
                  <a14:useLocalDpi val="0"/>
                </a:ext>
              </a:extLst>
            </a:blip>
            <a:stretch>
              <a:fillRect/>
            </a:stretch>
          </p:blipFill>
          <p:spPr bwMode="auto">
            <a:xfrm flipV="1" rot="12057140">
              <a:off x="7733400" y="2357195"/>
              <a:ext cx="563293" cy="62699"/>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28" name="Picture 3"/>
            <p:cNvPicPr>
              <a:picLocks noChangeArrowheads="1" noChangeAspect="1"/>
            </p:cNvPicPr>
            <p:nvPr/>
          </p:nvPicPr>
          <p:blipFill>
            <a:blip r:embed="rId3">
              <a:extLst>
                <a:ext uri="{28A0092B-C50C-407E-A947-70E740481C1C}">
                  <a14:useLocalDpi val="0"/>
                </a:ext>
              </a:extLst>
            </a:blip>
            <a:stretch>
              <a:fillRect/>
            </a:stretch>
          </p:blipFill>
          <p:spPr bwMode="auto">
            <a:xfrm flipV="1" rot="12057140">
              <a:off x="7272375" y="1616057"/>
              <a:ext cx="563293" cy="62699"/>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29" name="Picture 3"/>
            <p:cNvPicPr>
              <a:picLocks noChangeArrowheads="1" noChangeAspect="1"/>
            </p:cNvPicPr>
            <p:nvPr/>
          </p:nvPicPr>
          <p:blipFill>
            <a:blip r:embed="rId5">
              <a:extLst>
                <a:ext uri="{28A0092B-C50C-407E-A947-70E740481C1C}">
                  <a14:useLocalDpi val="0"/>
                </a:ext>
              </a:extLst>
            </a:blip>
            <a:stretch>
              <a:fillRect/>
            </a:stretch>
          </p:blipFill>
          <p:spPr bwMode="auto">
            <a:xfrm flipV="1" rot="8981151">
              <a:off x="6626991" y="1711212"/>
              <a:ext cx="765578" cy="8521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fmla="val 88523" name="adj"/>
              </a:avLst>
            </a:prstGeom>
            <a:solidFill>
              <a:srgbClr val="F8F9FB"/>
            </a:solidFill>
            <a:ln>
              <a:noFill/>
            </a:ln>
            <a:effectLst>
              <a:outerShdw blurRad="457200" dir="15660000" dist="114300" rotWithShape="0" sx="65000" sy="6500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p>
          </p:txBody>
        </p:sp>
        <p:sp>
          <p:nvSpPr>
            <p:cNvPr id="31" name="平行四边形 116"/>
            <p:cNvSpPr/>
            <p:nvPr/>
          </p:nvSpPr>
          <p:spPr>
            <a:xfrm rot="16200000">
              <a:off x="6645902" y="2019619"/>
              <a:ext cx="740288" cy="477033"/>
            </a:xfrm>
            <a:prstGeom prst="parallelogram">
              <a:avLst>
                <a:gd fmla="val 36484" name="adj"/>
              </a:avLst>
            </a:prstGeom>
            <a:solidFill>
              <a:srgbClr val="00AEEF"/>
            </a:solidFill>
            <a:ln cap="flat" w="14288">
              <a:noFill/>
              <a:prstDash val="solid"/>
              <a:miter lim="800000"/>
            </a:ln>
            <a:effectLst>
              <a:outerShdw algn="t" blurRad="101600" dir="5400000" dist="50800" rotWithShape="0" sx="102000" sy="102000">
                <a:prstClr val="black">
                  <a:alpha val="28000"/>
                </a:prstClr>
              </a:outerShdw>
            </a:effectLst>
          </p:spPr>
          <p:txBody>
            <a:bodyPr anchor="t" anchorCtr="0" bIns="45708" compatLnSpc="1" lIns="91416" numCol="1" rIns="91416" tIns="45708" vert="horz" wrap="square"/>
            <a:lstStyle/>
            <a:p>
              <a:endParaRPr altLang="en-US" lang="zh-CN" sz="2400"/>
            </a:p>
          </p:txBody>
        </p:sp>
        <p:sp>
          <p:nvSpPr>
            <p:cNvPr id="32" name="平行四边形 117"/>
            <p:cNvSpPr/>
            <p:nvPr/>
          </p:nvSpPr>
          <p:spPr>
            <a:xfrm rot="9071256">
              <a:off x="7074221" y="1950233"/>
              <a:ext cx="890783" cy="502656"/>
            </a:xfrm>
            <a:prstGeom prst="parallelogram">
              <a:avLst>
                <a:gd fmla="val 55040" name="adj"/>
              </a:avLst>
            </a:prstGeom>
            <a:solidFill>
              <a:srgbClr val="BECCCD"/>
            </a:solidFill>
            <a:ln>
              <a:noFill/>
            </a:ln>
            <a:effectLst>
              <a:innerShdw blurRad="292100" dir="4200000" dist="1651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p>
          </p:txBody>
        </p:sp>
        <p:sp>
          <p:nvSpPr>
            <p:cNvPr id="33" name="五边形 118"/>
            <p:cNvSpPr/>
            <p:nvPr/>
          </p:nvSpPr>
          <p:spPr>
            <a:xfrm flipH="1">
              <a:off x="5503720" y="3371869"/>
              <a:ext cx="2227320" cy="568209"/>
            </a:xfrm>
            <a:prstGeom prst="homePlate">
              <a:avLst>
                <a:gd fmla="val 37444" name="adj"/>
              </a:avLst>
            </a:prstGeom>
            <a:solidFill>
              <a:srgbClr val="00AEEF"/>
            </a:solidFill>
            <a:ln cap="flat" w="14288">
              <a:noFill/>
              <a:prstDash val="solid"/>
              <a:miter lim="800000"/>
            </a:ln>
            <a:effectLst>
              <a:reflection algn="bl" blurRad="6350" dir="5400000" endA="300" endPos="35000" rotWithShape="0" stA="52000" sy="-100000"/>
            </a:effectLst>
          </p:spPr>
          <p:txBody>
            <a:bodyPr anchor="t" anchorCtr="0" bIns="45708" compatLnSpc="1" lIns="91416" numCol="1" rIns="91416" tIns="45708" vert="horz" wrap="square"/>
            <a:lstStyle/>
            <a:p>
              <a:endParaRPr altLang="en-US" lang="zh-CN" sz="2400">
                <a:sym charset="-127" panose="02030600000101010101" typeface="Batang"/>
              </a:endParaRPr>
            </a:p>
          </p:txBody>
        </p:sp>
        <p:sp>
          <p:nvSpPr>
            <p:cNvPr id="34" name="平行四边形 119"/>
            <p:cNvSpPr/>
            <p:nvPr/>
          </p:nvSpPr>
          <p:spPr>
            <a:xfrm rot="1200000">
              <a:off x="7302977" y="2335693"/>
              <a:ext cx="919687" cy="456299"/>
            </a:xfrm>
            <a:prstGeom prst="parallelogram">
              <a:avLst>
                <a:gd fmla="val 88523" name="adj"/>
              </a:avLst>
            </a:prstGeom>
            <a:solidFill>
              <a:srgbClr val="F8F9FB"/>
            </a:solidFill>
            <a:ln>
              <a:noFill/>
            </a:ln>
            <a:effectLst>
              <a:outerShdw blurRad="457200" dir="15660000" dist="114300" rotWithShape="0" sx="65000" sy="6500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p>
          </p:txBody>
        </p:sp>
        <p:sp>
          <p:nvSpPr>
            <p:cNvPr id="35" name="平行四边形 120"/>
            <p:cNvSpPr/>
            <p:nvPr/>
          </p:nvSpPr>
          <p:spPr>
            <a:xfrm rot="16200000">
              <a:off x="7122935" y="2758157"/>
              <a:ext cx="740288" cy="477033"/>
            </a:xfrm>
            <a:prstGeom prst="parallelogram">
              <a:avLst>
                <a:gd fmla="val 36484" name="adj"/>
              </a:avLst>
            </a:prstGeom>
            <a:solidFill>
              <a:srgbClr val="0070C0"/>
            </a:solidFill>
            <a:ln cap="flat" w="14288">
              <a:noFill/>
              <a:prstDash val="solid"/>
              <a:miter lim="800000"/>
            </a:ln>
            <a:effectLst>
              <a:outerShdw algn="t" blurRad="101600" dir="5400000" dist="50800" rotWithShape="0" sx="102000" sy="102000">
                <a:prstClr val="black">
                  <a:alpha val="28000"/>
                </a:prstClr>
              </a:outerShdw>
            </a:effectLst>
          </p:spPr>
          <p:txBody>
            <a:bodyPr anchor="t" anchorCtr="0" bIns="45708" compatLnSpc="1" lIns="91416" numCol="1" rIns="91416" tIns="45708" vert="horz" wrap="square"/>
            <a:lstStyle/>
            <a:p>
              <a:endParaRPr altLang="en-US" lang="zh-CN" sz="2400"/>
            </a:p>
          </p:txBody>
        </p:sp>
        <p:sp>
          <p:nvSpPr>
            <p:cNvPr id="36" name="平行四边形 121"/>
            <p:cNvSpPr/>
            <p:nvPr/>
          </p:nvSpPr>
          <p:spPr>
            <a:xfrm rot="9071256">
              <a:off x="7551254" y="2688771"/>
              <a:ext cx="890783" cy="502656"/>
            </a:xfrm>
            <a:prstGeom prst="parallelogram">
              <a:avLst>
                <a:gd fmla="val 55040" name="adj"/>
              </a:avLst>
            </a:prstGeom>
            <a:solidFill>
              <a:srgbClr val="BECCCD"/>
            </a:solidFill>
            <a:ln>
              <a:noFill/>
            </a:ln>
            <a:effectLst>
              <a:innerShdw blurRad="292100" dir="4200000" dist="1651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p>
          </p:txBody>
        </p:sp>
        <p:sp>
          <p:nvSpPr>
            <p:cNvPr id="37" name="平行四边形 122"/>
            <p:cNvSpPr/>
            <p:nvPr/>
          </p:nvSpPr>
          <p:spPr>
            <a:xfrm rot="1200000">
              <a:off x="7780009" y="3083302"/>
              <a:ext cx="919687" cy="456299"/>
            </a:xfrm>
            <a:prstGeom prst="parallelogram">
              <a:avLst>
                <a:gd fmla="val 88523" name="adj"/>
              </a:avLst>
            </a:prstGeom>
            <a:solidFill>
              <a:srgbClr val="F8F9FB"/>
            </a:solidFill>
            <a:ln>
              <a:noFill/>
            </a:ln>
            <a:effectLst>
              <a:outerShdw blurRad="457200" dir="15660000" dist="114300" rotWithShape="0" sx="65000" sy="6500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p>
          </p:txBody>
        </p:sp>
        <p:sp>
          <p:nvSpPr>
            <p:cNvPr id="38" name="平行四边形 123"/>
            <p:cNvSpPr/>
            <p:nvPr/>
          </p:nvSpPr>
          <p:spPr>
            <a:xfrm rot="16200000">
              <a:off x="7599968" y="3505766"/>
              <a:ext cx="740288" cy="477033"/>
            </a:xfrm>
            <a:prstGeom prst="parallelogram">
              <a:avLst>
                <a:gd fmla="val 36484" name="adj"/>
              </a:avLst>
            </a:prstGeom>
            <a:solidFill>
              <a:srgbClr val="00AEEF"/>
            </a:solidFill>
            <a:ln cap="flat" w="14288">
              <a:noFill/>
              <a:prstDash val="solid"/>
              <a:miter lim="800000"/>
            </a:ln>
            <a:effectLst>
              <a:outerShdw algn="t" blurRad="101600" dir="5400000" dist="50800" rotWithShape="0" sx="102000" sy="102000">
                <a:prstClr val="black">
                  <a:alpha val="28000"/>
                </a:prstClr>
              </a:outerShdw>
            </a:effectLst>
          </p:spPr>
          <p:txBody>
            <a:bodyPr anchor="t" anchorCtr="0" bIns="45708" compatLnSpc="1" lIns="91416" numCol="1" rIns="91416" tIns="45708" vert="horz" wrap="square"/>
            <a:lstStyle/>
            <a:p>
              <a:endParaRPr altLang="en-US" lang="zh-CN" sz="2400"/>
            </a:p>
          </p:txBody>
        </p:sp>
        <p:sp>
          <p:nvSpPr>
            <p:cNvPr id="39" name="平行四边形 124"/>
            <p:cNvSpPr/>
            <p:nvPr/>
          </p:nvSpPr>
          <p:spPr>
            <a:xfrm rot="9071256">
              <a:off x="8028285" y="3436379"/>
              <a:ext cx="890783" cy="502656"/>
            </a:xfrm>
            <a:prstGeom prst="parallelogram">
              <a:avLst>
                <a:gd fmla="val 55040" name="adj"/>
              </a:avLst>
            </a:prstGeom>
            <a:solidFill>
              <a:srgbClr val="BECCCD"/>
            </a:solidFill>
            <a:ln>
              <a:noFill/>
            </a:ln>
            <a:effectLst>
              <a:innerShdw blurRad="292100" dir="4200000" dist="1651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p>
          </p:txBody>
        </p:sp>
        <p:sp>
          <p:nvSpPr>
            <p:cNvPr id="40" name="五边形 125"/>
            <p:cNvSpPr/>
            <p:nvPr/>
          </p:nvSpPr>
          <p:spPr>
            <a:xfrm flipH="1">
              <a:off x="5022115" y="2625012"/>
              <a:ext cx="2238255" cy="568209"/>
            </a:xfrm>
            <a:prstGeom prst="homePlate">
              <a:avLst>
                <a:gd fmla="val 37444" name="adj"/>
              </a:avLst>
            </a:prstGeom>
            <a:solidFill>
              <a:srgbClr val="0070C0"/>
            </a:solidFill>
            <a:ln cap="flat" w="14288">
              <a:noFill/>
              <a:prstDash val="solid"/>
              <a:miter lim="800000"/>
            </a:ln>
            <a:effectLst>
              <a:reflection algn="bl" blurRad="6350" dir="5400000" endA="300" endPos="35000" rotWithShape="0" stA="52000" sy="-100000"/>
            </a:effectLst>
          </p:spPr>
          <p:txBody>
            <a:bodyPr anchor="t" anchorCtr="0" bIns="45708" compatLnSpc="1" lIns="91416" numCol="1" rIns="91416" tIns="45708" vert="horz" wrap="square"/>
            <a:lstStyle/>
            <a:p>
              <a:endParaRPr altLang="en-US" lang="zh-CN" sz="2400">
                <a:sym charset="-127" panose="02030600000101010101" typeface="Batang"/>
              </a:endParaRPr>
            </a:p>
          </p:txBody>
        </p:sp>
        <p:sp>
          <p:nvSpPr>
            <p:cNvPr id="41" name="五边形 126"/>
            <p:cNvSpPr/>
            <p:nvPr/>
          </p:nvSpPr>
          <p:spPr>
            <a:xfrm flipH="1">
              <a:off x="4552949" y="1883949"/>
              <a:ext cx="2227320" cy="568209"/>
            </a:xfrm>
            <a:prstGeom prst="homePlate">
              <a:avLst>
                <a:gd fmla="val 40583" name="adj"/>
              </a:avLst>
            </a:prstGeom>
            <a:solidFill>
              <a:srgbClr val="00AEEF"/>
            </a:solidFill>
            <a:ln cap="flat" w="14288">
              <a:noFill/>
              <a:prstDash val="solid"/>
              <a:miter lim="800000"/>
            </a:ln>
            <a:effectLst>
              <a:reflection algn="bl" blurRad="6350" dir="5400000" endA="300" endPos="35000" rotWithShape="0" stA="52000" sy="-100000"/>
            </a:effectLst>
          </p:spPr>
          <p:txBody>
            <a:bodyPr anchor="t" anchorCtr="0" bIns="45708" compatLnSpc="1" lIns="91416" numCol="1" rIns="91416" tIns="45708" vert="horz" wrap="square"/>
            <a:lstStyle/>
            <a:p>
              <a:endParaRPr altLang="en-US" lang="zh-CN" sz="2400">
                <a:sym charset="-127" panose="02030600000101010101" typeface="Batang"/>
              </a:endParaRPr>
            </a:p>
          </p:txBody>
        </p:sp>
        <p:sp>
          <p:nvSpPr>
            <p:cNvPr id="42" name="Freeform 89"/>
            <p:cNvSpPr>
              <a:spLocks noEditPoints="1"/>
            </p:cNvSpPr>
            <p:nvPr/>
          </p:nvSpPr>
          <p:spPr bwMode="black">
            <a:xfrm>
              <a:off x="7563794" y="2376547"/>
              <a:ext cx="422573" cy="268028"/>
            </a:xfrm>
            <a:custGeom>
              <a:gdLst>
                <a:gd fmla="*/ 350 w 3153" name="T0"/>
                <a:gd fmla="*/ 935 h 2031" name="T1"/>
                <a:gd fmla="*/ 788 w 3153" name="T2"/>
                <a:gd fmla="*/ 0 h 2031" name="T3"/>
                <a:gd fmla="*/ 2918 w 3153" name="T4"/>
                <a:gd fmla="*/ 1882 h 2031" name="T5"/>
                <a:gd fmla="*/ 2403 w 3153" name="T6"/>
                <a:gd fmla="*/ 1493 h 2031" name="T7"/>
                <a:gd fmla="*/ 2244 w 3153" name="T8"/>
                <a:gd fmla="*/ 1424 h 2031" name="T9"/>
                <a:gd fmla="*/ 2391 w 3153" name="T10"/>
                <a:gd fmla="*/ 1458 h 2031" name="T11"/>
                <a:gd fmla="*/ 1437 w 3153" name="T12"/>
                <a:gd fmla="*/ 1486 h 2031" name="T13"/>
                <a:gd fmla="*/ 1460 w 3153" name="T14"/>
                <a:gd fmla="*/ 1427 h 2031" name="T15"/>
                <a:gd fmla="*/ 1588 w 3153" name="T16"/>
                <a:gd fmla="*/ 1440 h 2031" name="T17"/>
                <a:gd fmla="*/ 1563 w 3153" name="T18"/>
                <a:gd fmla="*/ 1636 h 2031" name="T19"/>
                <a:gd fmla="*/ 1421 w 3153" name="T20"/>
                <a:gd fmla="*/ 1612 h 2031" name="T21"/>
                <a:gd fmla="*/ 1170 w 3153" name="T22"/>
                <a:gd fmla="*/ 1604 h 2031" name="T23"/>
                <a:gd fmla="*/ 1340 w 3153" name="T24"/>
                <a:gd fmla="*/ 1589 h 2031" name="T25"/>
                <a:gd fmla="*/ 1175 w 3153" name="T26"/>
                <a:gd fmla="*/ 1631 h 2031" name="T27"/>
                <a:gd fmla="*/ 1228 w 3153" name="T28"/>
                <a:gd fmla="*/ 1433 h 2031" name="T29"/>
                <a:gd fmla="*/ 1366 w 3153" name="T30"/>
                <a:gd fmla="*/ 1441 h 2031" name="T31"/>
                <a:gd fmla="*/ 916 w 3153" name="T32"/>
                <a:gd fmla="*/ 1607 h 2031" name="T33"/>
                <a:gd fmla="*/ 1099 w 3153" name="T34"/>
                <a:gd fmla="*/ 1564 h 2031" name="T35"/>
                <a:gd fmla="*/ 911 w 3153" name="T36"/>
                <a:gd fmla="*/ 1624 h 2031" name="T37"/>
                <a:gd fmla="*/ 832 w 3153" name="T38"/>
                <a:gd fmla="*/ 1503 h 2031" name="T39"/>
                <a:gd fmla="*/ 922 w 3153" name="T40"/>
                <a:gd fmla="*/ 1437 h 2031" name="T41"/>
                <a:gd fmla="*/ 999 w 3153" name="T42"/>
                <a:gd fmla="*/ 1440 h 2031" name="T43"/>
                <a:gd fmla="*/ 1143 w 3153" name="T44"/>
                <a:gd fmla="*/ 1436 h 2031" name="T45"/>
                <a:gd fmla="*/ 1113 w 3153" name="T46"/>
                <a:gd fmla="*/ 1496 h 2031" name="T47"/>
                <a:gd fmla="*/ 692 w 3153" name="T48"/>
                <a:gd fmla="*/ 1804 h 2031" name="T49"/>
                <a:gd fmla="*/ 574 w 3153" name="T50"/>
                <a:gd fmla="*/ 1739 h 2031" name="T51"/>
                <a:gd fmla="*/ 656 w 3153" name="T52"/>
                <a:gd fmla="*/ 1687 h 2031" name="T53"/>
                <a:gd fmla="*/ 823 w 3153" name="T54"/>
                <a:gd fmla="*/ 1619 h 2031" name="T55"/>
                <a:gd fmla="*/ 669 w 3153" name="T56"/>
                <a:gd fmla="*/ 1638 h 2031" name="T57"/>
                <a:gd fmla="*/ 713 w 3153" name="T58"/>
                <a:gd fmla="*/ 1551 h 2031" name="T59"/>
                <a:gd fmla="*/ 828 w 3153" name="T60"/>
                <a:gd fmla="*/ 1613 h 2031" name="T61"/>
                <a:gd fmla="*/ 1570 w 3153" name="T62"/>
                <a:gd fmla="*/ 1798 h 2031" name="T63"/>
                <a:gd fmla="*/ 850 w 3153" name="T64"/>
                <a:gd fmla="*/ 1803 h 2031" name="T65"/>
                <a:gd fmla="*/ 882 w 3153" name="T66"/>
                <a:gd fmla="*/ 1698 h 2031" name="T67"/>
                <a:gd fmla="*/ 1563 w 3153" name="T68"/>
                <a:gd fmla="*/ 1687 h 2031" name="T69"/>
                <a:gd fmla="*/ 1670 w 3153" name="T70"/>
                <a:gd fmla="*/ 1489 h 2031" name="T71"/>
                <a:gd fmla="*/ 1693 w 3153" name="T72"/>
                <a:gd fmla="*/ 1424 h 2031" name="T73"/>
                <a:gd fmla="*/ 1793 w 3153" name="T74"/>
                <a:gd fmla="*/ 1500 h 2031" name="T75"/>
                <a:gd fmla="*/ 1675 w 3153" name="T76"/>
                <a:gd fmla="*/ 1612 h 2031" name="T77"/>
                <a:gd fmla="*/ 1843 w 3153" name="T78"/>
                <a:gd fmla="*/ 1621 h 2031" name="T79"/>
                <a:gd fmla="*/ 1804 w 3153" name="T80"/>
                <a:gd fmla="*/ 1637 h 2031" name="T81"/>
                <a:gd fmla="*/ 1866 w 3153" name="T82"/>
                <a:gd fmla="*/ 1793 h 2031" name="T83"/>
                <a:gd fmla="*/ 1690 w 3153" name="T84"/>
                <a:gd fmla="*/ 1778 h 2031" name="T85"/>
                <a:gd fmla="*/ 1686 w 3153" name="T86"/>
                <a:gd fmla="*/ 1702 h 2031" name="T87"/>
                <a:gd fmla="*/ 1724 w 3153" name="T88"/>
                <a:gd fmla="*/ 1685 h 2031" name="T89"/>
                <a:gd fmla="*/ 1843 w 3153" name="T90"/>
                <a:gd fmla="*/ 1691 h 2031" name="T91"/>
                <a:gd fmla="*/ 2009 w 3153" name="T92"/>
                <a:gd fmla="*/ 1439 h 2031" name="T93"/>
                <a:gd fmla="*/ 2140 w 3153" name="T94"/>
                <a:gd fmla="*/ 1428 h 2031" name="T95"/>
                <a:gd fmla="*/ 2161 w 3153" name="T96"/>
                <a:gd fmla="*/ 1499 h 2031" name="T97"/>
                <a:gd fmla="*/ 2064 w 3153" name="T98"/>
                <a:gd fmla="*/ 1588 h 2031" name="T99"/>
                <a:gd fmla="*/ 2218 w 3153" name="T100"/>
                <a:gd fmla="*/ 1565 h 2031" name="T101"/>
                <a:gd fmla="*/ 2225 w 3153" name="T102"/>
                <a:gd fmla="*/ 1634 h 2031" name="T103"/>
                <a:gd fmla="*/ 2319 w 3153" name="T104"/>
                <a:gd fmla="*/ 1790 h 2031" name="T105"/>
                <a:gd fmla="*/ 2131 w 3153" name="T106"/>
                <a:gd fmla="*/ 1770 h 2031" name="T107"/>
                <a:gd fmla="*/ 2145 w 3153" name="T108"/>
                <a:gd fmla="*/ 1683 h 2031" name="T109"/>
                <a:gd fmla="*/ 2340 w 3153" name="T110"/>
                <a:gd fmla="*/ 1624 h 2031" name="T111"/>
                <a:gd fmla="*/ 2463 w 3153" name="T112"/>
                <a:gd fmla="*/ 1564 h 2031" name="T113"/>
                <a:gd fmla="*/ 2434 w 3153" name="T114"/>
                <a:gd fmla="*/ 1636 h 2031" name="T115"/>
                <a:gd fmla="*/ 2415 w 3153" name="T116"/>
                <a:gd fmla="*/ 1769 h 2031" name="T117"/>
                <a:gd fmla="*/ 2500 w 3153" name="T118"/>
                <a:gd fmla="*/ 1683 h 2031" name="T119"/>
                <a:gd fmla="*/ 2605 w 3153" name="T120"/>
                <a:gd fmla="*/ 1791 h 2031"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2030" w="3153">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algn="bl" blurRad="6350" dir="5400000" endA="300" endPos="35000" rotWithShape="0" stA="52000" sy="-100000"/>
            </a:effectLst>
          </p:spPr>
          <p:txBody>
            <a:bodyPr anchor="t" anchorCtr="0" bIns="30859" compatLnSpc="1" lIns="61719" numCol="1" rIns="61719" tIns="30859" vert="horz" wrap="square"/>
            <a:lstStyle/>
            <a:p>
              <a:endParaRPr lang="en-US" sz="90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charset="-127" panose="02030600000101010101" typeface="Batang"/>
                <a:sym charset="-127" panose="02030600000101010101" typeface="Batang"/>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charset="-127" panose="02030600000101010101" typeface="Batang"/>
                <a:sym charset="-127" panose="02030600000101010101" typeface="Batang"/>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charset="-127" panose="02030600000101010101" typeface="Batang"/>
                <a:sym charset="-127" panose="02030600000101010101" typeface="Batang"/>
              </a:endParaRPr>
            </a:p>
          </p:txBody>
        </p:sp>
        <p:pic>
          <p:nvPicPr>
            <p:cNvPr id="46" name="Picture 3"/>
            <p:cNvPicPr>
              <a:picLocks noChangeArrowheads="1" noChangeAspect="1"/>
            </p:cNvPicPr>
            <p:nvPr/>
          </p:nvPicPr>
          <p:blipFill>
            <a:blip r:embed="rId5">
              <a:extLst>
                <a:ext uri="{28A0092B-C50C-407E-A947-70E740481C1C}">
                  <a14:useLocalDpi val="0"/>
                </a:ext>
              </a:extLst>
            </a:blip>
            <a:stretch>
              <a:fillRect/>
            </a:stretch>
          </p:blipFill>
          <p:spPr bwMode="auto">
            <a:xfrm flipV="1" rot="19878224">
              <a:off x="7637917" y="3214337"/>
              <a:ext cx="765578" cy="8521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pic>
          <p:nvPicPr>
            <p:cNvPr id="47" name="Picture 3"/>
            <p:cNvPicPr>
              <a:picLocks noChangeArrowheads="1" noChangeAspect="1"/>
            </p:cNvPicPr>
            <p:nvPr/>
          </p:nvPicPr>
          <p:blipFill>
            <a:blip r:embed="rId5">
              <a:extLst>
                <a:ext uri="{28A0092B-C50C-407E-A947-70E740481C1C}">
                  <a14:useLocalDpi val="0"/>
                </a:ext>
              </a:extLst>
            </a:blip>
            <a:stretch>
              <a:fillRect/>
            </a:stretch>
          </p:blipFill>
          <p:spPr bwMode="auto">
            <a:xfrm flipV="1" rot="19878224">
              <a:off x="7113625" y="2493408"/>
              <a:ext cx="765578" cy="8521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gdLst>
                  <a:gd fmla="*/ 231 w 431" name="T0"/>
                  <a:gd fmla="*/ 6 h 380" name="T1"/>
                  <a:gd fmla="*/ 190 w 431" name="T2"/>
                  <a:gd fmla="*/ 7 h 380" name="T3"/>
                  <a:gd fmla="*/ 20 w 431" name="T4"/>
                  <a:gd fmla="*/ 106 h 380" name="T5"/>
                  <a:gd fmla="*/ 0 w 431" name="T6"/>
                  <a:gd fmla="*/ 142 h 380" name="T7"/>
                  <a:gd fmla="*/ 0 w 431" name="T8"/>
                  <a:gd fmla="*/ 357 h 380" name="T9"/>
                  <a:gd fmla="*/ 24 w 431" name="T10"/>
                  <a:gd fmla="*/ 380 h 380" name="T11"/>
                  <a:gd fmla="*/ 124 w 431" name="T12"/>
                  <a:gd fmla="*/ 380 h 380" name="T13"/>
                  <a:gd fmla="*/ 148 w 431" name="T14"/>
                  <a:gd fmla="*/ 357 h 380" name="T15"/>
                  <a:gd fmla="*/ 148 w 431" name="T16"/>
                  <a:gd fmla="*/ 258 h 380" name="T17"/>
                  <a:gd fmla="*/ 171 w 431" name="T18"/>
                  <a:gd fmla="*/ 235 h 380" name="T19"/>
                  <a:gd fmla="*/ 260 w 431" name="T20"/>
                  <a:gd fmla="*/ 235 h 380" name="T21"/>
                  <a:gd fmla="*/ 283 w 431" name="T22"/>
                  <a:gd fmla="*/ 258 h 380" name="T23"/>
                  <a:gd fmla="*/ 283 w 431" name="T24"/>
                  <a:gd fmla="*/ 357 h 380" name="T25"/>
                  <a:gd fmla="*/ 307 w 431" name="T26"/>
                  <a:gd fmla="*/ 380 h 380" name="T27"/>
                  <a:gd fmla="*/ 407 w 431" name="T28"/>
                  <a:gd fmla="*/ 380 h 380" name="T29"/>
                  <a:gd fmla="*/ 431 w 431" name="T30"/>
                  <a:gd fmla="*/ 357 h 380" name="T31"/>
                  <a:gd fmla="*/ 431 w 431" name="T32"/>
                  <a:gd fmla="*/ 142 h 380" name="T33"/>
                  <a:gd fmla="*/ 410 w 431" name="T34"/>
                  <a:gd fmla="*/ 107 h 380" name="T35"/>
                  <a:gd fmla="*/ 231 w 431" name="T36"/>
                  <a:gd fmla="*/ 6 h 380"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380" w="431">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algn="bl" blurRad="6350" dir="5400000" endA="300" endPos="35000" rotWithShape="0" stA="52000" sy="-100000"/>
              </a:effectLst>
            </p:spPr>
            <p:txBody>
              <a:bodyPr anchor="t" anchorCtr="0" bIns="41145" compatLnSpc="1" lIns="82292" numCol="1" rIns="82292" tIns="41145" vert="horz" wrap="square"/>
              <a:lstStyle/>
              <a:p>
                <a:endParaRPr altLang="en-US" lang="zh-CN" sz="900"/>
              </a:p>
            </p:txBody>
          </p:sp>
          <p:sp>
            <p:nvSpPr>
              <p:cNvPr id="72" name="Freeform 3768"/>
              <p:cNvSpPr/>
              <p:nvPr/>
            </p:nvSpPr>
            <p:spPr bwMode="auto">
              <a:xfrm>
                <a:off x="2162176" y="-104775"/>
                <a:ext cx="1655763" cy="552450"/>
              </a:xfrm>
              <a:custGeom>
                <a:gdLst>
                  <a:gd fmla="*/ 516 w 521" name="T0"/>
                  <a:gd fmla="*/ 165 h 174" name="T1"/>
                  <a:gd fmla="*/ 487 w 521" name="T2"/>
                  <a:gd fmla="*/ 167 h 174" name="T3"/>
                  <a:gd fmla="*/ 276 w 521" name="T4"/>
                  <a:gd fmla="*/ 45 h 174" name="T5"/>
                  <a:gd fmla="*/ 235 w 521" name="T6"/>
                  <a:gd fmla="*/ 45 h 174" name="T7"/>
                  <a:gd fmla="*/ 34 w 521" name="T8"/>
                  <a:gd fmla="*/ 167 h 174" name="T9"/>
                  <a:gd fmla="*/ 5 w 521" name="T10"/>
                  <a:gd fmla="*/ 165 h 174" name="T11"/>
                  <a:gd fmla="*/ 16 w 521" name="T12"/>
                  <a:gd fmla="*/ 138 h 174" name="T13"/>
                  <a:gd fmla="*/ 235 w 521" name="T14"/>
                  <a:gd fmla="*/ 7 h 174" name="T15"/>
                  <a:gd fmla="*/ 276 w 521" name="T16"/>
                  <a:gd fmla="*/ 6 h 174" name="T17"/>
                  <a:gd fmla="*/ 504 w 521" name="T18"/>
                  <a:gd fmla="*/ 139 h 174" name="T19"/>
                  <a:gd fmla="*/ 516 w 521" name="T20"/>
                  <a:gd fmla="*/ 165 h 17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74" w="521">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algn="bl" blurRad="6350" dir="5400000" endA="300" endPos="35000" rotWithShape="0" stA="52000" sy="-100000"/>
              </a:effectLst>
            </p:spPr>
            <p:txBody>
              <a:bodyPr anchor="t" anchorCtr="0" bIns="41145" compatLnSpc="1" lIns="82292" numCol="1" rIns="82292" tIns="41145" vert="horz" wrap="square"/>
              <a:lstStyle/>
              <a:p>
                <a:endParaRPr altLang="en-US" lang="zh-CN" sz="900"/>
              </a:p>
            </p:txBody>
          </p:sp>
        </p:grpSp>
        <p:pic>
          <p:nvPicPr>
            <p:cNvPr descr="\\MAGNUM\Projects\Microsoft\Cloud Power FY12\Design\ICONS_PNG\Increase.png" id="49" name="Picture 5"/>
            <p:cNvPicPr>
              <a:picLocks noChangeArrowheads="1" noChangeAspect="1"/>
            </p:cNvPicPr>
            <p:nvPr/>
          </p:nvPicPr>
          <p:blipFill>
            <a:blip r:embed="rId6">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algn="bl" blurRad="6350" dir="5400000" endA="300" endPos="35000" rotWithShape="0" stA="52000" sy="-100000"/>
            </a:effectLst>
          </p:spPr>
        </p:pic>
        <p:sp>
          <p:nvSpPr>
            <p:cNvPr id="50" name="文本框 137"/>
            <p:cNvSpPr txBox="1"/>
            <p:nvPr/>
          </p:nvSpPr>
          <p:spPr>
            <a:xfrm>
              <a:off x="5007688" y="1998337"/>
              <a:ext cx="1579517" cy="373321"/>
            </a:xfrm>
            <a:prstGeom prst="rect">
              <a:avLst/>
            </a:prstGeom>
            <a:noFill/>
          </p:spPr>
          <p:txBody>
            <a:bodyPr bIns="45708" lIns="91416" rIns="91416" rtlCol="0" tIns="45708" wrap="none">
              <a:spAutoFit/>
            </a:bodyPr>
            <a:lstStyle/>
            <a:p>
              <a:r>
                <a:rPr altLang="en-US" lang="zh-CN" sz="1800">
                  <a:solidFill>
                    <a:schemeClr val="bg1"/>
                  </a:solidFill>
                  <a:latin charset="-122" panose="020b0503020204020204" pitchFamily="34" typeface="微软雅黑"/>
                  <a:ea charset="-122" panose="020b0503020204020204" pitchFamily="34" typeface="微软雅黑"/>
                  <a:cs charset="0" panose="020b0604030504040204" pitchFamily="34" typeface="Tahoma"/>
                </a:rPr>
                <a:t>点击输入文字</a:t>
              </a:r>
            </a:p>
          </p:txBody>
        </p:sp>
        <p:sp>
          <p:nvSpPr>
            <p:cNvPr id="51" name="文本框 138"/>
            <p:cNvSpPr txBox="1"/>
            <p:nvPr/>
          </p:nvSpPr>
          <p:spPr>
            <a:xfrm>
              <a:off x="5407901" y="2735217"/>
              <a:ext cx="1579517" cy="373321"/>
            </a:xfrm>
            <a:prstGeom prst="rect">
              <a:avLst/>
            </a:prstGeom>
            <a:noFill/>
          </p:spPr>
          <p:txBody>
            <a:bodyPr bIns="45708" lIns="91416" rIns="91416" rtlCol="0" tIns="45708" wrap="none">
              <a:spAutoFit/>
            </a:bodyPr>
            <a:lstStyle/>
            <a:p>
              <a:r>
                <a:rPr altLang="en-US" lang="zh-CN" sz="1800">
                  <a:solidFill>
                    <a:schemeClr val="bg1"/>
                  </a:solidFill>
                  <a:latin charset="-122" panose="020b0503020204020204" pitchFamily="34" typeface="微软雅黑"/>
                  <a:ea charset="-122" panose="020b0503020204020204" pitchFamily="34" typeface="微软雅黑"/>
                  <a:cs charset="0" panose="020b0604030504040204" pitchFamily="34" typeface="Tahoma"/>
                </a:rPr>
                <a:t>点击输入文字</a:t>
              </a:r>
            </a:p>
          </p:txBody>
        </p:sp>
        <p:sp>
          <p:nvSpPr>
            <p:cNvPr id="52" name="文本框 139"/>
            <p:cNvSpPr txBox="1"/>
            <p:nvPr/>
          </p:nvSpPr>
          <p:spPr>
            <a:xfrm>
              <a:off x="5808113" y="3472097"/>
              <a:ext cx="1579517" cy="373321"/>
            </a:xfrm>
            <a:prstGeom prst="rect">
              <a:avLst/>
            </a:prstGeom>
            <a:noFill/>
          </p:spPr>
          <p:txBody>
            <a:bodyPr bIns="45708" lIns="91416" rIns="91416" rtlCol="0" tIns="45708" wrap="none">
              <a:spAutoFit/>
            </a:bodyPr>
            <a:lstStyle/>
            <a:p>
              <a:r>
                <a:rPr altLang="en-US" lang="zh-CN" sz="1800">
                  <a:solidFill>
                    <a:schemeClr val="bg1"/>
                  </a:solidFill>
                  <a:latin charset="-122" panose="020b0503020204020204" pitchFamily="34" typeface="微软雅黑"/>
                  <a:ea charset="-122" panose="020b0503020204020204" pitchFamily="34" typeface="微软雅黑"/>
                  <a:cs charset="0" panose="020b0604030504040204" pitchFamily="34" typeface="Tahoma"/>
                </a:rPr>
                <a:t>点击输入文字</a:t>
              </a: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gdLst>
                  <a:gd fmla="*/ 14 w 21" name="T0"/>
                  <a:gd fmla="*/ 78 h 80" name="T1"/>
                  <a:gd fmla="*/ 7 w 21" name="T2"/>
                  <a:gd fmla="*/ 67 h 80" name="T3"/>
                  <a:gd fmla="*/ 7 w 21" name="T4"/>
                  <a:gd fmla="*/ 16 h 80" name="T5"/>
                  <a:gd fmla="*/ 0 w 21" name="T6"/>
                  <a:gd fmla="*/ 6 h 80" name="T7"/>
                  <a:gd fmla="*/ 7 w 21" name="T8"/>
                  <a:gd fmla="*/ 3 h 80" name="T9"/>
                  <a:gd fmla="*/ 14 w 21" name="T10"/>
                  <a:gd fmla="*/ 6 h 80" name="T11"/>
                  <a:gd fmla="*/ 21 w 21" name="T12"/>
                  <a:gd fmla="*/ 17 h 80" name="T13"/>
                  <a:gd fmla="*/ 21 w 21" name="T14"/>
                  <a:gd fmla="*/ 75 h 80" name="T15"/>
                  <a:gd fmla="*/ 14 w 21" name="T16"/>
                  <a:gd fmla="*/ 78 h 80"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80" w="21">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7" name="Freeform 23"/>
              <p:cNvSpPr/>
              <p:nvPr/>
            </p:nvSpPr>
            <p:spPr bwMode="auto">
              <a:xfrm>
                <a:off x="5038767" y="1303073"/>
                <a:ext cx="47341" cy="139964"/>
              </a:xfrm>
              <a:custGeom>
                <a:gdLst>
                  <a:gd fmla="*/ 0 w 10" name="T0"/>
                  <a:gd fmla="*/ 15 h 29" name="T1"/>
                  <a:gd fmla="*/ 3 w 10" name="T2"/>
                  <a:gd fmla="*/ 17 h 29" name="T3"/>
                  <a:gd fmla="*/ 4 w 10" name="T4"/>
                  <a:gd fmla="*/ 21 h 29" name="T5"/>
                  <a:gd fmla="*/ 5 w 10" name="T6"/>
                  <a:gd fmla="*/ 25 h 29" name="T7"/>
                  <a:gd fmla="*/ 7 w 10" name="T8"/>
                  <a:gd fmla="*/ 23 h 29" name="T9"/>
                  <a:gd fmla="*/ 5 w 10" name="T10"/>
                  <a:gd fmla="*/ 17 h 29" name="T11"/>
                  <a:gd fmla="*/ 2 w 10" name="T12"/>
                  <a:gd fmla="*/ 10 h 29" name="T13"/>
                  <a:gd fmla="*/ 1 w 10" name="T14"/>
                  <a:gd fmla="*/ 4 h 29" name="T15"/>
                  <a:gd fmla="*/ 2 w 10" name="T16"/>
                  <a:gd fmla="*/ 1 h 29" name="T17"/>
                  <a:gd fmla="*/ 5 w 10" name="T18"/>
                  <a:gd fmla="*/ 1 h 29" name="T19"/>
                  <a:gd fmla="*/ 9 w 10" name="T20"/>
                  <a:gd fmla="*/ 4 h 29" name="T21"/>
                  <a:gd fmla="*/ 10 w 10" name="T22"/>
                  <a:gd fmla="*/ 8 h 29" name="T23"/>
                  <a:gd fmla="*/ 10 w 10" name="T24"/>
                  <a:gd fmla="*/ 13 h 29" name="T25"/>
                  <a:gd fmla="*/ 7 w 10" name="T26"/>
                  <a:gd fmla="*/ 11 h 29" name="T27"/>
                  <a:gd fmla="*/ 7 w 10" name="T28"/>
                  <a:gd fmla="*/ 6 h 29" name="T29"/>
                  <a:gd fmla="*/ 6 w 10" name="T30"/>
                  <a:gd fmla="*/ 4 h 29" name="T31"/>
                  <a:gd fmla="*/ 4 w 10" name="T32"/>
                  <a:gd fmla="*/ 4 h 29" name="T33"/>
                  <a:gd fmla="*/ 4 w 10" name="T34"/>
                  <a:gd fmla="*/ 5 h 29" name="T35"/>
                  <a:gd fmla="*/ 6 w 10" name="T36"/>
                  <a:gd fmla="*/ 12 h 29" name="T37"/>
                  <a:gd fmla="*/ 9 w 10" name="T38"/>
                  <a:gd fmla="*/ 18 h 29" name="T39"/>
                  <a:gd fmla="*/ 10 w 10" name="T40"/>
                  <a:gd fmla="*/ 25 h 29" name="T41"/>
                  <a:gd fmla="*/ 9 w 10" name="T42"/>
                  <a:gd fmla="*/ 28 h 29" name="T43"/>
                  <a:gd fmla="*/ 5 w 10" name="T44"/>
                  <a:gd fmla="*/ 28 h 29" name="T45"/>
                  <a:gd fmla="*/ 0 w 10" name="T46"/>
                  <a:gd fmla="*/ 19 h 29" name="T47"/>
                  <a:gd fmla="*/ 0 w 10" name="T48"/>
                  <a:gd fmla="*/ 15 h 29"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8" w="10">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8" name="Freeform 24"/>
              <p:cNvSpPr/>
              <p:nvPr/>
            </p:nvSpPr>
            <p:spPr bwMode="auto">
              <a:xfrm>
                <a:off x="5131390" y="1346297"/>
                <a:ext cx="53516" cy="146139"/>
              </a:xfrm>
              <a:custGeom>
                <a:gdLst>
                  <a:gd fmla="*/ 26 w 26" name="T0"/>
                  <a:gd fmla="*/ 14 h 71" name="T1"/>
                  <a:gd fmla="*/ 26 w 26" name="T2"/>
                  <a:gd fmla="*/ 21 h 71" name="T3"/>
                  <a:gd fmla="*/ 16 w 26" name="T4"/>
                  <a:gd fmla="*/ 17 h 71" name="T5"/>
                  <a:gd fmla="*/ 16 w 26" name="T6"/>
                  <a:gd fmla="*/ 71 h 71" name="T7"/>
                  <a:gd fmla="*/ 7 w 26" name="T8"/>
                  <a:gd fmla="*/ 66 h 71" name="T9"/>
                  <a:gd fmla="*/ 7 w 26" name="T10"/>
                  <a:gd fmla="*/ 12 h 71" name="T11"/>
                  <a:gd fmla="*/ 0 w 26" name="T12"/>
                  <a:gd fmla="*/ 7 h 71" name="T13"/>
                  <a:gd fmla="*/ 0 w 26" name="T14"/>
                  <a:gd fmla="*/ 2 h 71" name="T15"/>
                  <a:gd fmla="*/ 0 w 26" name="T16"/>
                  <a:gd fmla="*/ 0 h 71" name="T17"/>
                  <a:gd fmla="*/ 26 w 26" name="T18"/>
                  <a:gd fmla="*/ 14 h 7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71" w="26">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9" name="Freeform 25"/>
              <p:cNvSpPr/>
              <p:nvPr/>
            </p:nvSpPr>
            <p:spPr bwMode="auto">
              <a:xfrm>
                <a:off x="5228129" y="1399813"/>
                <a:ext cx="43225" cy="150256"/>
              </a:xfrm>
              <a:custGeom>
                <a:gdLst>
                  <a:gd fmla="*/ 0 w 21" name="T0"/>
                  <a:gd fmla="*/ 0 h 73" name="T1"/>
                  <a:gd fmla="*/ 21 w 21" name="T2"/>
                  <a:gd fmla="*/ 12 h 73" name="T3"/>
                  <a:gd fmla="*/ 21 w 21" name="T4"/>
                  <a:gd fmla="*/ 19 h 73" name="T5"/>
                  <a:gd fmla="*/ 10 w 21" name="T6"/>
                  <a:gd fmla="*/ 12 h 73" name="T7"/>
                  <a:gd fmla="*/ 10 w 21" name="T8"/>
                  <a:gd fmla="*/ 31 h 73" name="T9"/>
                  <a:gd fmla="*/ 19 w 21" name="T10"/>
                  <a:gd fmla="*/ 38 h 73" name="T11"/>
                  <a:gd fmla="*/ 19 w 21" name="T12"/>
                  <a:gd fmla="*/ 45 h 73" name="T13"/>
                  <a:gd fmla="*/ 10 w 21" name="T14"/>
                  <a:gd fmla="*/ 38 h 73" name="T15"/>
                  <a:gd fmla="*/ 10 w 21" name="T16"/>
                  <a:gd fmla="*/ 59 h 73" name="T17"/>
                  <a:gd fmla="*/ 21 w 21" name="T18"/>
                  <a:gd fmla="*/ 66 h 73" name="T19"/>
                  <a:gd fmla="*/ 21 w 21" name="T20"/>
                  <a:gd fmla="*/ 73 h 73" name="T21"/>
                  <a:gd fmla="*/ 0 w 21" name="T22"/>
                  <a:gd fmla="*/ 62 h 73" name="T23"/>
                  <a:gd fmla="*/ 0 w 21" name="T24"/>
                  <a:gd fmla="*/ 0 h 73"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73" w="21">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70" name="Freeform 26"/>
              <p:cNvSpPr>
                <a:spLocks noEditPoints="1"/>
              </p:cNvSpPr>
              <p:nvPr/>
            </p:nvSpPr>
            <p:spPr bwMode="auto">
              <a:xfrm>
                <a:off x="5316636" y="1449212"/>
                <a:ext cx="47341" cy="135847"/>
              </a:xfrm>
              <a:custGeom>
                <a:gdLst>
                  <a:gd fmla="*/ 0 w 10" name="T0"/>
                  <a:gd fmla="*/ 0 h 28" name="T1"/>
                  <a:gd fmla="*/ 7 w 10" name="T2"/>
                  <a:gd fmla="*/ 4 h 28" name="T3"/>
                  <a:gd fmla="*/ 10 w 10" name="T4"/>
                  <a:gd fmla="*/ 10 h 28" name="T5"/>
                  <a:gd fmla="*/ 10 w 10" name="T6"/>
                  <a:gd fmla="*/ 17 h 28" name="T7"/>
                  <a:gd fmla="*/ 8 w 10" name="T8"/>
                  <a:gd fmla="*/ 18 h 28" name="T9"/>
                  <a:gd fmla="*/ 4 w 10" name="T10"/>
                  <a:gd fmla="*/ 16 h 28" name="T11"/>
                  <a:gd fmla="*/ 3 w 10" name="T12"/>
                  <a:gd fmla="*/ 16 h 28" name="T13"/>
                  <a:gd fmla="*/ 3 w 10" name="T14"/>
                  <a:gd fmla="*/ 28 h 28" name="T15"/>
                  <a:gd fmla="*/ 0 w 10" name="T16"/>
                  <a:gd fmla="*/ 26 h 28" name="T17"/>
                  <a:gd fmla="*/ 0 w 10" name="T18"/>
                  <a:gd fmla="*/ 0 h 28" name="T19"/>
                  <a:gd fmla="*/ 5 w 10" name="T20"/>
                  <a:gd fmla="*/ 14 h 28" name="T21"/>
                  <a:gd fmla="*/ 6 w 10" name="T22"/>
                  <a:gd fmla="*/ 14 h 28" name="T23"/>
                  <a:gd fmla="*/ 7 w 10" name="T24"/>
                  <a:gd fmla="*/ 14 h 28" name="T25"/>
                  <a:gd fmla="*/ 7 w 10" name="T26"/>
                  <a:gd fmla="*/ 8 h 28" name="T27"/>
                  <a:gd fmla="*/ 5 w 10" name="T28"/>
                  <a:gd fmla="*/ 6 h 28" name="T29"/>
                  <a:gd fmla="*/ 3 w 10" name="T30"/>
                  <a:gd fmla="*/ 5 h 28" name="T31"/>
                  <a:gd fmla="*/ 3 w 10" name="T32"/>
                  <a:gd fmla="*/ 13 h 28" name="T33"/>
                  <a:gd fmla="*/ 5 w 10" name="T34"/>
                  <a:gd fmla="*/ 14 h 28"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28" w="10">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gdLst>
                  <a:gd fmla="*/ 7 w 52" name="T0"/>
                  <a:gd fmla="*/ 2 h 97" name="T1"/>
                  <a:gd fmla="*/ 31 w 52" name="T2"/>
                  <a:gd fmla="*/ 15 h 97" name="T3"/>
                  <a:gd fmla="*/ 52 w 52" name="T4"/>
                  <a:gd fmla="*/ 47 h 97" name="T5"/>
                  <a:gd fmla="*/ 52 w 52" name="T6"/>
                  <a:gd fmla="*/ 49 h 97" name="T7"/>
                  <a:gd fmla="*/ 31 w 52" name="T8"/>
                  <a:gd fmla="*/ 58 h 97" name="T9"/>
                  <a:gd fmla="*/ 15 w 52" name="T10"/>
                  <a:gd fmla="*/ 58 h 97" name="T11"/>
                  <a:gd fmla="*/ 15 w 52" name="T12"/>
                  <a:gd fmla="*/ 65 h 97" name="T13"/>
                  <a:gd fmla="*/ 46 w 52" name="T14"/>
                  <a:gd fmla="*/ 82 h 97" name="T15"/>
                  <a:gd fmla="*/ 52 w 52" name="T16"/>
                  <a:gd fmla="*/ 92 h 97" name="T17"/>
                  <a:gd fmla="*/ 46 w 52" name="T18"/>
                  <a:gd fmla="*/ 95 h 97" name="T19"/>
                  <a:gd fmla="*/ 7 w 52" name="T20"/>
                  <a:gd fmla="*/ 74 h 97" name="T21"/>
                  <a:gd fmla="*/ 1 w 52" name="T22"/>
                  <a:gd fmla="*/ 63 h 97" name="T23"/>
                  <a:gd fmla="*/ 1 w 52" name="T24"/>
                  <a:gd fmla="*/ 50 h 97" name="T25"/>
                  <a:gd fmla="*/ 31 w 52" name="T26"/>
                  <a:gd fmla="*/ 45 h 97" name="T27"/>
                  <a:gd fmla="*/ 38 w 52" name="T28"/>
                  <a:gd fmla="*/ 42 h 97" name="T29"/>
                  <a:gd fmla="*/ 38 w 52" name="T30"/>
                  <a:gd fmla="*/ 39 h 97" name="T31"/>
                  <a:gd fmla="*/ 31 w 52" name="T32"/>
                  <a:gd fmla="*/ 29 h 97" name="T33"/>
                  <a:gd fmla="*/ 8 w 52" name="T34"/>
                  <a:gd fmla="*/ 16 h 97" name="T35"/>
                  <a:gd fmla="*/ 0 w 52" name="T36"/>
                  <a:gd fmla="*/ 5 h 97" name="T37"/>
                  <a:gd fmla="*/ 7 w 52" name="T38"/>
                  <a:gd fmla="*/ 2 h 97"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97" w="52">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2" name="Freeform 29"/>
              <p:cNvSpPr/>
              <p:nvPr/>
            </p:nvSpPr>
            <p:spPr bwMode="auto">
              <a:xfrm>
                <a:off x="5855909" y="2700653"/>
                <a:ext cx="49399" cy="142023"/>
              </a:xfrm>
              <a:custGeom>
                <a:gdLst>
                  <a:gd fmla="*/ 0 w 10" name="T0"/>
                  <a:gd fmla="*/ 15 h 29" name="T1"/>
                  <a:gd fmla="*/ 3 w 10" name="T2"/>
                  <a:gd fmla="*/ 16 h 29" name="T3"/>
                  <a:gd fmla="*/ 3 w 10" name="T4"/>
                  <a:gd fmla="*/ 21 h 29" name="T5"/>
                  <a:gd fmla="*/ 5 w 10" name="T6"/>
                  <a:gd fmla="*/ 25 h 29" name="T7"/>
                  <a:gd fmla="*/ 6 w 10" name="T8"/>
                  <a:gd fmla="*/ 23 h 29" name="T9"/>
                  <a:gd fmla="*/ 5 w 10" name="T10"/>
                  <a:gd fmla="*/ 16 h 29" name="T11"/>
                  <a:gd fmla="*/ 2 w 10" name="T12"/>
                  <a:gd fmla="*/ 10 h 29" name="T13"/>
                  <a:gd fmla="*/ 0 w 10" name="T14"/>
                  <a:gd fmla="*/ 4 h 29" name="T15"/>
                  <a:gd fmla="*/ 1 w 10" name="T16"/>
                  <a:gd fmla="*/ 0 h 29" name="T17"/>
                  <a:gd fmla="*/ 5 w 10" name="T18"/>
                  <a:gd fmla="*/ 1 h 29" name="T19"/>
                  <a:gd fmla="*/ 8 w 10" name="T20"/>
                  <a:gd fmla="*/ 4 h 29" name="T21"/>
                  <a:gd fmla="*/ 10 w 10" name="T22"/>
                  <a:gd fmla="*/ 8 h 29" name="T23"/>
                  <a:gd fmla="*/ 10 w 10" name="T24"/>
                  <a:gd fmla="*/ 12 h 29" name="T25"/>
                  <a:gd fmla="*/ 6 w 10" name="T26"/>
                  <a:gd fmla="*/ 11 h 29" name="T27"/>
                  <a:gd fmla="*/ 6 w 10" name="T28"/>
                  <a:gd fmla="*/ 6 h 29" name="T29"/>
                  <a:gd fmla="*/ 5 w 10" name="T30"/>
                  <a:gd fmla="*/ 4 h 29" name="T31"/>
                  <a:gd fmla="*/ 4 w 10" name="T32"/>
                  <a:gd fmla="*/ 3 h 29" name="T33"/>
                  <a:gd fmla="*/ 3 w 10" name="T34"/>
                  <a:gd fmla="*/ 5 h 29" name="T35"/>
                  <a:gd fmla="*/ 5 w 10" name="T36"/>
                  <a:gd fmla="*/ 11 h 29" name="T37"/>
                  <a:gd fmla="*/ 8 w 10" name="T38"/>
                  <a:gd fmla="*/ 18 h 29" name="T39"/>
                  <a:gd fmla="*/ 10 w 10" name="T40"/>
                  <a:gd fmla="*/ 24 h 29" name="T41"/>
                  <a:gd fmla="*/ 9 w 10" name="T42"/>
                  <a:gd fmla="*/ 28 h 29" name="T43"/>
                  <a:gd fmla="*/ 5 w 10" name="T44"/>
                  <a:gd fmla="*/ 28 h 29" name="T45"/>
                  <a:gd fmla="*/ 0 w 10" name="T46"/>
                  <a:gd fmla="*/ 19 h 29" name="T47"/>
                  <a:gd fmla="*/ 0 w 10" name="T48"/>
                  <a:gd fmla="*/ 15 h 29"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8" w="10">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3" name="Freeform 30"/>
              <p:cNvSpPr/>
              <p:nvPr/>
            </p:nvSpPr>
            <p:spPr bwMode="auto">
              <a:xfrm>
                <a:off x="5944415" y="2745935"/>
                <a:ext cx="53516" cy="139964"/>
              </a:xfrm>
              <a:custGeom>
                <a:gdLst>
                  <a:gd fmla="*/ 26 w 26" name="T0"/>
                  <a:gd fmla="*/ 14 h 68" name="T1"/>
                  <a:gd fmla="*/ 26 w 26" name="T2"/>
                  <a:gd fmla="*/ 21 h 68" name="T3"/>
                  <a:gd fmla="*/ 17 w 26" name="T4"/>
                  <a:gd fmla="*/ 16 h 68" name="T5"/>
                  <a:gd fmla="*/ 17 w 26" name="T6"/>
                  <a:gd fmla="*/ 68 h 68" name="T7"/>
                  <a:gd fmla="*/ 10 w 26" name="T8"/>
                  <a:gd fmla="*/ 63 h 68" name="T9"/>
                  <a:gd fmla="*/ 10 w 26" name="T10"/>
                  <a:gd fmla="*/ 11 h 68" name="T11"/>
                  <a:gd fmla="*/ 0 w 26" name="T12"/>
                  <a:gd fmla="*/ 4 h 68" name="T13"/>
                  <a:gd fmla="*/ 0 w 26" name="T14"/>
                  <a:gd fmla="*/ 2 h 68" name="T15"/>
                  <a:gd fmla="*/ 0 w 26" name="T16"/>
                  <a:gd fmla="*/ 0 h 68" name="T17"/>
                  <a:gd fmla="*/ 26 w 26" name="T18"/>
                  <a:gd fmla="*/ 14 h 68"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68" w="26">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4" name="Freeform 31"/>
              <p:cNvSpPr/>
              <p:nvPr/>
            </p:nvSpPr>
            <p:spPr bwMode="auto">
              <a:xfrm>
                <a:off x="6041155" y="2799451"/>
                <a:ext cx="45282" cy="150256"/>
              </a:xfrm>
              <a:custGeom>
                <a:gdLst>
                  <a:gd fmla="*/ 0 w 22" name="T0"/>
                  <a:gd fmla="*/ 0 h 73" name="T1"/>
                  <a:gd fmla="*/ 22 w 22" name="T2"/>
                  <a:gd fmla="*/ 11 h 73" name="T3"/>
                  <a:gd fmla="*/ 22 w 22" name="T4"/>
                  <a:gd fmla="*/ 19 h 73" name="T5"/>
                  <a:gd fmla="*/ 10 w 22" name="T6"/>
                  <a:gd fmla="*/ 11 h 73" name="T7"/>
                  <a:gd fmla="*/ 10 w 22" name="T8"/>
                  <a:gd fmla="*/ 30 h 73" name="T9"/>
                  <a:gd fmla="*/ 22 w 22" name="T10"/>
                  <a:gd fmla="*/ 35 h 73" name="T11"/>
                  <a:gd fmla="*/ 22 w 22" name="T12"/>
                  <a:gd fmla="*/ 42 h 73" name="T13"/>
                  <a:gd fmla="*/ 10 w 22" name="T14"/>
                  <a:gd fmla="*/ 37 h 73" name="T15"/>
                  <a:gd fmla="*/ 10 w 22" name="T16"/>
                  <a:gd fmla="*/ 56 h 73" name="T17"/>
                  <a:gd fmla="*/ 22 w 22" name="T18"/>
                  <a:gd fmla="*/ 64 h 73" name="T19"/>
                  <a:gd fmla="*/ 22 w 22" name="T20"/>
                  <a:gd fmla="*/ 73 h 73" name="T21"/>
                  <a:gd fmla="*/ 0 w 22" name="T22"/>
                  <a:gd fmla="*/ 61 h 73" name="T23"/>
                  <a:gd fmla="*/ 0 w 22" name="T24"/>
                  <a:gd fmla="*/ 0 h 73"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73" w="22">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5" name="Freeform 32"/>
              <p:cNvSpPr>
                <a:spLocks noEditPoints="1"/>
              </p:cNvSpPr>
              <p:nvPr/>
            </p:nvSpPr>
            <p:spPr bwMode="auto">
              <a:xfrm>
                <a:off x="6129661" y="2846791"/>
                <a:ext cx="49399" cy="131731"/>
              </a:xfrm>
              <a:custGeom>
                <a:gdLst>
                  <a:gd fmla="*/ 0 w 10" name="T0"/>
                  <a:gd fmla="*/ 0 h 27" name="T1"/>
                  <a:gd fmla="*/ 7 w 10" name="T2"/>
                  <a:gd fmla="*/ 4 h 27" name="T3"/>
                  <a:gd fmla="*/ 10 w 10" name="T4"/>
                  <a:gd fmla="*/ 9 h 27" name="T5"/>
                  <a:gd fmla="*/ 10 w 10" name="T6"/>
                  <a:gd fmla="*/ 17 h 27" name="T7"/>
                  <a:gd fmla="*/ 8 w 10" name="T8"/>
                  <a:gd fmla="*/ 18 h 27" name="T9"/>
                  <a:gd fmla="*/ 4 w 10" name="T10"/>
                  <a:gd fmla="*/ 16 h 27" name="T11"/>
                  <a:gd fmla="*/ 3 w 10" name="T12"/>
                  <a:gd fmla="*/ 16 h 27" name="T13"/>
                  <a:gd fmla="*/ 3 w 10" name="T14"/>
                  <a:gd fmla="*/ 27 h 27" name="T15"/>
                  <a:gd fmla="*/ 0 w 10" name="T16"/>
                  <a:gd fmla="*/ 25 h 27" name="T17"/>
                  <a:gd fmla="*/ 0 w 10" name="T18"/>
                  <a:gd fmla="*/ 0 h 27" name="T19"/>
                  <a:gd fmla="*/ 6 w 10" name="T20"/>
                  <a:gd fmla="*/ 14 h 27" name="T21"/>
                  <a:gd fmla="*/ 7 w 10" name="T22"/>
                  <a:gd fmla="*/ 14 h 27" name="T23"/>
                  <a:gd fmla="*/ 7 w 10" name="T24"/>
                  <a:gd fmla="*/ 14 h 27" name="T25"/>
                  <a:gd fmla="*/ 7 w 10" name="T26"/>
                  <a:gd fmla="*/ 8 h 27" name="T27"/>
                  <a:gd fmla="*/ 5 w 10" name="T28"/>
                  <a:gd fmla="*/ 6 h 27" name="T29"/>
                  <a:gd fmla="*/ 3 w 10" name="T30"/>
                  <a:gd fmla="*/ 5 h 27" name="T31"/>
                  <a:gd fmla="*/ 3 w 10" name="T32"/>
                  <a:gd fmla="*/ 13 h 27" name="T33"/>
                  <a:gd fmla="*/ 6 w 10" name="T34"/>
                  <a:gd fmla="*/ 14 h 27"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27" w="10">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gdLst>
                  <a:gd fmla="*/ 7 w 52" name="T0"/>
                  <a:gd fmla="*/ 60 h 95" name="T1"/>
                  <a:gd fmla="*/ 31 w 52" name="T2"/>
                  <a:gd fmla="*/ 73 h 95" name="T3"/>
                  <a:gd fmla="*/ 38 w 52" name="T4"/>
                  <a:gd fmla="*/ 70 h 95" name="T5"/>
                  <a:gd fmla="*/ 38 w 52" name="T6"/>
                  <a:gd fmla="*/ 59 h 95" name="T7"/>
                  <a:gd fmla="*/ 17 w 52" name="T8"/>
                  <a:gd fmla="*/ 48 h 95" name="T9"/>
                  <a:gd fmla="*/ 10 w 52" name="T10"/>
                  <a:gd fmla="*/ 37 h 95" name="T11"/>
                  <a:gd fmla="*/ 17 w 52" name="T12"/>
                  <a:gd fmla="*/ 34 h 95" name="T13"/>
                  <a:gd fmla="*/ 38 w 52" name="T14"/>
                  <a:gd fmla="*/ 46 h 95" name="T15"/>
                  <a:gd fmla="*/ 38 w 52" name="T16"/>
                  <a:gd fmla="*/ 33 h 95" name="T17"/>
                  <a:gd fmla="*/ 7 w 52" name="T18"/>
                  <a:gd fmla="*/ 16 h 95" name="T19"/>
                  <a:gd fmla="*/ 0 w 52" name="T20"/>
                  <a:gd fmla="*/ 5 h 95" name="T21"/>
                  <a:gd fmla="*/ 8 w 52" name="T22"/>
                  <a:gd fmla="*/ 3 h 95" name="T23"/>
                  <a:gd fmla="*/ 45 w 52" name="T24"/>
                  <a:gd fmla="*/ 23 h 95" name="T25"/>
                  <a:gd fmla="*/ 52 w 52" name="T26"/>
                  <a:gd fmla="*/ 34 h 95" name="T27"/>
                  <a:gd fmla="*/ 52 w 52" name="T28"/>
                  <a:gd fmla="*/ 54 h 95" name="T29"/>
                  <a:gd fmla="*/ 45 w 52" name="T30"/>
                  <a:gd fmla="*/ 56 h 95" name="T31"/>
                  <a:gd fmla="*/ 52 w 52" name="T32"/>
                  <a:gd fmla="*/ 67 h 95" name="T33"/>
                  <a:gd fmla="*/ 52 w 52" name="T34"/>
                  <a:gd fmla="*/ 78 h 95" name="T35"/>
                  <a:gd fmla="*/ 31 w 52" name="T36"/>
                  <a:gd fmla="*/ 87 h 95" name="T37"/>
                  <a:gd fmla="*/ 7 w 52" name="T38"/>
                  <a:gd fmla="*/ 74 h 95" name="T39"/>
                  <a:gd fmla="*/ 0 w 52" name="T40"/>
                  <a:gd fmla="*/ 63 h 95" name="T41"/>
                  <a:gd fmla="*/ 7 w 52" name="T42"/>
                  <a:gd fmla="*/ 60 h 95"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95" w="52">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57" name="Freeform 35"/>
              <p:cNvSpPr/>
              <p:nvPr/>
            </p:nvSpPr>
            <p:spPr bwMode="auto">
              <a:xfrm>
                <a:off x="6675109" y="4079707"/>
                <a:ext cx="49399" cy="142023"/>
              </a:xfrm>
              <a:custGeom>
                <a:gdLst>
                  <a:gd fmla="*/ 0 w 10" name="T0"/>
                  <a:gd fmla="*/ 15 h 29" name="T1"/>
                  <a:gd fmla="*/ 4 w 10" name="T2"/>
                  <a:gd fmla="*/ 17 h 29" name="T3"/>
                  <a:gd fmla="*/ 4 w 10" name="T4"/>
                  <a:gd fmla="*/ 21 h 29" name="T5"/>
                  <a:gd fmla="*/ 5 w 10" name="T6"/>
                  <a:gd fmla="*/ 25 h 29" name="T7"/>
                  <a:gd fmla="*/ 7 w 10" name="T8"/>
                  <a:gd fmla="*/ 23 h 29" name="T9"/>
                  <a:gd fmla="*/ 5 w 10" name="T10"/>
                  <a:gd fmla="*/ 17 h 29" name="T11"/>
                  <a:gd fmla="*/ 2 w 10" name="T12"/>
                  <a:gd fmla="*/ 11 h 29" name="T13"/>
                  <a:gd fmla="*/ 1 w 10" name="T14"/>
                  <a:gd fmla="*/ 4 h 29" name="T15"/>
                  <a:gd fmla="*/ 2 w 10" name="T16"/>
                  <a:gd fmla="*/ 1 h 29" name="T17"/>
                  <a:gd fmla="*/ 6 w 10" name="T18"/>
                  <a:gd fmla="*/ 1 h 29" name="T19"/>
                  <a:gd fmla="*/ 9 w 10" name="T20"/>
                  <a:gd fmla="*/ 4 h 29" name="T21"/>
                  <a:gd fmla="*/ 10 w 10" name="T22"/>
                  <a:gd fmla="*/ 9 h 29" name="T23"/>
                  <a:gd fmla="*/ 10 w 10" name="T24"/>
                  <a:gd fmla="*/ 13 h 29" name="T25"/>
                  <a:gd fmla="*/ 7 w 10" name="T26"/>
                  <a:gd fmla="*/ 11 h 29" name="T27"/>
                  <a:gd fmla="*/ 7 w 10" name="T28"/>
                  <a:gd fmla="*/ 7 h 29" name="T29"/>
                  <a:gd fmla="*/ 6 w 10" name="T30"/>
                  <a:gd fmla="*/ 4 h 29" name="T31"/>
                  <a:gd fmla="*/ 4 w 10" name="T32"/>
                  <a:gd fmla="*/ 4 h 29" name="T33"/>
                  <a:gd fmla="*/ 4 w 10" name="T34"/>
                  <a:gd fmla="*/ 6 h 29" name="T35"/>
                  <a:gd fmla="*/ 6 w 10" name="T36"/>
                  <a:gd fmla="*/ 12 h 29" name="T37"/>
                  <a:gd fmla="*/ 9 w 10" name="T38"/>
                  <a:gd fmla="*/ 18 h 29" name="T39"/>
                  <a:gd fmla="*/ 10 w 10" name="T40"/>
                  <a:gd fmla="*/ 25 h 29" name="T41"/>
                  <a:gd fmla="*/ 9 w 10" name="T42"/>
                  <a:gd fmla="*/ 29 h 29" name="T43"/>
                  <a:gd fmla="*/ 6 w 10" name="T44"/>
                  <a:gd fmla="*/ 28 h 29" name="T45"/>
                  <a:gd fmla="*/ 0 w 10" name="T46"/>
                  <a:gd fmla="*/ 20 h 29" name="T47"/>
                  <a:gd fmla="*/ 0 w 10" name="T48"/>
                  <a:gd fmla="*/ 15 h 29"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8" w="10">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58" name="Freeform 36"/>
              <p:cNvSpPr/>
              <p:nvPr/>
            </p:nvSpPr>
            <p:spPr bwMode="auto">
              <a:xfrm>
                <a:off x="6767731" y="4124990"/>
                <a:ext cx="53516" cy="146139"/>
              </a:xfrm>
              <a:custGeom>
                <a:gdLst>
                  <a:gd fmla="*/ 26 w 26" name="T0"/>
                  <a:gd fmla="*/ 16 h 71" name="T1"/>
                  <a:gd fmla="*/ 26 w 26" name="T2"/>
                  <a:gd fmla="*/ 23 h 71" name="T3"/>
                  <a:gd fmla="*/ 17 w 26" name="T4"/>
                  <a:gd fmla="*/ 16 h 71" name="T5"/>
                  <a:gd fmla="*/ 17 w 26" name="T6"/>
                  <a:gd fmla="*/ 71 h 71" name="T7"/>
                  <a:gd fmla="*/ 10 w 26" name="T8"/>
                  <a:gd fmla="*/ 66 h 71" name="T9"/>
                  <a:gd fmla="*/ 10 w 26" name="T10"/>
                  <a:gd fmla="*/ 11 h 71" name="T11"/>
                  <a:gd fmla="*/ 0 w 26" name="T12"/>
                  <a:gd fmla="*/ 7 h 71" name="T13"/>
                  <a:gd fmla="*/ 0 w 26" name="T14"/>
                  <a:gd fmla="*/ 2 h 71" name="T15"/>
                  <a:gd fmla="*/ 0 w 26" name="T16"/>
                  <a:gd fmla="*/ 0 h 71" name="T17"/>
                  <a:gd fmla="*/ 26 w 26" name="T18"/>
                  <a:gd fmla="*/ 16 h 7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71" w="26">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59" name="Freeform 37"/>
              <p:cNvSpPr/>
              <p:nvPr/>
            </p:nvSpPr>
            <p:spPr bwMode="auto">
              <a:xfrm>
                <a:off x="6864471" y="4182622"/>
                <a:ext cx="45282" cy="146139"/>
              </a:xfrm>
              <a:custGeom>
                <a:gdLst>
                  <a:gd fmla="*/ 0 w 22" name="T0"/>
                  <a:gd fmla="*/ 0 h 71" name="T1"/>
                  <a:gd fmla="*/ 22 w 22" name="T2"/>
                  <a:gd fmla="*/ 10 h 71" name="T3"/>
                  <a:gd fmla="*/ 22 w 22" name="T4"/>
                  <a:gd fmla="*/ 19 h 71" name="T5"/>
                  <a:gd fmla="*/ 10 w 22" name="T6"/>
                  <a:gd fmla="*/ 12 h 71" name="T7"/>
                  <a:gd fmla="*/ 10 w 22" name="T8"/>
                  <a:gd fmla="*/ 28 h 71" name="T9"/>
                  <a:gd fmla="*/ 19 w 22" name="T10"/>
                  <a:gd fmla="*/ 36 h 71" name="T11"/>
                  <a:gd fmla="*/ 19 w 22" name="T12"/>
                  <a:gd fmla="*/ 43 h 71" name="T13"/>
                  <a:gd fmla="*/ 10 w 22" name="T14"/>
                  <a:gd fmla="*/ 38 h 71" name="T15"/>
                  <a:gd fmla="*/ 10 w 22" name="T16"/>
                  <a:gd fmla="*/ 57 h 71" name="T17"/>
                  <a:gd fmla="*/ 22 w 22" name="T18"/>
                  <a:gd fmla="*/ 64 h 71" name="T19"/>
                  <a:gd fmla="*/ 22 w 22" name="T20"/>
                  <a:gd fmla="*/ 71 h 71" name="T21"/>
                  <a:gd fmla="*/ 0 w 22" name="T22"/>
                  <a:gd fmla="*/ 59 h 71" name="T23"/>
                  <a:gd fmla="*/ 0 w 22" name="T24"/>
                  <a:gd fmla="*/ 0 h 71"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71" w="22">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sp>
            <p:nvSpPr>
              <p:cNvPr id="60" name="Freeform 38"/>
              <p:cNvSpPr>
                <a:spLocks noEditPoints="1"/>
              </p:cNvSpPr>
              <p:nvPr/>
            </p:nvSpPr>
            <p:spPr bwMode="auto">
              <a:xfrm>
                <a:off x="6952977" y="4225845"/>
                <a:ext cx="49399" cy="137906"/>
              </a:xfrm>
              <a:custGeom>
                <a:gdLst>
                  <a:gd fmla="*/ 0 w 10" name="T0"/>
                  <a:gd fmla="*/ 0 h 28" name="T1"/>
                  <a:gd fmla="*/ 7 w 10" name="T2"/>
                  <a:gd fmla="*/ 4 h 28" name="T3"/>
                  <a:gd fmla="*/ 10 w 10" name="T4"/>
                  <a:gd fmla="*/ 10 h 28" name="T5"/>
                  <a:gd fmla="*/ 10 w 10" name="T6"/>
                  <a:gd fmla="*/ 18 h 28" name="T7"/>
                  <a:gd fmla="*/ 8 w 10" name="T8"/>
                  <a:gd fmla="*/ 19 h 28" name="T9"/>
                  <a:gd fmla="*/ 4 w 10" name="T10"/>
                  <a:gd fmla="*/ 17 h 28" name="T11"/>
                  <a:gd fmla="*/ 3 w 10" name="T12"/>
                  <a:gd fmla="*/ 16 h 28" name="T13"/>
                  <a:gd fmla="*/ 3 w 10" name="T14"/>
                  <a:gd fmla="*/ 28 h 28" name="T15"/>
                  <a:gd fmla="*/ 0 w 10" name="T16"/>
                  <a:gd fmla="*/ 26 h 28" name="T17"/>
                  <a:gd fmla="*/ 0 w 10" name="T18"/>
                  <a:gd fmla="*/ 0 h 28" name="T19"/>
                  <a:gd fmla="*/ 6 w 10" name="T20"/>
                  <a:gd fmla="*/ 15 h 28" name="T21"/>
                  <a:gd fmla="*/ 6 w 10" name="T22"/>
                  <a:gd fmla="*/ 15 h 28" name="T23"/>
                  <a:gd fmla="*/ 7 w 10" name="T24"/>
                  <a:gd fmla="*/ 14 h 28" name="T25"/>
                  <a:gd fmla="*/ 7 w 10" name="T26"/>
                  <a:gd fmla="*/ 9 h 28" name="T27"/>
                  <a:gd fmla="*/ 5 w 10" name="T28"/>
                  <a:gd fmla="*/ 6 h 28" name="T29"/>
                  <a:gd fmla="*/ 3 w 10" name="T30"/>
                  <a:gd fmla="*/ 5 h 28" name="T31"/>
                  <a:gd fmla="*/ 3 w 10" name="T32"/>
                  <a:gd fmla="*/ 13 h 28" name="T33"/>
                  <a:gd fmla="*/ 6 w 10" name="T34"/>
                  <a:gd fmla="*/ 15 h 28"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28" w="10">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cap="flat" w="14288">
                <a:noFill/>
                <a:prstDash val="solid"/>
                <a:miter lim="800000"/>
              </a:ln>
            </p:spPr>
            <p:txBody>
              <a:bodyPr anchor="t" anchorCtr="0" bIns="60944" compatLnSpc="1" lIns="121888" numCol="1" rIns="121888" tIns="60944" vert="horz" wrap="square"/>
              <a:lstStyle/>
              <a:p>
                <a:endParaRPr altLang="en-US" lang="zh-CN"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lumMod val="85000"/>
                    </a:schemeClr>
                  </a:solidFill>
                  <a:latin charset="-122" panose="020b0503020204020204" pitchFamily="34" typeface="微软雅黑"/>
                  <a:ea charset="-122" panose="020b0503020204020204" pitchFamily="34" typeface="微软雅黑"/>
                </a:rPr>
                <a:t>1</a:t>
              </a:r>
            </a:p>
          </p:txBody>
        </p:sp>
        <p:sp>
          <p:nvSpPr>
            <p:cNvPr id="75" name="文本框 11"/>
            <p:cNvSpPr txBox="1"/>
            <p:nvPr/>
          </p:nvSpPr>
          <p:spPr>
            <a:xfrm>
              <a:off x="477437"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76" name="矩形 9"/>
            <p:cNvSpPr/>
            <p:nvPr/>
          </p:nvSpPr>
          <p:spPr>
            <a:xfrm>
              <a:off x="484797" y="3271159"/>
              <a:ext cx="3071740"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lumMod val="85000"/>
                    </a:schemeClr>
                  </a:solidFill>
                  <a:latin charset="-122" panose="020b0503020204020204" pitchFamily="34" typeface="微软雅黑"/>
                  <a:ea charset="-122" panose="020b0503020204020204" pitchFamily="34" typeface="微软雅黑"/>
                </a:rPr>
                <a:t>2</a:t>
              </a:r>
            </a:p>
          </p:txBody>
        </p:sp>
        <p:sp>
          <p:nvSpPr>
            <p:cNvPr id="79" name="文本框 11"/>
            <p:cNvSpPr txBox="1"/>
            <p:nvPr/>
          </p:nvSpPr>
          <p:spPr>
            <a:xfrm>
              <a:off x="477437"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80" name="矩形 9"/>
            <p:cNvSpPr/>
            <p:nvPr/>
          </p:nvSpPr>
          <p:spPr>
            <a:xfrm>
              <a:off x="484796" y="3271159"/>
              <a:ext cx="3062215"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lumMod val="85000"/>
                    </a:schemeClr>
                  </a:solidFill>
                  <a:latin charset="-122" panose="020b0503020204020204" pitchFamily="34" typeface="微软雅黑"/>
                  <a:ea charset="-122" panose="020b0503020204020204" pitchFamily="34" typeface="微软雅黑"/>
                </a:rPr>
                <a:t>3</a:t>
              </a:r>
            </a:p>
          </p:txBody>
        </p:sp>
        <p:sp>
          <p:nvSpPr>
            <p:cNvPr id="83" name="文本框 11"/>
            <p:cNvSpPr txBox="1"/>
            <p:nvPr/>
          </p:nvSpPr>
          <p:spPr>
            <a:xfrm>
              <a:off x="477437"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84" name="矩形 9"/>
            <p:cNvSpPr/>
            <p:nvPr/>
          </p:nvSpPr>
          <p:spPr>
            <a:xfrm>
              <a:off x="484796" y="3271158"/>
              <a:ext cx="3052689" cy="625353"/>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sp>
        <p:nvSpPr>
          <p:cNvPr id="85" name="平行四边形 84"/>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6" name="平行四边形 85"/>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7" name="平行四边形 86"/>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8" name="平行四边形 87"/>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91" name="Group 7"/>
          <p:cNvGrpSpPr/>
          <p:nvPr/>
        </p:nvGrpSpPr>
        <p:grpSpPr>
          <a:xfrm>
            <a:off x="180202" y="181952"/>
            <a:ext cx="216018" cy="113981"/>
            <a:chExt cx="1041399" cy="549275"/>
          </a:xfrm>
          <a:solidFill>
            <a:srgbClr val="133E73"/>
          </a:solidFill>
        </p:grpSpPr>
        <p:sp>
          <p:nvSpPr>
            <p:cNvPr id="92"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93"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94"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95" name="6112">
            <a:hlinkClick action="ppaction://media"/>
          </p:cNvPr>
          <p:cNvPicPr>
            <a:picLocks noChangeAspect="1"/>
          </p:cNvPicPr>
          <p:nvPr>
            <a:audioFile r:link="rId8"/>
            <p:extLst>
              <p:ext uri="{DAA4B4D4-6D71-4841-9C94-3DE7FCFB9230}">
                <p14:media r:embed="rId9"/>
              </p:ext>
            </p:extLst>
          </p:nvPr>
        </p:nvPicPr>
        <p:blipFill>
          <a:blip r:embed="rId7"/>
          <a:stretch>
            <a:fillRect/>
          </a:stretch>
        </p:blipFill>
        <p:spPr>
          <a:xfrm>
            <a:off x="2268377" y="-1568065"/>
            <a:ext cx="1008084" cy="1008084"/>
          </a:xfrm>
          <a:prstGeom prst="rect">
            <a:avLst/>
          </a:prstGeom>
        </p:spPr>
      </p:pic>
    </p:spTree>
    <p:custDataLst>
      <p:tags r:id="rId10"/>
    </p:custDataLst>
  </p:cSld>
  <p:clrMapOvr>
    <a:masterClrMapping/>
  </p:clrMapOvr>
  <mc:AlternateContent>
    <mc:Choice Requires="p14">
      <p:transition p14:dur="1600" spd="slow">
        <p14:prism isInverted="1"/>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91"/>
                                        </p:tgtEl>
                                        <p:attrNameLst>
                                          <p:attrName>style.visibility</p:attrName>
                                        </p:attrNameLst>
                                      </p:cBhvr>
                                      <p:to>
                                        <p:strVal val="visible"/>
                                      </p:to>
                                    </p:set>
                                    <p:anim calcmode="lin" valueType="num">
                                      <p:cBhvr additive="base">
                                        <p:cTn dur="500" fill="hold" id="7"/>
                                        <p:tgtEl>
                                          <p:spTgt spid="91"/>
                                        </p:tgtEl>
                                        <p:attrNameLst>
                                          <p:attrName>ppt_x</p:attrName>
                                        </p:attrNameLst>
                                      </p:cBhvr>
                                      <p:tavLst>
                                        <p:tav tm="0">
                                          <p:val>
                                            <p:strVal val="0-#ppt_w/2"/>
                                          </p:val>
                                        </p:tav>
                                        <p:tav tm="100000">
                                          <p:val>
                                            <p:strVal val="#ppt_x"/>
                                          </p:val>
                                        </p:tav>
                                      </p:tavLst>
                                    </p:anim>
                                    <p:anim calcmode="lin" valueType="num">
                                      <p:cBhvr additive="base">
                                        <p:cTn dur="500" fill="hold" id="8"/>
                                        <p:tgtEl>
                                          <p:spTgt spid="91"/>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90"/>
                                        </p:tgtEl>
                                        <p:attrNameLst>
                                          <p:attrName>style.visibility</p:attrName>
                                        </p:attrNameLst>
                                      </p:cBhvr>
                                      <p:to>
                                        <p:strVal val="visible"/>
                                      </p:to>
                                    </p:set>
                                    <p:anim calcmode="lin" valueType="num">
                                      <p:cBhvr>
                                        <p:cTn dur="500" fill="hold" id="12"/>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90"/>
                                        </p:tgtEl>
                                        <p:attrNameLst>
                                          <p:attrName>ppt_y</p:attrName>
                                        </p:attrNameLst>
                                      </p:cBhvr>
                                      <p:tavLst>
                                        <p:tav tm="0">
                                          <p:val>
                                            <p:strVal val="#ppt_y"/>
                                          </p:val>
                                        </p:tav>
                                        <p:tav tm="100000">
                                          <p:val>
                                            <p:strVal val="#ppt_y"/>
                                          </p:val>
                                        </p:tav>
                                      </p:tavLst>
                                    </p:anim>
                                    <p:anim calcmode="lin" valueType="num">
                                      <p:cBhvr>
                                        <p:cTn dur="500" fill="hold" id="14"/>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90"/>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90"/>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87"/>
                                        </p:tgtEl>
                                        <p:attrNameLst>
                                          <p:attrName>fillcolor</p:attrName>
                                        </p:attrNameLst>
                                      </p:cBhvr>
                                      <p:to>
                                        <a:srgbClr val="00AEEF"/>
                                      </p:to>
                                    </p:animClr>
                                    <p:set>
                                      <p:cBhvr>
                                        <p:cTn dur="300" fill="hold" id="20"/>
                                        <p:tgtEl>
                                          <p:spTgt spid="87"/>
                                        </p:tgtEl>
                                        <p:attrNameLst>
                                          <p:attrName>fill.type</p:attrName>
                                        </p:attrNameLst>
                                      </p:cBhvr>
                                      <p:to>
                                        <p:strVal val="solid"/>
                                      </p:to>
                                    </p:set>
                                    <p:set>
                                      <p:cBhvr>
                                        <p:cTn dur="300" fill="hold" id="21"/>
                                        <p:tgtEl>
                                          <p:spTgt spid="87"/>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12" presetSubtype="1">
                                  <p:stCondLst>
                                    <p:cond delay="0"/>
                                  </p:stCondLst>
                                  <p:childTnLst>
                                    <p:set>
                                      <p:cBhvr>
                                        <p:cTn dur="1" fill="hold" id="24">
                                          <p:stCondLst>
                                            <p:cond delay="0"/>
                                          </p:stCondLst>
                                        </p:cTn>
                                        <p:tgtEl>
                                          <p:spTgt spid="73"/>
                                        </p:tgtEl>
                                        <p:attrNameLst>
                                          <p:attrName>style.visibility</p:attrName>
                                        </p:attrNameLst>
                                      </p:cBhvr>
                                      <p:to>
                                        <p:strVal val="visible"/>
                                      </p:to>
                                    </p:set>
                                    <p:animEffect filter="slide(fromTop)" transition="in">
                                      <p:cBhvr>
                                        <p:cTn dur="500" id="25"/>
                                        <p:tgtEl>
                                          <p:spTgt spid="73"/>
                                        </p:tgtEl>
                                      </p:cBhvr>
                                    </p:animEffect>
                                  </p:childTnLst>
                                </p:cTn>
                              </p:par>
                            </p:childTnLst>
                          </p:cTn>
                        </p:par>
                        <p:par>
                          <p:cTn fill="hold" id="26" nodeType="afterGroup">
                            <p:stCondLst>
                              <p:cond delay="1800"/>
                            </p:stCondLst>
                            <p:childTnLst>
                              <p:par>
                                <p:cTn fill="hold" id="27" nodeType="afterEffect" presetClass="entr" presetID="12" presetSubtype="1">
                                  <p:stCondLst>
                                    <p:cond delay="0"/>
                                  </p:stCondLst>
                                  <p:childTnLst>
                                    <p:set>
                                      <p:cBhvr>
                                        <p:cTn dur="1" fill="hold" id="28">
                                          <p:stCondLst>
                                            <p:cond delay="0"/>
                                          </p:stCondLst>
                                        </p:cTn>
                                        <p:tgtEl>
                                          <p:spTgt spid="77"/>
                                        </p:tgtEl>
                                        <p:attrNameLst>
                                          <p:attrName>style.visibility</p:attrName>
                                        </p:attrNameLst>
                                      </p:cBhvr>
                                      <p:to>
                                        <p:strVal val="visible"/>
                                      </p:to>
                                    </p:set>
                                    <p:animEffect filter="slide(fromTop)" transition="in">
                                      <p:cBhvr>
                                        <p:cTn dur="500" id="29"/>
                                        <p:tgtEl>
                                          <p:spTgt spid="77"/>
                                        </p:tgtEl>
                                      </p:cBhvr>
                                    </p:animEffect>
                                  </p:childTnLst>
                                </p:cTn>
                              </p:par>
                            </p:childTnLst>
                          </p:cTn>
                        </p:par>
                        <p:par>
                          <p:cTn fill="hold" id="30" nodeType="afterGroup">
                            <p:stCondLst>
                              <p:cond delay="2300"/>
                            </p:stCondLst>
                            <p:childTnLst>
                              <p:par>
                                <p:cTn fill="hold" id="31" nodeType="afterEffect" presetClass="entr" presetID="12" presetSubtype="1">
                                  <p:stCondLst>
                                    <p:cond delay="0"/>
                                  </p:stCondLst>
                                  <p:childTnLst>
                                    <p:set>
                                      <p:cBhvr>
                                        <p:cTn dur="1" fill="hold" id="32">
                                          <p:stCondLst>
                                            <p:cond delay="0"/>
                                          </p:stCondLst>
                                        </p:cTn>
                                        <p:tgtEl>
                                          <p:spTgt spid="81"/>
                                        </p:tgtEl>
                                        <p:attrNameLst>
                                          <p:attrName>style.visibility</p:attrName>
                                        </p:attrNameLst>
                                      </p:cBhvr>
                                      <p:to>
                                        <p:strVal val="visible"/>
                                      </p:to>
                                    </p:set>
                                    <p:animEffect filter="slide(fromTop)" transition="in">
                                      <p:cBhvr>
                                        <p:cTn dur="500" id="33"/>
                                        <p:tgtEl>
                                          <p:spTgt spid="81"/>
                                        </p:tgtEl>
                                      </p:cBhvr>
                                    </p:animEffect>
                                  </p:childTnLst>
                                </p:cTn>
                              </p:par>
                            </p:childTnLst>
                          </p:cTn>
                        </p:par>
                      </p:childTnLst>
                    </p:cTn>
                  </p:par>
                  <p:par>
                    <p:cTn fill="hold" id="34" nodeType="clickPar">
                      <p:stCondLst>
                        <p:cond delay="indefinite"/>
                        <p:cond delay="0" evt="onBegin">
                          <p:tn val="33"/>
                        </p:cond>
                      </p:stCondLst>
                      <p:childTnLst>
                        <p:par>
                          <p:cTn fill="hold" id="35" nodeType="afterGroup">
                            <p:stCondLst>
                              <p:cond delay="0"/>
                            </p:stCondLst>
                            <p:childTnLst>
                              <p:par>
                                <p:cTn fill="hold" id="36" nodeType="clickEffect" presetClass="entr" presetID="10" presetSubtype="0">
                                  <p:stCondLst>
                                    <p:cond delay="0"/>
                                  </p:stCondLst>
                                  <p:childTnLst>
                                    <p:set>
                                      <p:cBhvr>
                                        <p:cTn dur="1" fill="hold" id="37">
                                          <p:stCondLst>
                                            <p:cond delay="0"/>
                                          </p:stCondLst>
                                        </p:cTn>
                                        <p:tgtEl>
                                          <p:spTgt spid="22"/>
                                        </p:tgtEl>
                                        <p:attrNameLst>
                                          <p:attrName>style.visibility</p:attrName>
                                        </p:attrNameLst>
                                      </p:cBhvr>
                                      <p:to>
                                        <p:strVal val="visible"/>
                                      </p:to>
                                    </p:set>
                                    <p:animEffect filter="fade" transition="in">
                                      <p:cBhvr>
                                        <p:cTn dur="500" id="38"/>
                                        <p:tgtEl>
                                          <p:spTgt spid="22"/>
                                        </p:tgtEl>
                                      </p:cBhvr>
                                    </p:animEffect>
                                  </p:childTnLst>
                                </p:cTn>
                              </p:par>
                            </p:childTnLst>
                          </p:cTn>
                        </p:par>
                        <p:par>
                          <p:cTn fill="hold" id="39" nodeType="afterGroup">
                            <p:stCondLst>
                              <p:cond delay="500"/>
                            </p:stCondLst>
                            <p:childTnLst>
                              <p:par>
                                <p:cTn fill="hold" id="40" nodeType="afterEffect" presetClass="mediacall" presetID="1" presetSubtype="0">
                                  <p:stCondLst>
                                    <p:cond delay="0"/>
                                  </p:stCondLst>
                                  <p:childTnLst>
                                    <p:cmd cmd="playFrom(0.0)" type="call">
                                      <p:cBhvr>
                                        <p:cTn dur="1" fill="hold" id="41"/>
                                        <p:tgtEl>
                                          <p:spTgt spid="95"/>
                                        </p:tgtEl>
                                      </p:cBhvr>
                                    </p:cmd>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42">
                  <p:stCondLst>
                    <p:cond delay="indefinite"/>
                  </p:stCondLst>
                  <p:endCondLst>
                    <p:cond delay="0" evt="onPrev">
                      <p:tgtEl>
                        <p:sldTgt/>
                      </p:tgtEl>
                    </p:cond>
                    <p:cond delay="0" evt="onStopAudio">
                      <p:tgtEl>
                        <p:sldTgt/>
                      </p:tgtEl>
                    </p:cond>
                  </p:endCondLst>
                </p:cTn>
                <p:tgtEl>
                  <p:spTgt spid="95"/>
                </p:tgtEl>
              </p:cMediaNode>
            </p:audio>
          </p:childTnLst>
        </p:cTn>
      </p:par>
    </p:tnLst>
    <p:bldLst>
      <p:bldP grpId="0" spid="87"/>
      <p:bldP grpId="0" spid="90"/>
    </p:bldLst>
  </p:timing>
  <p:extLst mod="1">
    <p:ext uri="{E180D4A7-C9FB-4DFB-919C-405C955672EB}">
      <p14:showEvtLst>
        <p14:playEvt objId="95" time="1358"/>
        <p14:stopEvt objId="95" time="2081"/>
      </p14:showEvtLst>
    </p:ext>
  </p:extLst>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aphicFrame>
        <p:nvGraphicFramePr>
          <p:cNvPr id="10" name="图表 9"/>
          <p:cNvGraphicFramePr/>
          <p:nvPr>
            <p:extLst>
              <p:ext uri="{D42A27DB-BD31-4B8C-83A1-F6EECF244321}">
                <p14:modId val="1455744444"/>
              </p:ext>
            </p:extLst>
          </p:nvPr>
        </p:nvGraphicFramePr>
        <p:xfrm>
          <a:off x="3579325" y="1924741"/>
          <a:ext cx="4606187" cy="3064492"/>
        </p:xfrm>
        <a:graphic>
          <a:graphicData uri="http://schemas.openxmlformats.org/drawingml/2006/chart">
            <c:chart xmlns:c="http://schemas.openxmlformats.org/drawingml/2006/chart" r:id="rId3"/>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3696" lIns="67391" rIns="67391" tIns="33696"/>
          <a:lstStyle>
            <a:lvl1pPr>
              <a:defRPr sz="3200">
                <a:solidFill>
                  <a:schemeClr val="tx1"/>
                </a:solidFill>
                <a:latin charset="0" panose="020b0506020202030204" pitchFamily="34" typeface="Arial Narrow"/>
                <a:ea charset="-122" panose="020b0503020204020204" pitchFamily="34" typeface="微软雅黑"/>
              </a:defRPr>
            </a:lvl1pPr>
            <a:lvl2pPr>
              <a:defRPr sz="2800">
                <a:solidFill>
                  <a:schemeClr val="tx1"/>
                </a:solidFill>
                <a:latin charset="0" panose="020b0506020202030204" pitchFamily="34" typeface="Arial Narrow"/>
                <a:ea charset="-122" panose="020b0503020204020204" pitchFamily="34" typeface="微软雅黑"/>
              </a:defRPr>
            </a:lvl2pPr>
            <a:lvl3pPr>
              <a:defRPr sz="2400">
                <a:solidFill>
                  <a:schemeClr val="tx1"/>
                </a:solidFill>
                <a:latin charset="0" panose="020b0506020202030204" pitchFamily="34" typeface="Arial Narrow"/>
                <a:ea charset="-122" panose="020b0503020204020204" pitchFamily="34" typeface="微软雅黑"/>
              </a:defRPr>
            </a:lvl3pPr>
            <a:lvl4pPr>
              <a:defRPr sz="2000">
                <a:solidFill>
                  <a:schemeClr val="tx1"/>
                </a:solidFill>
                <a:latin charset="0" panose="020b0506020202030204" pitchFamily="34" typeface="Arial Narrow"/>
                <a:ea charset="-122" panose="020b0503020204020204" pitchFamily="34" typeface="微软雅黑"/>
              </a:defRPr>
            </a:lvl4pPr>
            <a:lvl5pPr>
              <a:defRPr sz="2000">
                <a:solidFill>
                  <a:schemeClr val="tx1"/>
                </a:solidFill>
                <a:latin charset="0" panose="020b0506020202030204" pitchFamily="34" typeface="Arial Narrow"/>
                <a:ea charset="-122" panose="020b0503020204020204" pitchFamily="34" typeface="微软雅黑"/>
              </a:defRPr>
            </a:lvl5pPr>
            <a:lvl6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6pPr>
            <a:lvl7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7pPr>
            <a:lvl8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8pPr>
            <a:lvl9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9pPr>
          </a:lstStyle>
          <a:p>
            <a:pPr algn="ctr" eaLnBrk="1" hangingPunct="1"/>
            <a:r>
              <a:rPr altLang="en-US" lang="zh-CN" sz="1600">
                <a:solidFill>
                  <a:srgbClr val="00A4E3"/>
                </a:solidFill>
                <a:latin charset="-122" panose="020b0503020204020204" pitchFamily="34" typeface="微软雅黑"/>
              </a:rPr>
              <a:t>系列一</a:t>
            </a:r>
          </a:p>
          <a:p>
            <a:pPr algn="ctr" eaLnBrk="1" hangingPunct="1"/>
            <a:r>
              <a:rPr altLang="en-US" lang="zh-CN" sz="1600">
                <a:solidFill>
                  <a:srgbClr val="00A4E3"/>
                </a:solidFill>
                <a:latin charset="-122" panose="020b0503020204020204" pitchFamily="34" typeface="微软雅黑"/>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3696" lIns="67391" rIns="67391" tIns="33696"/>
          <a:lstStyle>
            <a:lvl1pPr>
              <a:defRPr sz="3200">
                <a:solidFill>
                  <a:schemeClr val="tx1"/>
                </a:solidFill>
                <a:latin charset="0" panose="020b0506020202030204" pitchFamily="34" typeface="Arial Narrow"/>
                <a:ea charset="-122" panose="020b0503020204020204" pitchFamily="34" typeface="微软雅黑"/>
              </a:defRPr>
            </a:lvl1pPr>
            <a:lvl2pPr>
              <a:defRPr sz="2800">
                <a:solidFill>
                  <a:schemeClr val="tx1"/>
                </a:solidFill>
                <a:latin charset="0" panose="020b0506020202030204" pitchFamily="34" typeface="Arial Narrow"/>
                <a:ea charset="-122" panose="020b0503020204020204" pitchFamily="34" typeface="微软雅黑"/>
              </a:defRPr>
            </a:lvl2pPr>
            <a:lvl3pPr>
              <a:defRPr sz="2400">
                <a:solidFill>
                  <a:schemeClr val="tx1"/>
                </a:solidFill>
                <a:latin charset="0" panose="020b0506020202030204" pitchFamily="34" typeface="Arial Narrow"/>
                <a:ea charset="-122" panose="020b0503020204020204" pitchFamily="34" typeface="微软雅黑"/>
              </a:defRPr>
            </a:lvl3pPr>
            <a:lvl4pPr>
              <a:defRPr sz="2000">
                <a:solidFill>
                  <a:schemeClr val="tx1"/>
                </a:solidFill>
                <a:latin charset="0" panose="020b0506020202030204" pitchFamily="34" typeface="Arial Narrow"/>
                <a:ea charset="-122" panose="020b0503020204020204" pitchFamily="34" typeface="微软雅黑"/>
              </a:defRPr>
            </a:lvl4pPr>
            <a:lvl5pPr>
              <a:defRPr sz="2000">
                <a:solidFill>
                  <a:schemeClr val="tx1"/>
                </a:solidFill>
                <a:latin charset="0" panose="020b0506020202030204" pitchFamily="34" typeface="Arial Narrow"/>
                <a:ea charset="-122" panose="020b0503020204020204" pitchFamily="34" typeface="微软雅黑"/>
              </a:defRPr>
            </a:lvl5pPr>
            <a:lvl6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6pPr>
            <a:lvl7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7pPr>
            <a:lvl8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8pPr>
            <a:lvl9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9pPr>
          </a:lstStyle>
          <a:p>
            <a:pPr algn="ctr"/>
            <a:r>
              <a:rPr altLang="en-US" lang="zh-CN" sz="1600">
                <a:solidFill>
                  <a:srgbClr val="00A4E3"/>
                </a:solidFill>
                <a:latin charset="-122" panose="020b0503020204020204" pitchFamily="34" typeface="微软雅黑"/>
              </a:rPr>
              <a:t>系列二</a:t>
            </a:r>
          </a:p>
          <a:p>
            <a:pPr algn="ctr"/>
            <a:r>
              <a:rPr altLang="en-US" lang="zh-CN" sz="1600">
                <a:solidFill>
                  <a:srgbClr val="00A4E3"/>
                </a:solidFill>
                <a:latin charset="-122" panose="020b0503020204020204" pitchFamily="34" typeface="微软雅黑"/>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3696" lIns="67391" rIns="67391" tIns="33696"/>
          <a:lstStyle>
            <a:lvl1pPr>
              <a:defRPr sz="3200">
                <a:solidFill>
                  <a:schemeClr val="tx1"/>
                </a:solidFill>
                <a:latin charset="0" panose="020b0506020202030204" pitchFamily="34" typeface="Arial Narrow"/>
                <a:ea charset="-122" panose="020b0503020204020204" pitchFamily="34" typeface="微软雅黑"/>
              </a:defRPr>
            </a:lvl1pPr>
            <a:lvl2pPr>
              <a:defRPr sz="2800">
                <a:solidFill>
                  <a:schemeClr val="tx1"/>
                </a:solidFill>
                <a:latin charset="0" panose="020b0506020202030204" pitchFamily="34" typeface="Arial Narrow"/>
                <a:ea charset="-122" panose="020b0503020204020204" pitchFamily="34" typeface="微软雅黑"/>
              </a:defRPr>
            </a:lvl2pPr>
            <a:lvl3pPr>
              <a:defRPr sz="2400">
                <a:solidFill>
                  <a:schemeClr val="tx1"/>
                </a:solidFill>
                <a:latin charset="0" panose="020b0506020202030204" pitchFamily="34" typeface="Arial Narrow"/>
                <a:ea charset="-122" panose="020b0503020204020204" pitchFamily="34" typeface="微软雅黑"/>
              </a:defRPr>
            </a:lvl3pPr>
            <a:lvl4pPr>
              <a:defRPr sz="2000">
                <a:solidFill>
                  <a:schemeClr val="tx1"/>
                </a:solidFill>
                <a:latin charset="0" panose="020b0506020202030204" pitchFamily="34" typeface="Arial Narrow"/>
                <a:ea charset="-122" panose="020b0503020204020204" pitchFamily="34" typeface="微软雅黑"/>
              </a:defRPr>
            </a:lvl4pPr>
            <a:lvl5pPr>
              <a:defRPr sz="2000">
                <a:solidFill>
                  <a:schemeClr val="tx1"/>
                </a:solidFill>
                <a:latin charset="0" panose="020b0506020202030204" pitchFamily="34" typeface="Arial Narrow"/>
                <a:ea charset="-122" panose="020b0503020204020204" pitchFamily="34" typeface="微软雅黑"/>
              </a:defRPr>
            </a:lvl5pPr>
            <a:lvl6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6pPr>
            <a:lvl7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7pPr>
            <a:lvl8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8pPr>
            <a:lvl9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9pPr>
          </a:lstStyle>
          <a:p>
            <a:pPr algn="ctr"/>
            <a:r>
              <a:rPr altLang="en-US" lang="zh-CN" sz="1600">
                <a:solidFill>
                  <a:srgbClr val="00A4E3"/>
                </a:solidFill>
                <a:latin charset="-122" panose="020b0503020204020204" pitchFamily="34" typeface="微软雅黑"/>
              </a:rPr>
              <a:t>系列三</a:t>
            </a:r>
          </a:p>
          <a:p>
            <a:pPr algn="ctr"/>
            <a:r>
              <a:rPr altLang="en-US" lang="zh-CN" sz="1600">
                <a:solidFill>
                  <a:srgbClr val="00A4E3"/>
                </a:solidFill>
                <a:latin charset="-122" panose="020b0503020204020204" pitchFamily="34" typeface="微软雅黑"/>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3696" lIns="67391" rIns="67391" tIns="33696"/>
          <a:lstStyle>
            <a:lvl1pPr>
              <a:defRPr sz="3200">
                <a:solidFill>
                  <a:schemeClr val="tx1"/>
                </a:solidFill>
                <a:latin charset="0" panose="020b0506020202030204" pitchFamily="34" typeface="Arial Narrow"/>
                <a:ea charset="-122" panose="020b0503020204020204" pitchFamily="34" typeface="微软雅黑"/>
              </a:defRPr>
            </a:lvl1pPr>
            <a:lvl2pPr>
              <a:defRPr sz="2800">
                <a:solidFill>
                  <a:schemeClr val="tx1"/>
                </a:solidFill>
                <a:latin charset="0" panose="020b0506020202030204" pitchFamily="34" typeface="Arial Narrow"/>
                <a:ea charset="-122" panose="020b0503020204020204" pitchFamily="34" typeface="微软雅黑"/>
              </a:defRPr>
            </a:lvl2pPr>
            <a:lvl3pPr>
              <a:defRPr sz="2400">
                <a:solidFill>
                  <a:schemeClr val="tx1"/>
                </a:solidFill>
                <a:latin charset="0" panose="020b0506020202030204" pitchFamily="34" typeface="Arial Narrow"/>
                <a:ea charset="-122" panose="020b0503020204020204" pitchFamily="34" typeface="微软雅黑"/>
              </a:defRPr>
            </a:lvl3pPr>
            <a:lvl4pPr>
              <a:defRPr sz="2000">
                <a:solidFill>
                  <a:schemeClr val="tx1"/>
                </a:solidFill>
                <a:latin charset="0" panose="020b0506020202030204" pitchFamily="34" typeface="Arial Narrow"/>
                <a:ea charset="-122" panose="020b0503020204020204" pitchFamily="34" typeface="微软雅黑"/>
              </a:defRPr>
            </a:lvl4pPr>
            <a:lvl5pPr>
              <a:defRPr sz="2000">
                <a:solidFill>
                  <a:schemeClr val="tx1"/>
                </a:solidFill>
                <a:latin charset="0" panose="020b0506020202030204" pitchFamily="34" typeface="Arial Narrow"/>
                <a:ea charset="-122" panose="020b0503020204020204" pitchFamily="34" typeface="微软雅黑"/>
              </a:defRPr>
            </a:lvl5pPr>
            <a:lvl6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6pPr>
            <a:lvl7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7pPr>
            <a:lvl8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8pPr>
            <a:lvl9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9pPr>
          </a:lstStyle>
          <a:p>
            <a:pPr eaLnBrk="1" hangingPunct="1"/>
            <a:r>
              <a:rPr altLang="en-US" b="1" lang="zh-CN" sz="1400">
                <a:solidFill>
                  <a:srgbClr val="00A4E3"/>
                </a:solidFill>
                <a:latin charset="-122" panose="020b0503020204020204" pitchFamily="34" typeface="微软雅黑"/>
              </a:rPr>
              <a:t>添加文本信息</a:t>
            </a: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3696" lIns="67391" rIns="67391" tIns="33696"/>
          <a:lstStyle>
            <a:lvl1pPr>
              <a:defRPr sz="3200">
                <a:solidFill>
                  <a:schemeClr val="tx1"/>
                </a:solidFill>
                <a:latin charset="0" panose="020b0506020202030204" pitchFamily="34" typeface="Arial Narrow"/>
                <a:ea charset="-122" panose="020b0503020204020204" pitchFamily="34" typeface="微软雅黑"/>
              </a:defRPr>
            </a:lvl1pPr>
            <a:lvl2pPr>
              <a:defRPr sz="2800">
                <a:solidFill>
                  <a:schemeClr val="tx1"/>
                </a:solidFill>
                <a:latin charset="0" panose="020b0506020202030204" pitchFamily="34" typeface="Arial Narrow"/>
                <a:ea charset="-122" panose="020b0503020204020204" pitchFamily="34" typeface="微软雅黑"/>
              </a:defRPr>
            </a:lvl2pPr>
            <a:lvl3pPr>
              <a:defRPr sz="2400">
                <a:solidFill>
                  <a:schemeClr val="tx1"/>
                </a:solidFill>
                <a:latin charset="0" panose="020b0506020202030204" pitchFamily="34" typeface="Arial Narrow"/>
                <a:ea charset="-122" panose="020b0503020204020204" pitchFamily="34" typeface="微软雅黑"/>
              </a:defRPr>
            </a:lvl3pPr>
            <a:lvl4pPr>
              <a:defRPr sz="2000">
                <a:solidFill>
                  <a:schemeClr val="tx1"/>
                </a:solidFill>
                <a:latin charset="0" panose="020b0506020202030204" pitchFamily="34" typeface="Arial Narrow"/>
                <a:ea charset="-122" panose="020b0503020204020204" pitchFamily="34" typeface="微软雅黑"/>
              </a:defRPr>
            </a:lvl4pPr>
            <a:lvl5pPr>
              <a:defRPr sz="2000">
                <a:solidFill>
                  <a:schemeClr val="tx1"/>
                </a:solidFill>
                <a:latin charset="0" panose="020b0506020202030204" pitchFamily="34" typeface="Arial Narrow"/>
                <a:ea charset="-122" panose="020b0503020204020204" pitchFamily="34" typeface="微软雅黑"/>
              </a:defRPr>
            </a:lvl5pPr>
            <a:lvl6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6pPr>
            <a:lvl7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7pPr>
            <a:lvl8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8pPr>
            <a:lvl9pPr eaLnBrk="0" fontAlgn="base" hangingPunct="0">
              <a:spcAft>
                <a:spcPct val="0"/>
              </a:spcAft>
              <a:buFont charset="0" pitchFamily="34" typeface="Arial"/>
              <a:buChar char="»"/>
              <a:defRPr sz="2000">
                <a:solidFill>
                  <a:schemeClr val="tx1"/>
                </a:solidFill>
                <a:latin charset="0" panose="020b0506020202030204" pitchFamily="34" typeface="Arial Narrow"/>
                <a:ea charset="-122" panose="020b0503020204020204" pitchFamily="34" typeface="微软雅黑"/>
              </a:defRPr>
            </a:lvl9pPr>
          </a:lstStyle>
          <a:p>
            <a:pPr>
              <a:lnSpc>
                <a:spcPct val="150000"/>
              </a:lnSpc>
              <a:spcBef>
                <a:spcPts val="295"/>
              </a:spcBef>
            </a:pPr>
            <a:r>
              <a:rPr altLang="en-US" lang="zh-CN" sz="1100">
                <a:solidFill>
                  <a:schemeClr val="bg1">
                    <a:lumMod val="85000"/>
                  </a:schemeClr>
                </a:solidFill>
                <a:latin charset="-122" panose="020b0503020204020204" pitchFamily="34" typeface="微软雅黑"/>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altLang="en-US" lang="zh-CN" sz="1100">
              <a:solidFill>
                <a:schemeClr val="bg1">
                  <a:lumMod val="85000"/>
                </a:schemeClr>
              </a:solidFill>
              <a:latin charset="-122" panose="020b0503020204020204" pitchFamily="34" typeface="微软雅黑"/>
            </a:endParaRPr>
          </a:p>
        </p:txBody>
      </p:sp>
      <p:sp>
        <p:nvSpPr>
          <p:cNvPr id="9" name="平行四边形 8"/>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7" name="平行四边形 16"/>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8" name="平行四边形 17"/>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9" name="平行四边形 18"/>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22" name="Group 7"/>
          <p:cNvGrpSpPr/>
          <p:nvPr/>
        </p:nvGrpSpPr>
        <p:grpSpPr>
          <a:xfrm>
            <a:off x="180202" y="181952"/>
            <a:ext cx="216018" cy="113981"/>
            <a:chExt cx="1041399" cy="549275"/>
          </a:xfrm>
          <a:solidFill>
            <a:srgbClr val="133E73"/>
          </a:solidFill>
        </p:grpSpPr>
        <p:sp>
          <p:nvSpPr>
            <p:cNvPr id="23"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24"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25"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26" name="6112">
            <a:hlinkClick action="ppaction://media"/>
          </p:cNvPr>
          <p:cNvPicPr>
            <a:picLocks noChangeAspect="1"/>
          </p:cNvPicPr>
          <p:nvPr>
            <a:audioFile r:link="rId5"/>
            <p:extLst>
              <p:ext uri="{DAA4B4D4-6D71-4841-9C94-3DE7FCFB9230}">
                <p14:media r:embed="rId6"/>
              </p:ext>
            </p:extLst>
          </p:nvPr>
        </p:nvPicPr>
        <p:blipFill>
          <a:blip r:embed="rId4"/>
          <a:stretch>
            <a:fillRect/>
          </a:stretch>
        </p:blipFill>
        <p:spPr>
          <a:xfrm>
            <a:off x="2268377" y="-1568065"/>
            <a:ext cx="1008084" cy="1008084"/>
          </a:xfrm>
          <a:prstGeom prst="rect">
            <a:avLst/>
          </a:prstGeom>
        </p:spPr>
      </p:pic>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22"/>
                                        </p:tgtEl>
                                        <p:attrNameLst>
                                          <p:attrName>style.visibility</p:attrName>
                                        </p:attrNameLst>
                                      </p:cBhvr>
                                      <p:to>
                                        <p:strVal val="visible"/>
                                      </p:to>
                                    </p:set>
                                    <p:anim calcmode="lin" valueType="num">
                                      <p:cBhvr additive="base">
                                        <p:cTn dur="500" fill="hold" id="7"/>
                                        <p:tgtEl>
                                          <p:spTgt spid="22"/>
                                        </p:tgtEl>
                                        <p:attrNameLst>
                                          <p:attrName>ppt_x</p:attrName>
                                        </p:attrNameLst>
                                      </p:cBhvr>
                                      <p:tavLst>
                                        <p:tav tm="0">
                                          <p:val>
                                            <p:strVal val="0-#ppt_w/2"/>
                                          </p:val>
                                        </p:tav>
                                        <p:tav tm="100000">
                                          <p:val>
                                            <p:strVal val="#ppt_x"/>
                                          </p:val>
                                        </p:tav>
                                      </p:tavLst>
                                    </p:anim>
                                    <p:anim calcmode="lin" valueType="num">
                                      <p:cBhvr additive="base">
                                        <p:cTn dur="500" fill="hold" id="8"/>
                                        <p:tgtEl>
                                          <p:spTgt spid="22"/>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21"/>
                                        </p:tgtEl>
                                        <p:attrNameLst>
                                          <p:attrName>style.visibility</p:attrName>
                                        </p:attrNameLst>
                                      </p:cBhvr>
                                      <p:to>
                                        <p:strVal val="visible"/>
                                      </p:to>
                                    </p:set>
                                    <p:anim calcmode="lin" valueType="num">
                                      <p:cBhvr>
                                        <p:cTn dur="500" fill="hold" id="12"/>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21"/>
                                        </p:tgtEl>
                                        <p:attrNameLst>
                                          <p:attrName>ppt_y</p:attrName>
                                        </p:attrNameLst>
                                      </p:cBhvr>
                                      <p:tavLst>
                                        <p:tav tm="0">
                                          <p:val>
                                            <p:strVal val="#ppt_y"/>
                                          </p:val>
                                        </p:tav>
                                        <p:tav tm="100000">
                                          <p:val>
                                            <p:strVal val="#ppt_y"/>
                                          </p:val>
                                        </p:tav>
                                      </p:tavLst>
                                    </p:anim>
                                    <p:anim calcmode="lin" valueType="num">
                                      <p:cBhvr>
                                        <p:cTn dur="500" fill="hold" id="14"/>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21"/>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21"/>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18"/>
                                        </p:tgtEl>
                                        <p:attrNameLst>
                                          <p:attrName>fillcolor</p:attrName>
                                        </p:attrNameLst>
                                      </p:cBhvr>
                                      <p:to>
                                        <a:srgbClr val="00AEEF"/>
                                      </p:to>
                                    </p:animClr>
                                    <p:set>
                                      <p:cBhvr>
                                        <p:cTn dur="300" fill="hold" id="20"/>
                                        <p:tgtEl>
                                          <p:spTgt spid="18"/>
                                        </p:tgtEl>
                                        <p:attrNameLst>
                                          <p:attrName>fill.type</p:attrName>
                                        </p:attrNameLst>
                                      </p:cBhvr>
                                      <p:to>
                                        <p:strVal val="solid"/>
                                      </p:to>
                                    </p:set>
                                    <p:set>
                                      <p:cBhvr>
                                        <p:cTn dur="300" fill="hold" id="21"/>
                                        <p:tgtEl>
                                          <p:spTgt spid="18"/>
                                        </p:tgtEl>
                                        <p:attrNameLst>
                                          <p:attrName>fill.on</p:attrName>
                                        </p:attrNameLst>
                                      </p:cBhvr>
                                      <p:to>
                                        <p:strVal val="true"/>
                                      </p:to>
                                    </p:set>
                                  </p:childTnLst>
                                </p:cTn>
                              </p:par>
                            </p:childTnLst>
                          </p:cTn>
                        </p:par>
                        <p:par>
                          <p:cTn fill="hold" id="22" nodeType="afterGroup">
                            <p:stCondLst>
                              <p:cond delay="1300"/>
                            </p:stCondLst>
                            <p:childTnLst>
                              <p:par>
                                <p:cTn fill="hold" grpId="0" id="23" nodeType="afterEffect" presetClass="entr" presetID="22" presetSubtype="8">
                                  <p:stCondLst>
                                    <p:cond delay="0"/>
                                  </p:stCondLst>
                                  <p:childTnLst>
                                    <p:set>
                                      <p:cBhvr>
                                        <p:cTn dur="1" fill="hold" id="24">
                                          <p:stCondLst>
                                            <p:cond delay="0"/>
                                          </p:stCondLst>
                                        </p:cTn>
                                        <p:tgtEl>
                                          <p:spTgt spid="14"/>
                                        </p:tgtEl>
                                        <p:attrNameLst>
                                          <p:attrName>style.visibility</p:attrName>
                                        </p:attrNameLst>
                                      </p:cBhvr>
                                      <p:to>
                                        <p:strVal val="visible"/>
                                      </p:to>
                                    </p:set>
                                    <p:animEffect filter="wipe(left)" transition="in">
                                      <p:cBhvr>
                                        <p:cTn dur="500" id="25"/>
                                        <p:tgtEl>
                                          <p:spTgt spid="14"/>
                                        </p:tgtEl>
                                      </p:cBhvr>
                                    </p:animEffect>
                                  </p:childTnLst>
                                </p:cTn>
                              </p:par>
                              <p:par>
                                <p:cTn fill="hold" id="26" nodeType="withEffect" presetClass="entr" presetID="22" presetSubtype="8">
                                  <p:stCondLst>
                                    <p:cond delay="0"/>
                                  </p:stCondLst>
                                  <p:childTnLst>
                                    <p:set>
                                      <p:cBhvr>
                                        <p:cTn dur="1" fill="hold" id="27">
                                          <p:stCondLst>
                                            <p:cond delay="0"/>
                                          </p:stCondLst>
                                        </p:cTn>
                                        <p:tgtEl>
                                          <p:spTgt spid="15"/>
                                        </p:tgtEl>
                                        <p:attrNameLst>
                                          <p:attrName>style.visibility</p:attrName>
                                        </p:attrNameLst>
                                      </p:cBhvr>
                                      <p:to>
                                        <p:strVal val="visible"/>
                                      </p:to>
                                    </p:set>
                                    <p:animEffect filter="wipe(left)" transition="in">
                                      <p:cBhvr>
                                        <p:cTn dur="500" id="28"/>
                                        <p:tgtEl>
                                          <p:spTgt spid="15"/>
                                        </p:tgtEl>
                                      </p:cBhvr>
                                    </p:animEffect>
                                  </p:childTnLst>
                                </p:cTn>
                              </p:par>
                            </p:childTnLst>
                          </p:cTn>
                        </p:par>
                        <p:par>
                          <p:cTn fill="hold" id="29" nodeType="afterGroup">
                            <p:stCondLst>
                              <p:cond delay="1800"/>
                            </p:stCondLst>
                            <p:childTnLst>
                              <p:par>
                                <p:cTn fill="hold" grpId="0" id="30" nodeType="afterEffect" presetClass="entr" presetID="22" presetSubtype="1">
                                  <p:stCondLst>
                                    <p:cond delay="0"/>
                                  </p:stCondLst>
                                  <p:childTnLst>
                                    <p:set>
                                      <p:cBhvr>
                                        <p:cTn dur="1" fill="hold" id="31">
                                          <p:stCondLst>
                                            <p:cond delay="0"/>
                                          </p:stCondLst>
                                        </p:cTn>
                                        <p:tgtEl>
                                          <p:spTgt spid="16"/>
                                        </p:tgtEl>
                                        <p:attrNameLst>
                                          <p:attrName>style.visibility</p:attrName>
                                        </p:attrNameLst>
                                      </p:cBhvr>
                                      <p:to>
                                        <p:strVal val="visible"/>
                                      </p:to>
                                    </p:set>
                                    <p:animEffect filter="wipe(up)" transition="in">
                                      <p:cBhvr>
                                        <p:cTn dur="500" id="32"/>
                                        <p:tgtEl>
                                          <p:spTgt spid="16"/>
                                        </p:tgtEl>
                                      </p:cBhvr>
                                    </p:animEffect>
                                  </p:childTnLst>
                                </p:cTn>
                              </p:par>
                            </p:childTnLst>
                          </p:cTn>
                        </p:par>
                        <p:par>
                          <p:cTn fill="hold" id="33" nodeType="afterGroup">
                            <p:stCondLst>
                              <p:cond delay="2300"/>
                            </p:stCondLst>
                            <p:childTnLst>
                              <p:par>
                                <p:cTn fill="hold" grpId="0" id="34" nodeType="afterEffect" presetClass="entr" presetID="2" presetSubtype="4">
                                  <p:stCondLst>
                                    <p:cond delay="0"/>
                                  </p:stCondLst>
                                  <p:childTnLst>
                                    <p:set>
                                      <p:cBhvr>
                                        <p:cTn dur="1" fill="hold" id="35">
                                          <p:stCondLst>
                                            <p:cond delay="0"/>
                                          </p:stCondLst>
                                        </p:cTn>
                                        <p:tgtEl>
                                          <p:spTgt spid="10"/>
                                        </p:tgtEl>
                                        <p:attrNameLst>
                                          <p:attrName>style.visibility</p:attrName>
                                        </p:attrNameLst>
                                      </p:cBhvr>
                                      <p:to>
                                        <p:strVal val="visible"/>
                                      </p:to>
                                    </p:set>
                                    <p:anim calcmode="lin" valueType="num">
                                      <p:cBhvr additive="base">
                                        <p:cTn dur="500" fill="hold" id="36"/>
                                        <p:tgtEl>
                                          <p:spTgt spid="10"/>
                                        </p:tgtEl>
                                        <p:attrNameLst>
                                          <p:attrName>ppt_x</p:attrName>
                                        </p:attrNameLst>
                                      </p:cBhvr>
                                      <p:tavLst>
                                        <p:tav tm="0">
                                          <p:val>
                                            <p:strVal val="#ppt_x"/>
                                          </p:val>
                                        </p:tav>
                                        <p:tav tm="100000">
                                          <p:val>
                                            <p:strVal val="#ppt_x"/>
                                          </p:val>
                                        </p:tav>
                                      </p:tavLst>
                                    </p:anim>
                                    <p:anim calcmode="lin" valueType="num">
                                      <p:cBhvr additive="base">
                                        <p:cTn dur="500" fill="hold" id="37"/>
                                        <p:tgtEl>
                                          <p:spTgt spid="10"/>
                                        </p:tgtEl>
                                        <p:attrNameLst>
                                          <p:attrName>ppt_y</p:attrName>
                                        </p:attrNameLst>
                                      </p:cBhvr>
                                      <p:tavLst>
                                        <p:tav tm="0">
                                          <p:val>
                                            <p:strVal val="1+#ppt_h/2"/>
                                          </p:val>
                                        </p:tav>
                                        <p:tav tm="100000">
                                          <p:val>
                                            <p:strVal val="#ppt_y"/>
                                          </p:val>
                                        </p:tav>
                                      </p:tavLst>
                                    </p:anim>
                                  </p:childTnLst>
                                </p:cTn>
                              </p:par>
                            </p:childTnLst>
                          </p:cTn>
                        </p:par>
                        <p:par>
                          <p:cTn fill="hold" id="38" nodeType="afterGroup">
                            <p:stCondLst>
                              <p:cond delay="2800"/>
                            </p:stCondLst>
                            <p:childTnLst>
                              <p:par>
                                <p:cTn fill="hold" grpId="0" id="39" nodeType="afterEffect" presetClass="entr" presetID="22" presetSubtype="4">
                                  <p:stCondLst>
                                    <p:cond delay="0"/>
                                  </p:stCondLst>
                                  <p:childTnLst>
                                    <p:set>
                                      <p:cBhvr>
                                        <p:cTn dur="1" fill="hold" id="40">
                                          <p:stCondLst>
                                            <p:cond delay="0"/>
                                          </p:stCondLst>
                                        </p:cTn>
                                        <p:tgtEl>
                                          <p:spTgt spid="11"/>
                                        </p:tgtEl>
                                        <p:attrNameLst>
                                          <p:attrName>style.visibility</p:attrName>
                                        </p:attrNameLst>
                                      </p:cBhvr>
                                      <p:to>
                                        <p:strVal val="visible"/>
                                      </p:to>
                                    </p:set>
                                    <p:animEffect filter="wipe(down)" transition="in">
                                      <p:cBhvr>
                                        <p:cTn dur="500" id="41"/>
                                        <p:tgtEl>
                                          <p:spTgt spid="11"/>
                                        </p:tgtEl>
                                      </p:cBhvr>
                                    </p:animEffect>
                                  </p:childTnLst>
                                </p:cTn>
                              </p:par>
                            </p:childTnLst>
                          </p:cTn>
                        </p:par>
                        <p:par>
                          <p:cTn fill="hold" id="42" nodeType="afterGroup">
                            <p:stCondLst>
                              <p:cond delay="3300"/>
                            </p:stCondLst>
                            <p:childTnLst>
                              <p:par>
                                <p:cTn fill="hold" grpId="0" id="43" nodeType="afterEffect" presetClass="entr" presetID="22" presetSubtype="4">
                                  <p:stCondLst>
                                    <p:cond delay="0"/>
                                  </p:stCondLst>
                                  <p:childTnLst>
                                    <p:set>
                                      <p:cBhvr>
                                        <p:cTn dur="1" fill="hold" id="44">
                                          <p:stCondLst>
                                            <p:cond delay="0"/>
                                          </p:stCondLst>
                                        </p:cTn>
                                        <p:tgtEl>
                                          <p:spTgt spid="12"/>
                                        </p:tgtEl>
                                        <p:attrNameLst>
                                          <p:attrName>style.visibility</p:attrName>
                                        </p:attrNameLst>
                                      </p:cBhvr>
                                      <p:to>
                                        <p:strVal val="visible"/>
                                      </p:to>
                                    </p:set>
                                    <p:animEffect filter="wipe(down)" transition="in">
                                      <p:cBhvr>
                                        <p:cTn dur="500" id="45"/>
                                        <p:tgtEl>
                                          <p:spTgt spid="12"/>
                                        </p:tgtEl>
                                      </p:cBhvr>
                                    </p:animEffect>
                                  </p:childTnLst>
                                </p:cTn>
                              </p:par>
                            </p:childTnLst>
                          </p:cTn>
                        </p:par>
                        <p:par>
                          <p:cTn fill="hold" id="46" nodeType="afterGroup">
                            <p:stCondLst>
                              <p:cond delay="3800"/>
                            </p:stCondLst>
                            <p:childTnLst>
                              <p:par>
                                <p:cTn fill="hold" id="47" nodeType="afterEffect" presetClass="mediacall" presetID="1" presetSubtype="0">
                                  <p:stCondLst>
                                    <p:cond delay="0"/>
                                  </p:stCondLst>
                                  <p:childTnLst>
                                    <p:cmd cmd="playFrom(0.0)" type="call">
                                      <p:cBhvr>
                                        <p:cTn dur="1" fill="hold" id="48"/>
                                        <p:tgtEl>
                                          <p:spTgt spid="26"/>
                                        </p:tgtEl>
                                      </p:cBhvr>
                                    </p:cmd>
                                  </p:childTnLst>
                                </p:cTn>
                              </p:par>
                            </p:childTnLst>
                          </p:cTn>
                        </p:par>
                        <p:par>
                          <p:cTn fill="hold" id="50" nodeType="afterGroup">
                            <p:stCondLst>
                              <p:cond delay="3801"/>
                            </p:stCondLst>
                            <p:childTnLst>
                              <p:par>
                                <p:cTn fill="hold" grpId="0" id="51" nodeType="afterEffect" presetClass="entr" presetID="22" presetSubtype="4">
                                  <p:stCondLst>
                                    <p:cond delay="0"/>
                                  </p:stCondLst>
                                  <p:childTnLst>
                                    <p:set>
                                      <p:cBhvr>
                                        <p:cTn dur="1" fill="hold" id="52">
                                          <p:stCondLst>
                                            <p:cond delay="0"/>
                                          </p:stCondLst>
                                        </p:cTn>
                                        <p:tgtEl>
                                          <p:spTgt spid="13"/>
                                        </p:tgtEl>
                                        <p:attrNameLst>
                                          <p:attrName>style.visibility</p:attrName>
                                        </p:attrNameLst>
                                      </p:cBhvr>
                                      <p:to>
                                        <p:strVal val="visible"/>
                                      </p:to>
                                    </p:set>
                                    <p:animEffect filter="wipe(down)" transition="in">
                                      <p:cBhvr>
                                        <p:cTn dur="500" id="53"/>
                                        <p:tgtEl>
                                          <p:spTgt spid="13"/>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49">
                  <p:stCondLst>
                    <p:cond delay="indefinite"/>
                  </p:stCondLst>
                  <p:endCondLst>
                    <p:cond delay="0" evt="onPrev">
                      <p:tgtEl>
                        <p:sldTgt/>
                      </p:tgtEl>
                    </p:cond>
                    <p:cond delay="0" evt="onStopAudio">
                      <p:tgtEl>
                        <p:sldTgt/>
                      </p:tgtEl>
                    </p:cond>
                  </p:endCondLst>
                </p:cTn>
                <p:tgtEl>
                  <p:spTgt spid="26"/>
                </p:tgtEl>
              </p:cMediaNode>
            </p:audio>
          </p:childTnLst>
        </p:cTn>
      </p:par>
    </p:tnLst>
    <p:bldLst>
      <p:bldP grpId="0" spid="11"/>
      <p:bldP grpId="0" spid="12"/>
      <p:bldP grpId="0" spid="13"/>
      <p:bldP grpId="0" spid="14"/>
      <p:bldP grpId="0" spid="16"/>
      <p:bldP grpId="0" spid="18"/>
      <p:bldP grpId="0" spid="21"/>
      <p:bldGraphic grpId="0" spid="10">
        <p:bldAsOne/>
      </p:bldGraphic>
    </p:bldLst>
  </p:timing>
  <p:extLst mod="1">
    <p:ext uri="{E180D4A7-C9FB-4DFB-919C-405C955672EB}">
      <p14:showEvtLst>
        <p14:playEvt objId="26" time="1315"/>
        <p14:stopEvt objId="26" time="2081"/>
      </p14:showEvtLst>
    </p:ext>
  </p:extLst>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8" name="图片 17"/>
          <p:cNvPicPr>
            <a:picLocks noChangeAspect="1"/>
          </p:cNvPicPr>
          <p:nvPr/>
        </p:nvPicPr>
        <p:blipFill>
          <a:blip r:embed="rId3">
            <a:extLst>
              <a:ext uri="{28A0092B-C50C-407E-A947-70E740481C1C}">
                <a14:useLocalDpi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45080" cy="518160"/>
          </a:xfrm>
          <a:prstGeom prst="rect">
            <a:avLst/>
          </a:prstGeom>
          <a:noFill/>
        </p:spPr>
        <p:txBody>
          <a:bodyPr rtlCol="0" wrap="none">
            <a:spAutoFit/>
          </a:bodyPr>
          <a:lstStyle/>
          <a:p>
            <a:r>
              <a:rPr altLang="en-US" lang="zh-CN" spc="300" sz="2800">
                <a:solidFill>
                  <a:srgbClr val="0070C0"/>
                </a:solidFill>
                <a:latin charset="-122" panose="02010600030101010101" pitchFamily="2" typeface="黑体"/>
                <a:ea charset="-122" panose="02010600030101010101" pitchFamily="2" typeface="黑体"/>
              </a:rPr>
              <a:t>单击添加标题</a:t>
            </a:r>
          </a:p>
        </p:txBody>
      </p:sp>
      <p:sp>
        <p:nvSpPr>
          <p:cNvPr id="7" name="TextBox 11"/>
          <p:cNvSpPr txBox="1"/>
          <p:nvPr/>
        </p:nvSpPr>
        <p:spPr>
          <a:xfrm>
            <a:off x="1260292" y="3564725"/>
            <a:ext cx="3884930" cy="426720"/>
          </a:xfrm>
          <a:prstGeom prst="rect">
            <a:avLst/>
          </a:prstGeom>
          <a:noFill/>
        </p:spPr>
        <p:txBody>
          <a:bodyPr rtlCol="0" wrap="none">
            <a:spAutoFit/>
          </a:bodyPr>
          <a:lstStyle/>
          <a:p>
            <a:r>
              <a:rPr altLang="zh-CN" lang="en-US" sz="1100">
                <a:solidFill>
                  <a:schemeClr val="bg1"/>
                </a:solidFill>
                <a:latin charset="-122" panose="01010104010101010101" pitchFamily="2" typeface="汉仪细等线"/>
                <a:ea charset="-122" panose="01010104010101010101" pitchFamily="2" typeface="汉仪细等线"/>
              </a:rPr>
              <a:t>Please click enter to Please click enter add</a:t>
            </a:r>
          </a:p>
          <a:p>
            <a:r>
              <a:rPr altLang="zh-CN" lang="en-US" sz="1100">
                <a:solidFill>
                  <a:schemeClr val="bg1"/>
                </a:solidFill>
                <a:latin charset="-122" panose="01010104010101010101" pitchFamily="2" typeface="汉仪细等线"/>
                <a:ea charset="-122" panose="01010104010101010101" pitchFamily="2" typeface="汉仪细等线"/>
              </a:rPr>
              <a:t>text content Please click enter </a:t>
            </a:r>
          </a:p>
        </p:txBody>
      </p:sp>
      <p:sp>
        <p:nvSpPr>
          <p:cNvPr id="8" name="TextBox 21"/>
          <p:cNvSpPr txBox="1"/>
          <p:nvPr/>
        </p:nvSpPr>
        <p:spPr>
          <a:xfrm>
            <a:off x="1188194" y="1306180"/>
            <a:ext cx="2487930" cy="1844040"/>
          </a:xfrm>
          <a:prstGeom prst="rect">
            <a:avLst/>
          </a:prstGeom>
          <a:noFill/>
        </p:spPr>
        <p:txBody>
          <a:bodyPr rtlCol="0" wrap="none">
            <a:spAutoFit/>
          </a:bodyPr>
          <a:lstStyle/>
          <a:p>
            <a:r>
              <a:rPr altLang="zh-CN" lang="en-US" spc="300" sz="11500">
                <a:solidFill>
                  <a:srgbClr val="0070C0"/>
                </a:solidFill>
                <a:latin charset="-122" panose="02010600030101010101" pitchFamily="2" typeface="黑体"/>
                <a:ea charset="-122" panose="02010600030101010101" pitchFamily="2" typeface="黑体"/>
              </a:rPr>
              <a:t>03.</a:t>
            </a:r>
          </a:p>
        </p:txBody>
      </p:sp>
    </p:spTree>
    <p:extLst>
      <p:ext uri="{BB962C8B-B14F-4D97-AF65-F5344CB8AC3E}">
        <p14:creationId val="1937915357"/>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2" id="5" nodeType="afterEffect" presetClass="entr" presetID="10"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500" id="7"/>
                                        <p:tgtEl>
                                          <p:spTgt spid="8"/>
                                        </p:tgtEl>
                                      </p:cBhvr>
                                    </p:animEffect>
                                  </p:childTnLst>
                                </p:cTn>
                              </p:par>
                            </p:childTnLst>
                          </p:cTn>
                        </p:par>
                        <p:par>
                          <p:cTn fill="hold" id="8" nodeType="afterGroup">
                            <p:stCondLst>
                              <p:cond delay="500"/>
                            </p:stCondLst>
                            <p:childTnLst>
                              <p:par>
                                <p:cTn fill="hold" grpId="0" id="9" nodeType="afterEffect" presetClass="emph" presetID="35" presetSubtype="0">
                                  <p:stCondLst>
                                    <p:cond delay="0"/>
                                  </p:stCondLst>
                                  <p:childTnLst>
                                    <p:anim calcmode="discrete" valueType="str">
                                      <p:cBhvr>
                                        <p:cTn dur="1000" fill="hold" id="10"/>
                                        <p:tgtEl>
                                          <p:spTgt spid="8"/>
                                        </p:tgtEl>
                                        <p:attrNameLst>
                                          <p:attrName>style.visibility</p:attrName>
                                        </p:attrNameLst>
                                      </p:cBhvr>
                                      <p:tavLst>
                                        <p:tav tm="0">
                                          <p:val>
                                            <p:strVal val="hidden"/>
                                          </p:val>
                                        </p:tav>
                                        <p:tav tm="50000">
                                          <p:val>
                                            <p:strVal val="visible"/>
                                          </p:val>
                                        </p:tav>
                                      </p:tavLst>
                                    </p:anim>
                                  </p:childTnLst>
                                </p:cTn>
                              </p:par>
                            </p:childTnLst>
                          </p:cTn>
                        </p:par>
                        <p:par>
                          <p:cTn fill="hold" id="11" nodeType="afterGroup">
                            <p:stCondLst>
                              <p:cond delay="1500"/>
                            </p:stCondLst>
                            <p:childTnLst>
                              <p:par>
                                <p:cTn fill="hold" grpId="1" id="12" nodeType="afterEffect" presetClass="emph" presetID="35" presetSubtype="0">
                                  <p:stCondLst>
                                    <p:cond delay="0"/>
                                  </p:stCondLst>
                                  <p:childTnLst>
                                    <p:anim calcmode="discrete" valueType="str">
                                      <p:cBhvr>
                                        <p:cTn dur="1000" fill="hold" id="13"/>
                                        <p:tgtEl>
                                          <p:spTgt spid="8"/>
                                        </p:tgtEl>
                                        <p:attrNameLst>
                                          <p:attrName>style.visibility</p:attrName>
                                        </p:attrNameLst>
                                      </p:cBhvr>
                                      <p:tavLst>
                                        <p:tav tm="0">
                                          <p:val>
                                            <p:strVal val="hidden"/>
                                          </p:val>
                                        </p:tav>
                                        <p:tav tm="50000">
                                          <p:val>
                                            <p:strVal val="visible"/>
                                          </p:val>
                                        </p:tav>
                                      </p:tavLst>
                                    </p:anim>
                                  </p:childTnLst>
                                </p:cTn>
                              </p:par>
                            </p:childTnLst>
                          </p:cTn>
                        </p:par>
                        <p:par>
                          <p:cTn fill="hold" id="14" nodeType="afterGroup">
                            <p:stCondLst>
                              <p:cond delay="2500"/>
                            </p:stCondLst>
                            <p:childTnLst>
                              <p:par>
                                <p:cTn fill="hold" grpId="0" id="15" nodeType="afterEffect" presetClass="entr" presetID="10" presetSubtype="0">
                                  <p:stCondLst>
                                    <p:cond delay="0"/>
                                  </p:stCondLst>
                                  <p:childTnLst>
                                    <p:set>
                                      <p:cBhvr>
                                        <p:cTn dur="1" fill="hold" id="16">
                                          <p:stCondLst>
                                            <p:cond delay="0"/>
                                          </p:stCondLst>
                                        </p:cTn>
                                        <p:tgtEl>
                                          <p:spTgt spid="6"/>
                                        </p:tgtEl>
                                        <p:attrNameLst>
                                          <p:attrName>style.visibility</p:attrName>
                                        </p:attrNameLst>
                                      </p:cBhvr>
                                      <p:to>
                                        <p:strVal val="visible"/>
                                      </p:to>
                                    </p:set>
                                    <p:animEffect filter="fade" transition="in">
                                      <p:cBhvr>
                                        <p:cTn dur="500" id="17"/>
                                        <p:tgtEl>
                                          <p:spTgt spid="6"/>
                                        </p:tgtEl>
                                      </p:cBhvr>
                                    </p:animEffect>
                                  </p:childTnLst>
                                </p:cTn>
                              </p:par>
                            </p:childTnLst>
                          </p:cTn>
                        </p:par>
                        <p:par>
                          <p:cTn fill="hold" id="18" nodeType="afterGroup">
                            <p:stCondLst>
                              <p:cond delay="3000"/>
                            </p:stCondLst>
                            <p:childTnLst>
                              <p:par>
                                <p:cTn fill="hold" grpId="1" id="19" nodeType="afterEffect" presetClass="emph" presetID="26" presetSubtype="0">
                                  <p:stCondLst>
                                    <p:cond delay="0"/>
                                  </p:stCondLst>
                                  <p:childTnLst>
                                    <p:animEffect filter="fade" transition="out">
                                      <p:cBhvr>
                                        <p:cTn dur="500" id="20" tmFilter="0, 0; .2, .5; .8, .5; 1, 0"/>
                                        <p:tgtEl>
                                          <p:spTgt spid="6"/>
                                        </p:tgtEl>
                                      </p:cBhvr>
                                    </p:animEffect>
                                    <p:animScale>
                                      <p:cBhvr>
                                        <p:cTn autoRev="1" dur="250" fill="hold" id="21"/>
                                        <p:tgtEl>
                                          <p:spTgt spid="6"/>
                                        </p:tgtEl>
                                      </p:cBhvr>
                                      <p:by x="105000" y="105000"/>
                                    </p:animScale>
                                  </p:childTnLst>
                                </p:cTn>
                              </p:par>
                            </p:childTnLst>
                          </p:cTn>
                        </p:par>
                        <p:par>
                          <p:cTn fill="hold" id="22" nodeType="afterGroup">
                            <p:stCondLst>
                              <p:cond delay="3500"/>
                            </p:stCondLst>
                            <p:childTnLst>
                              <p:par>
                                <p:cTn fill="hold" grpId="0" id="23" nodeType="afterEffect" presetClass="entr" presetID="41" presetSubtype="0">
                                  <p:stCondLst>
                                    <p:cond delay="0"/>
                                  </p:stCondLst>
                                  <p:iterate type="lt">
                                    <p:tmPct val="10000"/>
                                  </p:iterate>
                                  <p:childTnLst>
                                    <p:set>
                                      <p:cBhvr>
                                        <p:cTn dur="1" fill="hold" id="24">
                                          <p:stCondLst>
                                            <p:cond delay="0"/>
                                          </p:stCondLst>
                                        </p:cTn>
                                        <p:tgtEl>
                                          <p:spTgt spid="7"/>
                                        </p:tgtEl>
                                        <p:attrNameLst>
                                          <p:attrName>style.visibility</p:attrName>
                                        </p:attrNameLst>
                                      </p:cBhvr>
                                      <p:to>
                                        <p:strVal val="visible"/>
                                      </p:to>
                                    </p:set>
                                    <p:anim calcmode="lin" valueType="num">
                                      <p:cBhvr>
                                        <p:cTn dur="200" fill="hold" id="25"/>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dur="200" fill="hold" id="26"/>
                                        <p:tgtEl>
                                          <p:spTgt spid="7"/>
                                        </p:tgtEl>
                                        <p:attrNameLst>
                                          <p:attrName>ppt_y</p:attrName>
                                        </p:attrNameLst>
                                      </p:cBhvr>
                                      <p:tavLst>
                                        <p:tav tm="0">
                                          <p:val>
                                            <p:strVal val="#ppt_y"/>
                                          </p:val>
                                        </p:tav>
                                        <p:tav tm="100000">
                                          <p:val>
                                            <p:strVal val="#ppt_y"/>
                                          </p:val>
                                        </p:tav>
                                      </p:tavLst>
                                    </p:anim>
                                    <p:anim calcmode="lin" valueType="num">
                                      <p:cBhvr>
                                        <p:cTn dur="200" fill="hold" id="27"/>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dur="200" fill="hold" id="28"/>
                                        <p:tgtEl>
                                          <p:spTgt spid="7"/>
                                        </p:tgtEl>
                                        <p:attrNameLst>
                                          <p:attrName>ppt_w</p:attrName>
                                        </p:attrNameLst>
                                      </p:cBhvr>
                                      <p:tavLst>
                                        <p:tav tm="0">
                                          <p:val>
                                            <p:strVal val="#ppt_w/10"/>
                                          </p:val>
                                        </p:tav>
                                        <p:tav tm="50000">
                                          <p:val>
                                            <p:strVal val="#ppt_w+.01"/>
                                          </p:val>
                                        </p:tav>
                                        <p:tav tm="100000">
                                          <p:val>
                                            <p:strVal val="#ppt_w"/>
                                          </p:val>
                                        </p:tav>
                                      </p:tavLst>
                                    </p:anim>
                                    <p:animEffect filter="fade" transition="in">
                                      <p:cBhvr>
                                        <p:cTn dur="200" id="29" tmFilter="0,0; .5, 1; 1, 1"/>
                                        <p:tgtEl>
                                          <p:spTgt spid="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
      <p:bldP grpId="1" spid="6"/>
      <p:bldP grpId="0" spid="7"/>
      <p:bldP grpId="0" spid="8"/>
      <p:bldP grpId="1" spid="8"/>
      <p:bldP grpId="2" spid="8"/>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gdLst>
                <a:gd fmla="*/ 528059 w 1920214" name="connsiteX0"/>
                <a:gd fmla="*/ 0 h 2880321" name="connsiteY0"/>
                <a:gd fmla="*/ 672075 w 1920214" name="connsiteX1"/>
                <a:gd fmla="*/ 0 h 2880321" name="connsiteY1"/>
                <a:gd fmla="*/ 1248139 w 1920214" name="connsiteX2"/>
                <a:gd fmla="*/ 0 h 2880321" name="connsiteY2"/>
                <a:gd fmla="*/ 1392154 w 1920214" name="connsiteX3"/>
                <a:gd fmla="*/ 0 h 2880321" name="connsiteY3"/>
                <a:gd fmla="*/ 1440160 w 1920214" name="connsiteX4"/>
                <a:gd fmla="*/ 48006 h 2880321" name="connsiteY4"/>
                <a:gd fmla="*/ 1440160 w 1920214" name="connsiteX5"/>
                <a:gd fmla="*/ 240026 h 2880321" name="connsiteY5"/>
                <a:gd fmla="*/ 1392154 w 1920214" name="connsiteX6"/>
                <a:gd fmla="*/ 288032 h 2880321" name="connsiteY6"/>
                <a:gd fmla="*/ 1248139 w 1920214" name="connsiteX7"/>
                <a:gd fmla="*/ 288032 h 2880321" name="connsiteY7"/>
                <a:gd fmla="*/ 1248139 w 1920214" name="connsiteX8"/>
                <a:gd fmla="*/ 1102527 h 2880321" name="connsiteY8"/>
                <a:gd fmla="*/ 1333824 w 1920214" name="connsiteX9"/>
                <a:gd fmla="*/ 1127795 h 2880321" name="connsiteY9"/>
                <a:gd fmla="*/ 1920214 w 1920214" name="connsiteX10"/>
                <a:gd fmla="*/ 1968219 h 2880321" name="connsiteY10"/>
                <a:gd fmla="*/ 960107 w 1920214" name="connsiteX11"/>
                <a:gd fmla="*/ 2880321 h 2880321" name="connsiteY11"/>
                <a:gd fmla="*/ 0 w 1920214" name="connsiteX12"/>
                <a:gd fmla="*/ 1968219 h 2880321" name="connsiteY12"/>
                <a:gd fmla="*/ 586390 w 1920214" name="connsiteX13"/>
                <a:gd fmla="*/ 1127795 h 2880321" name="connsiteY13"/>
                <a:gd fmla="*/ 672075 w 1920214" name="connsiteX14"/>
                <a:gd fmla="*/ 1102527 h 2880321" name="connsiteY14"/>
                <a:gd fmla="*/ 672075 w 1920214" name="connsiteX15"/>
                <a:gd fmla="*/ 288032 h 2880321" name="connsiteY15"/>
                <a:gd fmla="*/ 528059 w 1920214" name="connsiteX16"/>
                <a:gd fmla="*/ 288032 h 2880321" name="connsiteY16"/>
                <a:gd fmla="*/ 480053 w 1920214" name="connsiteX17"/>
                <a:gd fmla="*/ 240026 h 2880321" name="connsiteY17"/>
                <a:gd fmla="*/ 480053 w 1920214" name="connsiteX18"/>
                <a:gd fmla="*/ 48006 h 2880321" name="connsiteY18"/>
                <a:gd fmla="*/ 528059 w 1920214" name="connsiteX19"/>
                <a:gd fmla="*/ 0 h 2880321" name="connsiteY1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b="b" l="l" r="r" t="t"/>
              <a:pathLst>
                <a:path h="2880321" w="1920214">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gdLst>
                <a:gd fmla="*/ 528059 w 1920214" name="connsiteX0"/>
                <a:gd fmla="*/ 0 h 2880321" name="connsiteY0"/>
                <a:gd fmla="*/ 672075 w 1920214" name="connsiteX1"/>
                <a:gd fmla="*/ 0 h 2880321" name="connsiteY1"/>
                <a:gd fmla="*/ 1248139 w 1920214" name="connsiteX2"/>
                <a:gd fmla="*/ 0 h 2880321" name="connsiteY2"/>
                <a:gd fmla="*/ 1392154 w 1920214" name="connsiteX3"/>
                <a:gd fmla="*/ 0 h 2880321" name="connsiteY3"/>
                <a:gd fmla="*/ 1440160 w 1920214" name="connsiteX4"/>
                <a:gd fmla="*/ 48006 h 2880321" name="connsiteY4"/>
                <a:gd fmla="*/ 1440160 w 1920214" name="connsiteX5"/>
                <a:gd fmla="*/ 240026 h 2880321" name="connsiteY5"/>
                <a:gd fmla="*/ 1392154 w 1920214" name="connsiteX6"/>
                <a:gd fmla="*/ 288032 h 2880321" name="connsiteY6"/>
                <a:gd fmla="*/ 1248139 w 1920214" name="connsiteX7"/>
                <a:gd fmla="*/ 288032 h 2880321" name="connsiteY7"/>
                <a:gd fmla="*/ 1248139 w 1920214" name="connsiteX8"/>
                <a:gd fmla="*/ 1102527 h 2880321" name="connsiteY8"/>
                <a:gd fmla="*/ 1333824 w 1920214" name="connsiteX9"/>
                <a:gd fmla="*/ 1127795 h 2880321" name="connsiteY9"/>
                <a:gd fmla="*/ 1920214 w 1920214" name="connsiteX10"/>
                <a:gd fmla="*/ 1968219 h 2880321" name="connsiteY10"/>
                <a:gd fmla="*/ 960107 w 1920214" name="connsiteX11"/>
                <a:gd fmla="*/ 2880321 h 2880321" name="connsiteY11"/>
                <a:gd fmla="*/ 0 w 1920214" name="connsiteX12"/>
                <a:gd fmla="*/ 1968219 h 2880321" name="connsiteY12"/>
                <a:gd fmla="*/ 586390 w 1920214" name="connsiteX13"/>
                <a:gd fmla="*/ 1127795 h 2880321" name="connsiteY13"/>
                <a:gd fmla="*/ 672075 w 1920214" name="connsiteX14"/>
                <a:gd fmla="*/ 1102527 h 2880321" name="connsiteY14"/>
                <a:gd fmla="*/ 672075 w 1920214" name="connsiteX15"/>
                <a:gd fmla="*/ 288032 h 2880321" name="connsiteY15"/>
                <a:gd fmla="*/ 528059 w 1920214" name="connsiteX16"/>
                <a:gd fmla="*/ 288032 h 2880321" name="connsiteY16"/>
                <a:gd fmla="*/ 480053 w 1920214" name="connsiteX17"/>
                <a:gd fmla="*/ 240026 h 2880321" name="connsiteY17"/>
                <a:gd fmla="*/ 480053 w 1920214" name="connsiteX18"/>
                <a:gd fmla="*/ 48006 h 2880321" name="connsiteY18"/>
                <a:gd fmla="*/ 528059 w 1920214" name="connsiteX19"/>
                <a:gd fmla="*/ 0 h 2880321" name="connsiteY1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b="b" l="l" r="r" t="t"/>
              <a:pathLst>
                <a:path h="2880321" w="1920214">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gdLst>
                <a:gd fmla="*/ 528059 w 1920214" name="connsiteX0"/>
                <a:gd fmla="*/ 0 h 2880321" name="connsiteY0"/>
                <a:gd fmla="*/ 672075 w 1920214" name="connsiteX1"/>
                <a:gd fmla="*/ 0 h 2880321" name="connsiteY1"/>
                <a:gd fmla="*/ 1248139 w 1920214" name="connsiteX2"/>
                <a:gd fmla="*/ 0 h 2880321" name="connsiteY2"/>
                <a:gd fmla="*/ 1392154 w 1920214" name="connsiteX3"/>
                <a:gd fmla="*/ 0 h 2880321" name="connsiteY3"/>
                <a:gd fmla="*/ 1440160 w 1920214" name="connsiteX4"/>
                <a:gd fmla="*/ 48006 h 2880321" name="connsiteY4"/>
                <a:gd fmla="*/ 1440160 w 1920214" name="connsiteX5"/>
                <a:gd fmla="*/ 240026 h 2880321" name="connsiteY5"/>
                <a:gd fmla="*/ 1392154 w 1920214" name="connsiteX6"/>
                <a:gd fmla="*/ 288032 h 2880321" name="connsiteY6"/>
                <a:gd fmla="*/ 1248139 w 1920214" name="connsiteX7"/>
                <a:gd fmla="*/ 288032 h 2880321" name="connsiteY7"/>
                <a:gd fmla="*/ 1248139 w 1920214" name="connsiteX8"/>
                <a:gd fmla="*/ 1102527 h 2880321" name="connsiteY8"/>
                <a:gd fmla="*/ 1333824 w 1920214" name="connsiteX9"/>
                <a:gd fmla="*/ 1127795 h 2880321" name="connsiteY9"/>
                <a:gd fmla="*/ 1920214 w 1920214" name="connsiteX10"/>
                <a:gd fmla="*/ 1968219 h 2880321" name="connsiteY10"/>
                <a:gd fmla="*/ 960107 w 1920214" name="connsiteX11"/>
                <a:gd fmla="*/ 2880321 h 2880321" name="connsiteY11"/>
                <a:gd fmla="*/ 0 w 1920214" name="connsiteX12"/>
                <a:gd fmla="*/ 1968219 h 2880321" name="connsiteY12"/>
                <a:gd fmla="*/ 586390 w 1920214" name="connsiteX13"/>
                <a:gd fmla="*/ 1127795 h 2880321" name="connsiteY13"/>
                <a:gd fmla="*/ 672075 w 1920214" name="connsiteX14"/>
                <a:gd fmla="*/ 1102527 h 2880321" name="connsiteY14"/>
                <a:gd fmla="*/ 672075 w 1920214" name="connsiteX15"/>
                <a:gd fmla="*/ 288032 h 2880321" name="connsiteY15"/>
                <a:gd fmla="*/ 528059 w 1920214" name="connsiteX16"/>
                <a:gd fmla="*/ 288032 h 2880321" name="connsiteY16"/>
                <a:gd fmla="*/ 480053 w 1920214" name="connsiteX17"/>
                <a:gd fmla="*/ 240026 h 2880321" name="connsiteY17"/>
                <a:gd fmla="*/ 480053 w 1920214" name="connsiteX18"/>
                <a:gd fmla="*/ 48006 h 2880321" name="connsiteY18"/>
                <a:gd fmla="*/ 528059 w 1920214" name="connsiteX19"/>
                <a:gd fmla="*/ 0 h 2880321" name="connsiteY1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b="b" l="l" r="r" t="t"/>
              <a:pathLst>
                <a:path h="2880321" w="1920214">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2">
              <a:off x="1506505" y="4196110"/>
              <a:ext cx="1429440" cy="1717508"/>
            </a:xfrm>
            <a:custGeom>
              <a:gdLst>
                <a:gd fmla="*/ 1072080 w 1072080" name="connsiteX0"/>
                <a:gd fmla="*/ 1097514 h 1322898" name="connsiteY0"/>
                <a:gd fmla="*/ 283498 w 1072080" name="connsiteX1"/>
                <a:gd fmla="*/ 1215196 h 1322898" name="connsiteY1"/>
                <a:gd fmla="*/ 17245 w 1072080" name="connsiteX2"/>
                <a:gd fmla="*/ 480422 h 1322898" name="connsiteY2"/>
                <a:gd fmla="*/ 512972 w 1072080" name="connsiteX3"/>
                <a:gd fmla="*/ 0 h 1322898" name="connsiteY3"/>
                <a:gd fmla="*/ 1072080 w 1072080" name="connsiteX4"/>
                <a:gd fmla="*/ 1097514 h 1322898"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322898" w="1072080">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8">
              <a:off x="9444284" y="4632014"/>
              <a:ext cx="900901" cy="1439273"/>
            </a:xfrm>
            <a:custGeom>
              <a:gdLst>
                <a:gd fmla="*/ 675676 w 675676" name="connsiteX0"/>
                <a:gd fmla="*/ 1073569 h 1079455" name="connsiteY0"/>
                <a:gd fmla="*/ 54545 w 675676" name="connsiteX1"/>
                <a:gd fmla="*/ 700545 h 1079455" name="connsiteY1"/>
                <a:gd fmla="*/ 147357 w 675676" name="connsiteX2"/>
                <a:gd fmla="*/ 0 h 1079455" name="connsiteY2"/>
                <a:gd fmla="*/ 675676 w 675676" name="connsiteX3"/>
                <a:gd fmla="*/ 1073569 h 1079455" name="connsiteY3"/>
              </a:gdLst>
              <a:cxnLst>
                <a:cxn ang="0">
                  <a:pos x="connsiteX0" y="connsiteY0"/>
                </a:cxn>
                <a:cxn ang="0">
                  <a:pos x="connsiteX1" y="connsiteY1"/>
                </a:cxn>
                <a:cxn ang="0">
                  <a:pos x="connsiteX2" y="connsiteY2"/>
                </a:cxn>
                <a:cxn ang="0">
                  <a:pos x="connsiteX3" y="connsiteY3"/>
                </a:cxn>
              </a:cxnLst>
              <a:rect b="b" l="l" r="r" t="t"/>
              <a:pathLst>
                <a:path h="1079455" w="675676">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8">
              <a:off x="5494826" y="4399634"/>
              <a:ext cx="1049705" cy="1725607"/>
            </a:xfrm>
            <a:custGeom>
              <a:gdLst>
                <a:gd fmla="*/ 787279 w 787279" name="connsiteX0"/>
                <a:gd fmla="*/ 1281152 h 1294205" name="connsiteY0"/>
                <a:gd fmla="*/ 30366 w 787279" name="connsiteX1"/>
                <a:gd fmla="*/ 836212 h 1294205" name="connsiteY1"/>
                <a:gd fmla="*/ 398693 w 787279" name="connsiteX2"/>
                <a:gd fmla="*/ 0 h 1294205" name="connsiteY2"/>
                <a:gd fmla="*/ 787279 w 787279" name="connsiteX3"/>
                <a:gd fmla="*/ 1281152 h 1294205" name="connsiteY3"/>
              </a:gdLst>
              <a:cxnLst>
                <a:cxn ang="0">
                  <a:pos x="connsiteX0" y="connsiteY0"/>
                </a:cxn>
                <a:cxn ang="0">
                  <a:pos x="connsiteX1" y="connsiteY1"/>
                </a:cxn>
                <a:cxn ang="0">
                  <a:pos x="connsiteX2" y="connsiteY2"/>
                </a:cxn>
                <a:cxn ang="0">
                  <a:pos x="connsiteX3" y="connsiteY3"/>
                </a:cxn>
              </a:cxnLst>
              <a:rect b="b" l="l" r="r" t="t"/>
              <a:pathLst>
                <a:path h="1294205" w="787279">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anchor="ctr" anchorCtr="1" bIns="0" lIns="216000" rIns="216000" tIns="0" wrap="none">
                <a:normAutofit/>
              </a:bodyPr>
              <a:lstStyle/>
              <a:p>
                <a:pPr algn="ctr"/>
                <a:r>
                  <a:rPr altLang="en-US" b="1" lang="zh-CN" sz="1000">
                    <a:solidFill>
                      <a:srgbClr val="00A4E3"/>
                    </a:solidFill>
                  </a:rPr>
                  <a:t>标题文本预设</a:t>
                </a:r>
              </a:p>
            </p:txBody>
          </p:sp>
          <p:sp>
            <p:nvSpPr>
              <p:cNvPr id="34" name="TextBox 27"/>
              <p:cNvSpPr txBox="1"/>
              <p:nvPr/>
            </p:nvSpPr>
            <p:spPr>
              <a:xfrm>
                <a:off x="5157231" y="1500087"/>
                <a:ext cx="2699990" cy="708819"/>
              </a:xfrm>
              <a:prstGeom prst="rect">
                <a:avLst/>
              </a:prstGeom>
            </p:spPr>
            <p:txBody>
              <a:bodyPr anchor="t" anchorCtr="1" bIns="0" lIns="216000" rIns="216000" tIns="0" vert="horz" wrap="square">
                <a:normAutofit/>
              </a:bodyPr>
              <a:lstStyle/>
              <a:p>
                <a:pPr>
                  <a:lnSpc>
                    <a:spcPct val="120000"/>
                  </a:lnSpc>
                </a:pPr>
                <a:r>
                  <a:rPr altLang="en-US" lang="zh-CN" sz="700">
                    <a:solidFill>
                      <a:schemeClr val="bg1">
                        <a:lumMod val="85000"/>
                      </a:schemeClr>
                    </a:solidFill>
                  </a:rPr>
                  <a:t>此部分内容作为文字排版占位显示 </a:t>
                </a:r>
                <a:br>
                  <a:rPr altLang="en-US" lang="zh-CN" sz="700">
                    <a:solidFill>
                      <a:schemeClr val="bg1">
                        <a:lumMod val="85000"/>
                      </a:schemeClr>
                    </a:solidFill>
                  </a:rPr>
                </a:br>
                <a:r>
                  <a:rPr altLang="en-US" lang="zh-CN" sz="70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anchor="ctr" anchorCtr="1" bIns="0" lIns="216000" rIns="216000" tIns="0" wrap="none">
                <a:normAutofit/>
              </a:bodyPr>
              <a:lstStyle/>
              <a:p>
                <a:pPr algn="ctr"/>
                <a:r>
                  <a:rPr altLang="en-US" b="1" lang="zh-CN" sz="1000">
                    <a:solidFill>
                      <a:srgbClr val="00A4E3"/>
                    </a:solidFill>
                  </a:rPr>
                  <a:t>标题文本预设</a:t>
                </a:r>
              </a:p>
            </p:txBody>
          </p:sp>
          <p:sp>
            <p:nvSpPr>
              <p:cNvPr id="32" name="TextBox 30"/>
              <p:cNvSpPr txBox="1"/>
              <p:nvPr/>
            </p:nvSpPr>
            <p:spPr>
              <a:xfrm>
                <a:off x="5157231" y="1500087"/>
                <a:ext cx="2699990" cy="708819"/>
              </a:xfrm>
              <a:prstGeom prst="rect">
                <a:avLst/>
              </a:prstGeom>
            </p:spPr>
            <p:txBody>
              <a:bodyPr anchor="t" anchorCtr="1" bIns="0" lIns="216000" rIns="216000" tIns="0" vert="horz" wrap="square">
                <a:normAutofit/>
              </a:bodyPr>
              <a:lstStyle/>
              <a:p>
                <a:pPr>
                  <a:lnSpc>
                    <a:spcPct val="120000"/>
                  </a:lnSpc>
                </a:pPr>
                <a:r>
                  <a:rPr altLang="en-US" lang="zh-CN" sz="700">
                    <a:solidFill>
                      <a:schemeClr val="bg1">
                        <a:lumMod val="85000"/>
                      </a:schemeClr>
                    </a:solidFill>
                  </a:rPr>
                  <a:t>此部分内容作为文字排版占位显示 </a:t>
                </a:r>
                <a:br>
                  <a:rPr altLang="en-US" lang="zh-CN" sz="700">
                    <a:solidFill>
                      <a:schemeClr val="bg1">
                        <a:lumMod val="85000"/>
                      </a:schemeClr>
                    </a:solidFill>
                  </a:rPr>
                </a:br>
                <a:r>
                  <a:rPr altLang="en-US" lang="zh-CN"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anchor="ctr" anchorCtr="1" bIns="0" lIns="216000" rIns="216000" tIns="0" wrap="none">
                <a:normAutofit/>
              </a:bodyPr>
              <a:lstStyle/>
              <a:p>
                <a:pPr algn="ctr"/>
                <a:r>
                  <a:rPr altLang="en-US" b="1" lang="zh-CN" sz="1000">
                    <a:solidFill>
                      <a:srgbClr val="00A4E3"/>
                    </a:solidFill>
                  </a:rPr>
                  <a:t>标题文本预设</a:t>
                </a:r>
              </a:p>
            </p:txBody>
          </p:sp>
          <p:sp>
            <p:nvSpPr>
              <p:cNvPr id="30" name="TextBox 33"/>
              <p:cNvSpPr txBox="1"/>
              <p:nvPr/>
            </p:nvSpPr>
            <p:spPr>
              <a:xfrm>
                <a:off x="5157231" y="1500087"/>
                <a:ext cx="2699990" cy="708819"/>
              </a:xfrm>
              <a:prstGeom prst="rect">
                <a:avLst/>
              </a:prstGeom>
            </p:spPr>
            <p:txBody>
              <a:bodyPr anchor="t" anchorCtr="1" bIns="0" lIns="216000" rIns="216000" tIns="0" vert="horz" wrap="square">
                <a:normAutofit/>
              </a:bodyPr>
              <a:lstStyle/>
              <a:p>
                <a:pPr>
                  <a:lnSpc>
                    <a:spcPct val="120000"/>
                  </a:lnSpc>
                </a:pPr>
                <a:r>
                  <a:rPr altLang="en-US" lang="zh-CN" sz="700">
                    <a:solidFill>
                      <a:schemeClr val="bg1">
                        <a:lumMod val="85000"/>
                      </a:schemeClr>
                    </a:solidFill>
                  </a:rPr>
                  <a:t>此部分内容作为文字排版占位显示 </a:t>
                </a:r>
                <a:br>
                  <a:rPr altLang="en-US" lang="zh-CN" sz="700">
                    <a:solidFill>
                      <a:schemeClr val="bg1">
                        <a:lumMod val="85000"/>
                      </a:schemeClr>
                    </a:solidFill>
                  </a:rPr>
                </a:br>
                <a:r>
                  <a:rPr altLang="en-US" lang="zh-CN"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6" name="平行四边形 35"/>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7" name="平行四边形 36"/>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8" name="平行四边形 37"/>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41" name="Group 7"/>
          <p:cNvGrpSpPr/>
          <p:nvPr/>
        </p:nvGrpSpPr>
        <p:grpSpPr>
          <a:xfrm>
            <a:off x="180202" y="181952"/>
            <a:ext cx="216018" cy="113981"/>
            <a:chExt cx="1041399" cy="549275"/>
          </a:xfrm>
          <a:solidFill>
            <a:srgbClr val="133E73"/>
          </a:solidFill>
        </p:grpSpPr>
        <p:sp>
          <p:nvSpPr>
            <p:cNvPr id="42"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43"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44"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45"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1"/>
                                        </p:tgtEl>
                                        <p:attrNameLst>
                                          <p:attrName>style.visibility</p:attrName>
                                        </p:attrNameLst>
                                      </p:cBhvr>
                                      <p:to>
                                        <p:strVal val="visible"/>
                                      </p:to>
                                    </p:set>
                                    <p:anim calcmode="lin" valueType="num">
                                      <p:cBhvr additive="base">
                                        <p:cTn dur="500" fill="hold" id="7"/>
                                        <p:tgtEl>
                                          <p:spTgt spid="41"/>
                                        </p:tgtEl>
                                        <p:attrNameLst>
                                          <p:attrName>ppt_x</p:attrName>
                                        </p:attrNameLst>
                                      </p:cBhvr>
                                      <p:tavLst>
                                        <p:tav tm="0">
                                          <p:val>
                                            <p:strVal val="0-#ppt_w/2"/>
                                          </p:val>
                                        </p:tav>
                                        <p:tav tm="100000">
                                          <p:val>
                                            <p:strVal val="#ppt_x"/>
                                          </p:val>
                                        </p:tav>
                                      </p:tavLst>
                                    </p:anim>
                                    <p:anim calcmode="lin" valueType="num">
                                      <p:cBhvr additive="base">
                                        <p:cTn dur="500" fill="hold" id="8"/>
                                        <p:tgtEl>
                                          <p:spTgt spid="41"/>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40"/>
                                        </p:tgtEl>
                                        <p:attrNameLst>
                                          <p:attrName>style.visibility</p:attrName>
                                        </p:attrNameLst>
                                      </p:cBhvr>
                                      <p:to>
                                        <p:strVal val="visible"/>
                                      </p:to>
                                    </p:set>
                                    <p:anim calcmode="lin" valueType="num">
                                      <p:cBhvr>
                                        <p:cTn dur="500" fill="hold" id="12"/>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40"/>
                                        </p:tgtEl>
                                        <p:attrNameLst>
                                          <p:attrName>ppt_y</p:attrName>
                                        </p:attrNameLst>
                                      </p:cBhvr>
                                      <p:tavLst>
                                        <p:tav tm="0">
                                          <p:val>
                                            <p:strVal val="#ppt_y"/>
                                          </p:val>
                                        </p:tav>
                                        <p:tav tm="100000">
                                          <p:val>
                                            <p:strVal val="#ppt_y"/>
                                          </p:val>
                                        </p:tav>
                                      </p:tavLst>
                                    </p:anim>
                                    <p:anim calcmode="lin" valueType="num">
                                      <p:cBhvr>
                                        <p:cTn dur="500" fill="hold" id="14"/>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40"/>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40"/>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37"/>
                                        </p:tgtEl>
                                        <p:attrNameLst>
                                          <p:attrName>fillcolor</p:attrName>
                                        </p:attrNameLst>
                                      </p:cBhvr>
                                      <p:to>
                                        <a:srgbClr val="00AEEF"/>
                                      </p:to>
                                    </p:animClr>
                                    <p:set>
                                      <p:cBhvr>
                                        <p:cTn dur="300" fill="hold" id="20"/>
                                        <p:tgtEl>
                                          <p:spTgt spid="37"/>
                                        </p:tgtEl>
                                        <p:attrNameLst>
                                          <p:attrName>fill.type</p:attrName>
                                        </p:attrNameLst>
                                      </p:cBhvr>
                                      <p:to>
                                        <p:strVal val="solid"/>
                                      </p:to>
                                    </p:set>
                                    <p:set>
                                      <p:cBhvr>
                                        <p:cTn dur="300" fill="hold" id="21"/>
                                        <p:tgtEl>
                                          <p:spTgt spid="37"/>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mediacall" presetID="1" presetSubtype="0">
                                  <p:stCondLst>
                                    <p:cond delay="0"/>
                                  </p:stCondLst>
                                  <p:childTnLst>
                                    <p:cmd cmd="playFrom(0.0)" type="call">
                                      <p:cBhvr>
                                        <p:cTn dur="1" fill="hold" id="24"/>
                                        <p:tgtEl>
                                          <p:spTgt spid="45"/>
                                        </p:tgtEl>
                                      </p:cBhvr>
                                    </p:cmd>
                                  </p:childTnLst>
                                </p:cTn>
                              </p:par>
                            </p:childTnLst>
                          </p:cTn>
                        </p:par>
                        <p:par>
                          <p:cTn fill="hold" id="26" nodeType="afterGroup">
                            <p:stCondLst>
                              <p:cond delay="1301"/>
                            </p:stCondLst>
                            <p:childTnLst>
                              <p:par>
                                <p:cTn fill="hold" id="27" nodeType="afterEffect" presetClass="entr" presetID="22" presetSubtype="4">
                                  <p:stCondLst>
                                    <p:cond delay="0"/>
                                  </p:stCondLst>
                                  <p:childTnLst>
                                    <p:set>
                                      <p:cBhvr>
                                        <p:cTn dur="1" fill="hold" id="28">
                                          <p:stCondLst>
                                            <p:cond delay="0"/>
                                          </p:stCondLst>
                                        </p:cTn>
                                        <p:tgtEl>
                                          <p:spTgt spid="16"/>
                                        </p:tgtEl>
                                        <p:attrNameLst>
                                          <p:attrName>style.visibility</p:attrName>
                                        </p:attrNameLst>
                                      </p:cBhvr>
                                      <p:to>
                                        <p:strVal val="visible"/>
                                      </p:to>
                                    </p:set>
                                    <p:animEffect filter="wipe(down)" transition="in">
                                      <p:cBhvr>
                                        <p:cTn dur="500" id="29"/>
                                        <p:tgtEl>
                                          <p:spTgt spid="16"/>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25">
                  <p:stCondLst>
                    <p:cond delay="indefinite"/>
                  </p:stCondLst>
                  <p:endCondLst>
                    <p:cond delay="0" evt="onPrev">
                      <p:tgtEl>
                        <p:sldTgt/>
                      </p:tgtEl>
                    </p:cond>
                    <p:cond delay="0" evt="onStopAudio">
                      <p:tgtEl>
                        <p:sldTgt/>
                      </p:tgtEl>
                    </p:cond>
                  </p:endCondLst>
                </p:cTn>
                <p:tgtEl>
                  <p:spTgt spid="45"/>
                </p:tgtEl>
              </p:cMediaNode>
            </p:audio>
          </p:childTnLst>
        </p:cTn>
      </p:par>
    </p:tnLst>
    <p:bldLst>
      <p:bldP grpId="0" spid="37"/>
      <p:bldP grpId="0" spid="40"/>
    </p:bldLst>
  </p:timing>
  <p:extLst mod="1">
    <p:ext uri="{E180D4A7-C9FB-4DFB-919C-405C955672EB}">
      <p14:showEvtLst>
        <p14:playEvt objId="45" time="1315"/>
        <p14:stopEvt objId="45" time="2082"/>
      </p14:showEvtLst>
    </p:ext>
  </p:extLst>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22" name="Group 66"/>
          <p:cNvGrpSpPr/>
          <p:nvPr/>
        </p:nvGrpSpPr>
        <p:grpSpPr>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gdLst>
                <a:gd fmla="*/ 3 w 2990" name="T0"/>
                <a:gd fmla="*/ 357 h 2273" name="T1"/>
                <a:gd fmla="*/ 23 w 2990" name="T2"/>
                <a:gd fmla="*/ 365 h 2273" name="T3"/>
                <a:gd fmla="*/ 29 w 2990" name="T4"/>
                <a:gd fmla="*/ 390 h 2273" name="T5"/>
                <a:gd fmla="*/ 28 w 2990" name="T6"/>
                <a:gd fmla="*/ 419 h 2273" name="T7"/>
                <a:gd fmla="*/ 18 w 2990" name="T8"/>
                <a:gd fmla="*/ 419 h 2273" name="T9"/>
                <a:gd fmla="*/ 0 w 2990" name="T10"/>
                <a:gd fmla="*/ 429 h 2273" name="T11"/>
                <a:gd fmla="*/ 31 w 2990" name="T12"/>
                <a:gd fmla="*/ 438 h 2273" name="T13"/>
                <a:gd fmla="*/ 47 w 2990" name="T14"/>
                <a:gd fmla="*/ 456 h 2273" name="T15"/>
                <a:gd fmla="*/ 49 w 2990" name="T16"/>
                <a:gd fmla="*/ 490 h 2273" name="T17"/>
                <a:gd fmla="*/ 71 w 2990" name="T18"/>
                <a:gd fmla="*/ 507 h 2273" name="T19"/>
                <a:gd fmla="*/ 109 w 2990" name="T20"/>
                <a:gd fmla="*/ 521 h 2273" name="T21"/>
                <a:gd fmla="*/ 152 w 2990" name="T22"/>
                <a:gd fmla="*/ 516 h 2273" name="T23"/>
                <a:gd fmla="*/ 185 w 2990" name="T24"/>
                <a:gd fmla="*/ 542 h 2273" name="T25"/>
                <a:gd fmla="*/ 259 w 2990" name="T26"/>
                <a:gd fmla="*/ 549 h 2273" name="T27"/>
                <a:gd fmla="*/ 414 w 2990" name="T28"/>
                <a:gd fmla="*/ 546 h 2273" name="T29"/>
                <a:gd fmla="*/ 539 w 2990" name="T30"/>
                <a:gd fmla="*/ 549 h 2273" name="T31"/>
                <a:gd fmla="*/ 585 w 2990" name="T32"/>
                <a:gd fmla="*/ 458 h 2273" name="T33"/>
                <a:gd fmla="*/ 714 w 2990" name="T34"/>
                <a:gd fmla="*/ 339 h 2273" name="T35"/>
                <a:gd fmla="*/ 743 w 2990" name="T36"/>
                <a:gd fmla="*/ 295 h 2273" name="T37"/>
                <a:gd fmla="*/ 727 w 2990" name="T38"/>
                <a:gd fmla="*/ 263 h 2273" name="T39"/>
                <a:gd fmla="*/ 716 w 2990" name="T40"/>
                <a:gd fmla="*/ 233 h 2273" name="T41"/>
                <a:gd fmla="*/ 678 w 2990" name="T42"/>
                <a:gd fmla="*/ 213 h 2273" name="T43"/>
                <a:gd fmla="*/ 631 w 2990" name="T44"/>
                <a:gd fmla="*/ 198 h 2273" name="T45"/>
                <a:gd fmla="*/ 592 w 2990" name="T46"/>
                <a:gd fmla="*/ 185 h 2273" name="T47"/>
                <a:gd fmla="*/ 578 w 2990" name="T48"/>
                <a:gd fmla="*/ 170 h 2273" name="T49"/>
                <a:gd fmla="*/ 594 w 2990" name="T50"/>
                <a:gd fmla="*/ 148 h 2273" name="T51"/>
                <a:gd fmla="*/ 598 w 2990" name="T52"/>
                <a:gd fmla="*/ 114 h 2273" name="T53"/>
                <a:gd fmla="*/ 580 w 2990" name="T54"/>
                <a:gd fmla="*/ 75 h 2273" name="T55"/>
                <a:gd fmla="*/ 562 w 2990" name="T56"/>
                <a:gd fmla="*/ 63 h 2273" name="T57"/>
                <a:gd fmla="*/ 540 w 2990" name="T58"/>
                <a:gd fmla="*/ 55 h 2273" name="T59"/>
                <a:gd fmla="*/ 520 w 2990" name="T60"/>
                <a:gd fmla="*/ 29 h 2273" name="T61"/>
                <a:gd fmla="*/ 517 w 2990" name="T62"/>
                <a:gd fmla="*/ 8 h 2273" name="T63"/>
                <a:gd fmla="*/ 492 w 2990" name="T64"/>
                <a:gd fmla="*/ 0 h 2273" name="T65"/>
                <a:gd fmla="*/ 479 w 2990" name="T66"/>
                <a:gd fmla="*/ 21 h 2273" name="T67"/>
                <a:gd fmla="*/ 449 w 2990" name="T68"/>
                <a:gd fmla="*/ 35 h 2273" name="T69"/>
                <a:gd fmla="*/ 438 w 2990" name="T70"/>
                <a:gd fmla="*/ 79 h 2273" name="T71"/>
                <a:gd fmla="*/ 411 w 2990" name="T72"/>
                <a:gd fmla="*/ 85 h 2273" name="T73"/>
                <a:gd fmla="*/ 384 w 2990" name="T74"/>
                <a:gd fmla="*/ 75 h 2273" name="T75"/>
                <a:gd fmla="*/ 363 w 2990" name="T76"/>
                <a:gd fmla="*/ 71 h 2273" name="T77"/>
                <a:gd fmla="*/ 334 w 2990" name="T78"/>
                <a:gd fmla="*/ 122 h 2273" name="T79"/>
                <a:gd fmla="*/ 344 w 2990" name="T80"/>
                <a:gd fmla="*/ 140 h 2273" name="T81"/>
                <a:gd fmla="*/ 322 w 2990" name="T82"/>
                <a:gd fmla="*/ 144 h 2273" name="T83"/>
                <a:gd fmla="*/ 295 w 2990" name="T84"/>
                <a:gd fmla="*/ 136 h 2273" name="T85"/>
                <a:gd fmla="*/ 257 w 2990" name="T86"/>
                <a:gd fmla="*/ 138 h 2273" name="T87"/>
                <a:gd fmla="*/ 266 w 2990" name="T88"/>
                <a:gd fmla="*/ 148 h 2273" name="T89"/>
                <a:gd fmla="*/ 262 w 2990" name="T90"/>
                <a:gd fmla="*/ 173 h 2273" name="T91"/>
                <a:gd fmla="*/ 263 w 2990" name="T92"/>
                <a:gd fmla="*/ 220 h 2273" name="T93"/>
                <a:gd fmla="*/ 241 w 2990" name="T94"/>
                <a:gd fmla="*/ 242 h 2273" name="T95"/>
                <a:gd fmla="*/ 230 w 2990" name="T96"/>
                <a:gd fmla="*/ 267 h 2273" name="T97"/>
                <a:gd fmla="*/ 177 w 2990" name="T98"/>
                <a:gd fmla="*/ 281 h 2273" name="T99"/>
                <a:gd fmla="*/ 147 w 2990" name="T100"/>
                <a:gd fmla="*/ 286 h 2273" name="T101"/>
                <a:gd fmla="*/ 114 w 2990" name="T102"/>
                <a:gd fmla="*/ 294 h 2273" name="T103"/>
                <a:gd fmla="*/ 80 w 2990" name="T104"/>
                <a:gd fmla="*/ 302 h 2273" name="T105"/>
                <a:gd fmla="*/ 80 w 2990" name="T106"/>
                <a:gd fmla="*/ 289 h 2273" name="T107"/>
                <a:gd fmla="*/ 55 w 2990" name="T108"/>
                <a:gd fmla="*/ 291 h 2273" name="T109"/>
                <a:gd fmla="*/ 29 w 2990" name="T110"/>
                <a:gd fmla="*/ 297 h 2273" name="T111"/>
                <a:gd fmla="*/ 10 w 2990" name="T112"/>
                <a:gd fmla="*/ 318 h 2273"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w 2990" name="T171"/>
                <a:gd fmla="*/ 0 h 2273" name="T172"/>
                <a:gd fmla="*/ 2990 w 2990" name="T173"/>
                <a:gd fmla="*/ 2273 h 2273" name="T174"/>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b="T174" l="T171" r="T173" t="T172"/>
              <a:pathLst>
                <a:path h="2273" w="2990">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24" name="Freeform 68"/>
            <p:cNvSpPr/>
            <p:nvPr/>
          </p:nvSpPr>
          <p:spPr bwMode="gray">
            <a:xfrm>
              <a:off x="720" y="1296"/>
              <a:ext cx="1495" cy="1136"/>
            </a:xfrm>
            <a:custGeom>
              <a:gdLst>
                <a:gd fmla="*/ 3 w 2990" name="T0"/>
                <a:gd fmla="*/ 357 h 2273" name="T1"/>
                <a:gd fmla="*/ 23 w 2990" name="T2"/>
                <a:gd fmla="*/ 365 h 2273" name="T3"/>
                <a:gd fmla="*/ 29 w 2990" name="T4"/>
                <a:gd fmla="*/ 390 h 2273" name="T5"/>
                <a:gd fmla="*/ 28 w 2990" name="T6"/>
                <a:gd fmla="*/ 419 h 2273" name="T7"/>
                <a:gd fmla="*/ 18 w 2990" name="T8"/>
                <a:gd fmla="*/ 419 h 2273" name="T9"/>
                <a:gd fmla="*/ 0 w 2990" name="T10"/>
                <a:gd fmla="*/ 429 h 2273" name="T11"/>
                <a:gd fmla="*/ 31 w 2990" name="T12"/>
                <a:gd fmla="*/ 438 h 2273" name="T13"/>
                <a:gd fmla="*/ 47 w 2990" name="T14"/>
                <a:gd fmla="*/ 456 h 2273" name="T15"/>
                <a:gd fmla="*/ 49 w 2990" name="T16"/>
                <a:gd fmla="*/ 490 h 2273" name="T17"/>
                <a:gd fmla="*/ 71 w 2990" name="T18"/>
                <a:gd fmla="*/ 507 h 2273" name="T19"/>
                <a:gd fmla="*/ 109 w 2990" name="T20"/>
                <a:gd fmla="*/ 521 h 2273" name="T21"/>
                <a:gd fmla="*/ 152 w 2990" name="T22"/>
                <a:gd fmla="*/ 516 h 2273" name="T23"/>
                <a:gd fmla="*/ 185 w 2990" name="T24"/>
                <a:gd fmla="*/ 542 h 2273" name="T25"/>
                <a:gd fmla="*/ 259 w 2990" name="T26"/>
                <a:gd fmla="*/ 549 h 2273" name="T27"/>
                <a:gd fmla="*/ 414 w 2990" name="T28"/>
                <a:gd fmla="*/ 546 h 2273" name="T29"/>
                <a:gd fmla="*/ 539 w 2990" name="T30"/>
                <a:gd fmla="*/ 549 h 2273" name="T31"/>
                <a:gd fmla="*/ 585 w 2990" name="T32"/>
                <a:gd fmla="*/ 458 h 2273" name="T33"/>
                <a:gd fmla="*/ 714 w 2990" name="T34"/>
                <a:gd fmla="*/ 339 h 2273" name="T35"/>
                <a:gd fmla="*/ 743 w 2990" name="T36"/>
                <a:gd fmla="*/ 295 h 2273" name="T37"/>
                <a:gd fmla="*/ 727 w 2990" name="T38"/>
                <a:gd fmla="*/ 263 h 2273" name="T39"/>
                <a:gd fmla="*/ 716 w 2990" name="T40"/>
                <a:gd fmla="*/ 233 h 2273" name="T41"/>
                <a:gd fmla="*/ 678 w 2990" name="T42"/>
                <a:gd fmla="*/ 213 h 2273" name="T43"/>
                <a:gd fmla="*/ 631 w 2990" name="T44"/>
                <a:gd fmla="*/ 198 h 2273" name="T45"/>
                <a:gd fmla="*/ 592 w 2990" name="T46"/>
                <a:gd fmla="*/ 185 h 2273" name="T47"/>
                <a:gd fmla="*/ 578 w 2990" name="T48"/>
                <a:gd fmla="*/ 170 h 2273" name="T49"/>
                <a:gd fmla="*/ 594 w 2990" name="T50"/>
                <a:gd fmla="*/ 148 h 2273" name="T51"/>
                <a:gd fmla="*/ 598 w 2990" name="T52"/>
                <a:gd fmla="*/ 114 h 2273" name="T53"/>
                <a:gd fmla="*/ 580 w 2990" name="T54"/>
                <a:gd fmla="*/ 75 h 2273" name="T55"/>
                <a:gd fmla="*/ 562 w 2990" name="T56"/>
                <a:gd fmla="*/ 63 h 2273" name="T57"/>
                <a:gd fmla="*/ 540 w 2990" name="T58"/>
                <a:gd fmla="*/ 55 h 2273" name="T59"/>
                <a:gd fmla="*/ 520 w 2990" name="T60"/>
                <a:gd fmla="*/ 29 h 2273" name="T61"/>
                <a:gd fmla="*/ 517 w 2990" name="T62"/>
                <a:gd fmla="*/ 8 h 2273" name="T63"/>
                <a:gd fmla="*/ 492 w 2990" name="T64"/>
                <a:gd fmla="*/ 0 h 2273" name="T65"/>
                <a:gd fmla="*/ 479 w 2990" name="T66"/>
                <a:gd fmla="*/ 21 h 2273" name="T67"/>
                <a:gd fmla="*/ 449 w 2990" name="T68"/>
                <a:gd fmla="*/ 35 h 2273" name="T69"/>
                <a:gd fmla="*/ 438 w 2990" name="T70"/>
                <a:gd fmla="*/ 79 h 2273" name="T71"/>
                <a:gd fmla="*/ 411 w 2990" name="T72"/>
                <a:gd fmla="*/ 85 h 2273" name="T73"/>
                <a:gd fmla="*/ 384 w 2990" name="T74"/>
                <a:gd fmla="*/ 75 h 2273" name="T75"/>
                <a:gd fmla="*/ 363 w 2990" name="T76"/>
                <a:gd fmla="*/ 71 h 2273" name="T77"/>
                <a:gd fmla="*/ 334 w 2990" name="T78"/>
                <a:gd fmla="*/ 122 h 2273" name="T79"/>
                <a:gd fmla="*/ 344 w 2990" name="T80"/>
                <a:gd fmla="*/ 140 h 2273" name="T81"/>
                <a:gd fmla="*/ 322 w 2990" name="T82"/>
                <a:gd fmla="*/ 144 h 2273" name="T83"/>
                <a:gd fmla="*/ 295 w 2990" name="T84"/>
                <a:gd fmla="*/ 136 h 2273" name="T85"/>
                <a:gd fmla="*/ 257 w 2990" name="T86"/>
                <a:gd fmla="*/ 138 h 2273" name="T87"/>
                <a:gd fmla="*/ 266 w 2990" name="T88"/>
                <a:gd fmla="*/ 148 h 2273" name="T89"/>
                <a:gd fmla="*/ 262 w 2990" name="T90"/>
                <a:gd fmla="*/ 173 h 2273" name="T91"/>
                <a:gd fmla="*/ 263 w 2990" name="T92"/>
                <a:gd fmla="*/ 220 h 2273" name="T93"/>
                <a:gd fmla="*/ 241 w 2990" name="T94"/>
                <a:gd fmla="*/ 242 h 2273" name="T95"/>
                <a:gd fmla="*/ 230 w 2990" name="T96"/>
                <a:gd fmla="*/ 267 h 2273" name="T97"/>
                <a:gd fmla="*/ 177 w 2990" name="T98"/>
                <a:gd fmla="*/ 281 h 2273" name="T99"/>
                <a:gd fmla="*/ 147 w 2990" name="T100"/>
                <a:gd fmla="*/ 286 h 2273" name="T101"/>
                <a:gd fmla="*/ 114 w 2990" name="T102"/>
                <a:gd fmla="*/ 294 h 2273" name="T103"/>
                <a:gd fmla="*/ 80 w 2990" name="T104"/>
                <a:gd fmla="*/ 302 h 2273" name="T105"/>
                <a:gd fmla="*/ 80 w 2990" name="T106"/>
                <a:gd fmla="*/ 289 h 2273" name="T107"/>
                <a:gd fmla="*/ 55 w 2990" name="T108"/>
                <a:gd fmla="*/ 291 h 2273" name="T109"/>
                <a:gd fmla="*/ 29 w 2990" name="T110"/>
                <a:gd fmla="*/ 297 h 2273" name="T111"/>
                <a:gd fmla="*/ 10 w 2990" name="T112"/>
                <a:gd fmla="*/ 318 h 2273"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w 2990" name="T171"/>
                <a:gd fmla="*/ 0 h 2273" name="T172"/>
                <a:gd fmla="*/ 2990 w 2990" name="T173"/>
                <a:gd fmla="*/ 2273 h 2273" name="T174"/>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b="T174" l="T171" r="T173" t="T172"/>
              <a:pathLst>
                <a:path h="2273" w="2990">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altLang="en-US" lang="zh-CN" sz="2400"/>
            </a:p>
          </p:txBody>
        </p:sp>
        <p:sp>
          <p:nvSpPr>
            <p:cNvPr id="25" name="Freeform 69"/>
            <p:cNvSpPr/>
            <p:nvPr/>
          </p:nvSpPr>
          <p:spPr bwMode="gray">
            <a:xfrm>
              <a:off x="900" y="2373"/>
              <a:ext cx="1448" cy="781"/>
            </a:xfrm>
            <a:custGeom>
              <a:gdLst>
                <a:gd fmla="*/ 682 w 2896" name="T0"/>
                <a:gd fmla="*/ 376 h 1563" name="T1"/>
                <a:gd fmla="*/ 665 w 2896" name="T2"/>
                <a:gd fmla="*/ 372 h 1563" name="T3"/>
                <a:gd fmla="*/ 658 w 2896" name="T4"/>
                <a:gd fmla="*/ 380 h 1563" name="T5"/>
                <a:gd fmla="*/ 653 w 2896" name="T6"/>
                <a:gd fmla="*/ 378 h 1563" name="T7"/>
                <a:gd fmla="*/ 623 w 2896" name="T8"/>
                <a:gd fmla="*/ 368 h 1563" name="T9"/>
                <a:gd fmla="*/ 626 w 2896" name="T10"/>
                <a:gd fmla="*/ 363 h 1563" name="T11"/>
                <a:gd fmla="*/ 630 w 2896" name="T12"/>
                <a:gd fmla="*/ 349 h 1563" name="T13"/>
                <a:gd fmla="*/ 616 w 2896" name="T14"/>
                <a:gd fmla="*/ 326 h 1563" name="T15"/>
                <a:gd fmla="*/ 604 w 2896" name="T16"/>
                <a:gd fmla="*/ 331 h 1563" name="T17"/>
                <a:gd fmla="*/ 589 w 2896" name="T18"/>
                <a:gd fmla="*/ 341 h 1563" name="T19"/>
                <a:gd fmla="*/ 568 w 2896" name="T20"/>
                <a:gd fmla="*/ 333 h 1563" name="T21"/>
                <a:gd fmla="*/ 557 w 2896" name="T22"/>
                <a:gd fmla="*/ 332 h 1563" name="T23"/>
                <a:gd fmla="*/ 536 w 2896" name="T24"/>
                <a:gd fmla="*/ 348 h 1563" name="T25"/>
                <a:gd fmla="*/ 511 w 2896" name="T26"/>
                <a:gd fmla="*/ 355 h 1563" name="T27"/>
                <a:gd fmla="*/ 491 w 2896" name="T28"/>
                <a:gd fmla="*/ 376 h 1563" name="T29"/>
                <a:gd fmla="*/ 459 w 2896" name="T30"/>
                <a:gd fmla="*/ 388 h 1563" name="T31"/>
                <a:gd fmla="*/ 442 w 2896" name="T32"/>
                <a:gd fmla="*/ 382 h 1563" name="T33"/>
                <a:gd fmla="*/ 431 w 2896" name="T34"/>
                <a:gd fmla="*/ 370 h 1563" name="T35"/>
                <a:gd fmla="*/ 400 w 2896" name="T36"/>
                <a:gd fmla="*/ 364 h 1563" name="T37"/>
                <a:gd fmla="*/ 389 w 2896" name="T38"/>
                <a:gd fmla="*/ 353 h 1563" name="T39"/>
                <a:gd fmla="*/ 364 w 2896" name="T40"/>
                <a:gd fmla="*/ 368 h 1563" name="T41"/>
                <a:gd fmla="*/ 348 w 2896" name="T42"/>
                <a:gd fmla="*/ 384 h 1563" name="T43"/>
                <a:gd fmla="*/ 335 w 2896" name="T44"/>
                <a:gd fmla="*/ 390 h 1563" name="T45"/>
                <a:gd fmla="*/ 339 w 2896" name="T46"/>
                <a:gd fmla="*/ 373 h 1563" name="T47"/>
                <a:gd fmla="*/ 331 w 2896" name="T48"/>
                <a:gd fmla="*/ 359 h 1563" name="T49"/>
                <a:gd fmla="*/ 302 w 2896" name="T50"/>
                <a:gd fmla="*/ 366 h 1563" name="T51"/>
                <a:gd fmla="*/ 264 w 2896" name="T52"/>
                <a:gd fmla="*/ 352 h 1563" name="T53"/>
                <a:gd fmla="*/ 246 w 2896" name="T54"/>
                <a:gd fmla="*/ 351 h 1563" name="T55"/>
                <a:gd fmla="*/ 221 w 2896" name="T56"/>
                <a:gd fmla="*/ 336 h 1563" name="T57"/>
                <a:gd fmla="*/ 200 w 2896" name="T58"/>
                <a:gd fmla="*/ 320 h 1563" name="T59"/>
                <a:gd fmla="*/ 178 w 2896" name="T60"/>
                <a:gd fmla="*/ 301 h 1563" name="T61"/>
                <a:gd fmla="*/ 171 w 2896" name="T62"/>
                <a:gd fmla="*/ 281 h 1563" name="T63"/>
                <a:gd fmla="*/ 158 w 2896" name="T64"/>
                <a:gd fmla="*/ 288 h 1563" name="T65"/>
                <a:gd fmla="*/ 142 w 2896" name="T66"/>
                <a:gd fmla="*/ 265 h 1563" name="T67"/>
                <a:gd fmla="*/ 109 w 2896" name="T68"/>
                <a:gd fmla="*/ 235 h 1563" name="T69"/>
                <a:gd fmla="*/ 89 w 2896" name="T70"/>
                <a:gd fmla="*/ 223 h 1563" name="T71"/>
                <a:gd fmla="*/ 74 w 2896" name="T72"/>
                <a:gd fmla="*/ 228 h 1563" name="T73"/>
                <a:gd fmla="*/ 46 w 2896" name="T74"/>
                <a:gd fmla="*/ 195 h 1563" name="T75"/>
                <a:gd fmla="*/ 19 w 2896" name="T76"/>
                <a:gd fmla="*/ 169 h 1563" name="T77"/>
                <a:gd fmla="*/ 10 w 2896" name="T78"/>
                <a:gd fmla="*/ 162 h 1563" name="T79"/>
                <a:gd fmla="*/ 0 w 2896" name="T80"/>
                <a:gd fmla="*/ 157 h 1563" name="T81"/>
                <a:gd fmla="*/ 3 w 2896" name="T82"/>
                <a:gd fmla="*/ 135 h 1563" name="T83"/>
                <a:gd fmla="*/ 1 w 2896" name="T84"/>
                <a:gd fmla="*/ 112 h 1563" name="T85"/>
                <a:gd fmla="*/ 11 w 2896" name="T86"/>
                <a:gd fmla="*/ 109 h 1563" name="T87"/>
                <a:gd fmla="*/ 22 w 2896" name="T88"/>
                <a:gd fmla="*/ 118 h 1563" name="T89"/>
                <a:gd fmla="*/ 38 w 2896" name="T90"/>
                <a:gd fmla="*/ 112 h 1563" name="T91"/>
                <a:gd fmla="*/ 43 w 2896" name="T92"/>
                <a:gd fmla="*/ 90 h 1563" name="T93"/>
                <a:gd fmla="*/ 25 w 2896" name="T94"/>
                <a:gd fmla="*/ 76 h 1563" name="T95"/>
                <a:gd fmla="*/ 29 w 2896" name="T96"/>
                <a:gd fmla="*/ 51 h 1563" name="T97"/>
                <a:gd fmla="*/ 39 w 2896" name="T98"/>
                <a:gd fmla="*/ 36 h 1563" name="T99"/>
                <a:gd fmla="*/ 71 w 2896" name="T100"/>
                <a:gd fmla="*/ 26 h 1563" name="T101"/>
                <a:gd fmla="*/ 148 w 2896" name="T102"/>
                <a:gd fmla="*/ 20 h 1563" name="T103"/>
                <a:gd fmla="*/ 258 w 2896" name="T104"/>
                <a:gd fmla="*/ 20 h 1563" name="T105"/>
                <a:gd fmla="*/ 365 w 2896" name="T106"/>
                <a:gd fmla="*/ 3 h 1563" name="T107"/>
                <a:gd fmla="*/ 417 w 2896" name="T108"/>
                <a:gd fmla="*/ 39 h 1563" name="T109"/>
                <a:gd fmla="*/ 399 w 2896" name="T110"/>
                <a:gd fmla="*/ 107 h 1563" name="T111"/>
                <a:gd fmla="*/ 467 w 2896" name="T112"/>
                <a:gd fmla="*/ 166 h 1563" name="T113"/>
                <a:gd fmla="*/ 552 w 2896" name="T114"/>
                <a:gd fmla="*/ 189 h 1563" name="T115"/>
                <a:gd fmla="*/ 640 w 2896" name="T116"/>
                <a:gd fmla="*/ 234 h 1563" name="T117"/>
                <a:gd fmla="*/ 685 w 2896" name="T118"/>
                <a:gd fmla="*/ 200 h 1563" name="T119"/>
                <a:gd fmla="*/ 711 w 2896" name="T120"/>
                <a:gd fmla="*/ 258 h 1563" name="T121"/>
                <a:gd fmla="*/ 713 w 2896" name="T122"/>
                <a:gd fmla="*/ 353 h 1563" name="T123"/>
                <a:gd fmla="*/ 689 w 2896" name="T124"/>
                <a:gd fmla="*/ 384 h 1563"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 fmla="*/ 0 60000 65536" name="T186"/>
                <a:gd fmla="*/ 0 60000 65536" name="T187"/>
                <a:gd fmla="*/ 0 60000 65536" name="T188"/>
                <a:gd fmla="*/ 0 w 2896" name="T189"/>
                <a:gd fmla="*/ 0 h 1563" name="T190"/>
                <a:gd fmla="*/ 2896 w 2896" name="T191"/>
                <a:gd fmla="*/ 1563 h 1563" name="T192"/>
              </a:gd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b="T192" l="T189" r="T191" t="T190"/>
              <a:pathLst>
                <a:path h="1563" w="2896">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26" name="Freeform 70"/>
            <p:cNvSpPr/>
            <p:nvPr/>
          </p:nvSpPr>
          <p:spPr bwMode="gray">
            <a:xfrm>
              <a:off x="900" y="2373"/>
              <a:ext cx="1448" cy="781"/>
            </a:xfrm>
            <a:custGeom>
              <a:gdLst>
                <a:gd fmla="*/ 682 w 2896" name="T0"/>
                <a:gd fmla="*/ 376 h 1563" name="T1"/>
                <a:gd fmla="*/ 665 w 2896" name="T2"/>
                <a:gd fmla="*/ 372 h 1563" name="T3"/>
                <a:gd fmla="*/ 658 w 2896" name="T4"/>
                <a:gd fmla="*/ 380 h 1563" name="T5"/>
                <a:gd fmla="*/ 653 w 2896" name="T6"/>
                <a:gd fmla="*/ 378 h 1563" name="T7"/>
                <a:gd fmla="*/ 623 w 2896" name="T8"/>
                <a:gd fmla="*/ 368 h 1563" name="T9"/>
                <a:gd fmla="*/ 626 w 2896" name="T10"/>
                <a:gd fmla="*/ 363 h 1563" name="T11"/>
                <a:gd fmla="*/ 630 w 2896" name="T12"/>
                <a:gd fmla="*/ 349 h 1563" name="T13"/>
                <a:gd fmla="*/ 616 w 2896" name="T14"/>
                <a:gd fmla="*/ 326 h 1563" name="T15"/>
                <a:gd fmla="*/ 604 w 2896" name="T16"/>
                <a:gd fmla="*/ 331 h 1563" name="T17"/>
                <a:gd fmla="*/ 589 w 2896" name="T18"/>
                <a:gd fmla="*/ 341 h 1563" name="T19"/>
                <a:gd fmla="*/ 568 w 2896" name="T20"/>
                <a:gd fmla="*/ 333 h 1563" name="T21"/>
                <a:gd fmla="*/ 557 w 2896" name="T22"/>
                <a:gd fmla="*/ 332 h 1563" name="T23"/>
                <a:gd fmla="*/ 536 w 2896" name="T24"/>
                <a:gd fmla="*/ 348 h 1563" name="T25"/>
                <a:gd fmla="*/ 511 w 2896" name="T26"/>
                <a:gd fmla="*/ 355 h 1563" name="T27"/>
                <a:gd fmla="*/ 491 w 2896" name="T28"/>
                <a:gd fmla="*/ 376 h 1563" name="T29"/>
                <a:gd fmla="*/ 459 w 2896" name="T30"/>
                <a:gd fmla="*/ 388 h 1563" name="T31"/>
                <a:gd fmla="*/ 442 w 2896" name="T32"/>
                <a:gd fmla="*/ 382 h 1563" name="T33"/>
                <a:gd fmla="*/ 431 w 2896" name="T34"/>
                <a:gd fmla="*/ 370 h 1563" name="T35"/>
                <a:gd fmla="*/ 400 w 2896" name="T36"/>
                <a:gd fmla="*/ 364 h 1563" name="T37"/>
                <a:gd fmla="*/ 389 w 2896" name="T38"/>
                <a:gd fmla="*/ 353 h 1563" name="T39"/>
                <a:gd fmla="*/ 364 w 2896" name="T40"/>
                <a:gd fmla="*/ 368 h 1563" name="T41"/>
                <a:gd fmla="*/ 348 w 2896" name="T42"/>
                <a:gd fmla="*/ 384 h 1563" name="T43"/>
                <a:gd fmla="*/ 335 w 2896" name="T44"/>
                <a:gd fmla="*/ 390 h 1563" name="T45"/>
                <a:gd fmla="*/ 339 w 2896" name="T46"/>
                <a:gd fmla="*/ 373 h 1563" name="T47"/>
                <a:gd fmla="*/ 331 w 2896" name="T48"/>
                <a:gd fmla="*/ 359 h 1563" name="T49"/>
                <a:gd fmla="*/ 302 w 2896" name="T50"/>
                <a:gd fmla="*/ 366 h 1563" name="T51"/>
                <a:gd fmla="*/ 264 w 2896" name="T52"/>
                <a:gd fmla="*/ 352 h 1563" name="T53"/>
                <a:gd fmla="*/ 246 w 2896" name="T54"/>
                <a:gd fmla="*/ 351 h 1563" name="T55"/>
                <a:gd fmla="*/ 221 w 2896" name="T56"/>
                <a:gd fmla="*/ 336 h 1563" name="T57"/>
                <a:gd fmla="*/ 200 w 2896" name="T58"/>
                <a:gd fmla="*/ 320 h 1563" name="T59"/>
                <a:gd fmla="*/ 178 w 2896" name="T60"/>
                <a:gd fmla="*/ 301 h 1563" name="T61"/>
                <a:gd fmla="*/ 171 w 2896" name="T62"/>
                <a:gd fmla="*/ 281 h 1563" name="T63"/>
                <a:gd fmla="*/ 158 w 2896" name="T64"/>
                <a:gd fmla="*/ 288 h 1563" name="T65"/>
                <a:gd fmla="*/ 142 w 2896" name="T66"/>
                <a:gd fmla="*/ 265 h 1563" name="T67"/>
                <a:gd fmla="*/ 109 w 2896" name="T68"/>
                <a:gd fmla="*/ 235 h 1563" name="T69"/>
                <a:gd fmla="*/ 89 w 2896" name="T70"/>
                <a:gd fmla="*/ 223 h 1563" name="T71"/>
                <a:gd fmla="*/ 74 w 2896" name="T72"/>
                <a:gd fmla="*/ 228 h 1563" name="T73"/>
                <a:gd fmla="*/ 46 w 2896" name="T74"/>
                <a:gd fmla="*/ 195 h 1563" name="T75"/>
                <a:gd fmla="*/ 19 w 2896" name="T76"/>
                <a:gd fmla="*/ 169 h 1563" name="T77"/>
                <a:gd fmla="*/ 10 w 2896" name="T78"/>
                <a:gd fmla="*/ 162 h 1563" name="T79"/>
                <a:gd fmla="*/ 0 w 2896" name="T80"/>
                <a:gd fmla="*/ 157 h 1563" name="T81"/>
                <a:gd fmla="*/ 3 w 2896" name="T82"/>
                <a:gd fmla="*/ 135 h 1563" name="T83"/>
                <a:gd fmla="*/ 1 w 2896" name="T84"/>
                <a:gd fmla="*/ 112 h 1563" name="T85"/>
                <a:gd fmla="*/ 11 w 2896" name="T86"/>
                <a:gd fmla="*/ 109 h 1563" name="T87"/>
                <a:gd fmla="*/ 22 w 2896" name="T88"/>
                <a:gd fmla="*/ 118 h 1563" name="T89"/>
                <a:gd fmla="*/ 38 w 2896" name="T90"/>
                <a:gd fmla="*/ 112 h 1563" name="T91"/>
                <a:gd fmla="*/ 43 w 2896" name="T92"/>
                <a:gd fmla="*/ 90 h 1563" name="T93"/>
                <a:gd fmla="*/ 25 w 2896" name="T94"/>
                <a:gd fmla="*/ 76 h 1563" name="T95"/>
                <a:gd fmla="*/ 29 w 2896" name="T96"/>
                <a:gd fmla="*/ 51 h 1563" name="T97"/>
                <a:gd fmla="*/ 39 w 2896" name="T98"/>
                <a:gd fmla="*/ 36 h 1563" name="T99"/>
                <a:gd fmla="*/ 71 w 2896" name="T100"/>
                <a:gd fmla="*/ 26 h 1563" name="T101"/>
                <a:gd fmla="*/ 148 w 2896" name="T102"/>
                <a:gd fmla="*/ 20 h 1563" name="T103"/>
                <a:gd fmla="*/ 258 w 2896" name="T104"/>
                <a:gd fmla="*/ 20 h 1563" name="T105"/>
                <a:gd fmla="*/ 365 w 2896" name="T106"/>
                <a:gd fmla="*/ 3 h 1563" name="T107"/>
                <a:gd fmla="*/ 417 w 2896" name="T108"/>
                <a:gd fmla="*/ 39 h 1563" name="T109"/>
                <a:gd fmla="*/ 399 w 2896" name="T110"/>
                <a:gd fmla="*/ 107 h 1563" name="T111"/>
                <a:gd fmla="*/ 467 w 2896" name="T112"/>
                <a:gd fmla="*/ 166 h 1563" name="T113"/>
                <a:gd fmla="*/ 552 w 2896" name="T114"/>
                <a:gd fmla="*/ 189 h 1563" name="T115"/>
                <a:gd fmla="*/ 640 w 2896" name="T116"/>
                <a:gd fmla="*/ 234 h 1563" name="T117"/>
                <a:gd fmla="*/ 685 w 2896" name="T118"/>
                <a:gd fmla="*/ 200 h 1563" name="T119"/>
                <a:gd fmla="*/ 711 w 2896" name="T120"/>
                <a:gd fmla="*/ 258 h 1563" name="T121"/>
                <a:gd fmla="*/ 713 w 2896" name="T122"/>
                <a:gd fmla="*/ 353 h 1563" name="T123"/>
                <a:gd fmla="*/ 689 w 2896" name="T124"/>
                <a:gd fmla="*/ 384 h 1563"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 fmla="*/ 0 60000 65536" name="T186"/>
                <a:gd fmla="*/ 0 60000 65536" name="T187"/>
                <a:gd fmla="*/ 0 60000 65536" name="T188"/>
                <a:gd fmla="*/ 0 w 2896" name="T189"/>
                <a:gd fmla="*/ 0 h 1563" name="T190"/>
                <a:gd fmla="*/ 2896 w 2896" name="T191"/>
                <a:gd fmla="*/ 1563 h 1563" name="T192"/>
              </a:gd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b="T192" l="T189" r="T191" t="T190"/>
              <a:pathLst>
                <a:path h="1563" w="2896">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altLang="en-US" lang="zh-CN" sz="2400"/>
            </a:p>
          </p:txBody>
        </p:sp>
        <p:sp>
          <p:nvSpPr>
            <p:cNvPr id="27" name="Freeform 71"/>
            <p:cNvSpPr/>
            <p:nvPr/>
          </p:nvSpPr>
          <p:spPr bwMode="gray">
            <a:xfrm>
              <a:off x="2215" y="3052"/>
              <a:ext cx="676" cy="694"/>
            </a:xfrm>
            <a:custGeom>
              <a:gdLst>
                <a:gd fmla="*/ 297 w 1352" name="T0"/>
                <a:gd fmla="*/ 258 h 1388" name="T1"/>
                <a:gd fmla="*/ 288 w 1352" name="T2"/>
                <a:gd fmla="*/ 267 h 1388" name="T3"/>
                <a:gd fmla="*/ 280 w 1352" name="T4"/>
                <a:gd fmla="*/ 277 h 1388" name="T5"/>
                <a:gd fmla="*/ 265 w 1352" name="T6"/>
                <a:gd fmla="*/ 279 h 1388" name="T7"/>
                <a:gd fmla="*/ 258 w 1352" name="T8"/>
                <a:gd fmla="*/ 281 h 1388" name="T9"/>
                <a:gd fmla="*/ 248 w 1352" name="T10"/>
                <a:gd fmla="*/ 285 h 1388" name="T11"/>
                <a:gd fmla="*/ 240 w 1352" name="T12"/>
                <a:gd fmla="*/ 279 h 1388" name="T13"/>
                <a:gd fmla="*/ 237 w 1352" name="T14"/>
                <a:gd fmla="*/ 285 h 1388" name="T15"/>
                <a:gd fmla="*/ 231 w 1352" name="T16"/>
                <a:gd fmla="*/ 284 h 1388" name="T17"/>
                <a:gd fmla="*/ 228 w 1352" name="T18"/>
                <a:gd fmla="*/ 281 h 1388" name="T19"/>
                <a:gd fmla="*/ 218 w 1352" name="T20"/>
                <a:gd fmla="*/ 290 h 1388" name="T21"/>
                <a:gd fmla="*/ 202 w 1352" name="T22"/>
                <a:gd fmla="*/ 282 h 1388" name="T23"/>
                <a:gd fmla="*/ 188 w 1352" name="T24"/>
                <a:gd fmla="*/ 290 h 1388" name="T25"/>
                <a:gd fmla="*/ 174 w 1352" name="T26"/>
                <a:gd fmla="*/ 293 h 1388" name="T27"/>
                <a:gd fmla="*/ 162 w 1352" name="T28"/>
                <a:gd fmla="*/ 303 h 1388" name="T29"/>
                <a:gd fmla="*/ 169 w 1352" name="T30"/>
                <a:gd fmla="*/ 330 h 1388" name="T31"/>
                <a:gd fmla="*/ 165 w 1352" name="T32"/>
                <a:gd fmla="*/ 346 h 1388" name="T33"/>
                <a:gd fmla="*/ 146 w 1352" name="T34"/>
                <a:gd fmla="*/ 341 h 1388" name="T35"/>
                <a:gd fmla="*/ 142 w 1352" name="T36"/>
                <a:gd fmla="*/ 322 h 1388" name="T37"/>
                <a:gd fmla="*/ 130 w 1352" name="T38"/>
                <a:gd fmla="*/ 330 h 1388" name="T39"/>
                <a:gd fmla="*/ 113 w 1352" name="T40"/>
                <a:gd fmla="*/ 336 h 1388" name="T41"/>
                <a:gd fmla="*/ 98 w 1352" name="T42"/>
                <a:gd fmla="*/ 327 h 1388" name="T43"/>
                <a:gd fmla="*/ 94 w 1352" name="T44"/>
                <a:gd fmla="*/ 310 h 1388" name="T45"/>
                <a:gd fmla="*/ 76 w 1352" name="T46"/>
                <a:gd fmla="*/ 308 h 1388" name="T47"/>
                <a:gd fmla="*/ 67 w 1352" name="T48"/>
                <a:gd fmla="*/ 301 h 1388" name="T49"/>
                <a:gd fmla="*/ 72 w 1352" name="T50"/>
                <a:gd fmla="*/ 280 h 1388" name="T51"/>
                <a:gd fmla="*/ 79 w 1352" name="T52"/>
                <a:gd fmla="*/ 267 h 1388" name="T53"/>
                <a:gd fmla="*/ 63 w 1352" name="T54"/>
                <a:gd fmla="*/ 263 h 1388" name="T55"/>
                <a:gd fmla="*/ 53 w 1352" name="T56"/>
                <a:gd fmla="*/ 245 h 1388" name="T57"/>
                <a:gd fmla="*/ 47 w 1352" name="T58"/>
                <a:gd fmla="*/ 227 h 1388" name="T59"/>
                <a:gd fmla="*/ 51 w 1352" name="T60"/>
                <a:gd fmla="*/ 218 h 1388" name="T61"/>
                <a:gd fmla="*/ 48 w 1352" name="T62"/>
                <a:gd fmla="*/ 217 h 1388" name="T63"/>
                <a:gd fmla="*/ 24 w 1352" name="T64"/>
                <a:gd fmla="*/ 220 h 1388" name="T65"/>
                <a:gd fmla="*/ 9 w 1352" name="T66"/>
                <a:gd fmla="*/ 229 h 1388" name="T67"/>
                <a:gd fmla="*/ 3 w 1352" name="T68"/>
                <a:gd fmla="*/ 224 h 1388" name="T69"/>
                <a:gd fmla="*/ 8 w 1352" name="T70"/>
                <a:gd fmla="*/ 215 h 1388" name="T71"/>
                <a:gd fmla="*/ 3 w 1352" name="T72"/>
                <a:gd fmla="*/ 206 h 1388" name="T73"/>
                <a:gd fmla="*/ 5 w 1352" name="T74"/>
                <a:gd fmla="*/ 189 h 1388" name="T75"/>
                <a:gd fmla="*/ 15 w 1352" name="T76"/>
                <a:gd fmla="*/ 172 h 1388" name="T77"/>
                <a:gd fmla="*/ 28 w 1352" name="T78"/>
                <a:gd fmla="*/ 162 h 1388" name="T79"/>
                <a:gd fmla="*/ 38 w 1352" name="T80"/>
                <a:gd fmla="*/ 150 h 1388" name="T81"/>
                <a:gd fmla="*/ 49 w 1352" name="T82"/>
                <a:gd fmla="*/ 131 h 1388" name="T83"/>
                <a:gd fmla="*/ 53 w 1352" name="T84"/>
                <a:gd fmla="*/ 89 h 1388" name="T85"/>
                <a:gd fmla="*/ 47 w 1352" name="T86"/>
                <a:gd fmla="*/ 72 h 1388" name="T87"/>
                <a:gd fmla="*/ 31 w 1352" name="T88"/>
                <a:gd fmla="*/ 60 h 1388" name="T89"/>
                <a:gd fmla="*/ 51 w 1352" name="T90"/>
                <a:gd fmla="*/ 42 h 1388" name="T91"/>
                <a:gd fmla="*/ 78 w 1352" name="T92"/>
                <a:gd fmla="*/ 44 h 1388" name="T93"/>
                <a:gd fmla="*/ 112 w 1352" name="T94"/>
                <a:gd fmla="*/ 60 h 1388" name="T95"/>
                <a:gd fmla="*/ 170 w 1352" name="T96"/>
                <a:gd fmla="*/ 138 h 1388" name="T97"/>
                <a:gd fmla="*/ 214 w 1352" name="T98"/>
                <a:gd fmla="*/ 109 h 1388" name="T99"/>
                <a:gd fmla="*/ 229 w 1352" name="T100"/>
                <a:gd fmla="*/ 50 h 1388" name="T101"/>
                <a:gd fmla="*/ 248 w 1352" name="T102"/>
                <a:gd fmla="*/ 26 h 1388" name="T103"/>
                <a:gd fmla="*/ 289 w 1352" name="T104"/>
                <a:gd fmla="*/ 47 h 1388" name="T105"/>
                <a:gd fmla="*/ 266 w 1352" name="T106"/>
                <a:gd fmla="*/ 82 h 1388" name="T107"/>
                <a:gd fmla="*/ 240 w 1352" name="T108"/>
                <a:gd fmla="*/ 101 h 1388" name="T109"/>
                <a:gd fmla="*/ 276 w 1352" name="T110"/>
                <a:gd fmla="*/ 122 h 1388" name="T111"/>
                <a:gd fmla="*/ 280 w 1352" name="T112"/>
                <a:gd fmla="*/ 183 h 1388" name="T113"/>
                <a:gd fmla="*/ 300 w 1352" name="T114"/>
                <a:gd fmla="*/ 216 h 1388" name="T115"/>
                <a:gd fmla="*/ 338 w 1352" name="T116"/>
                <a:gd fmla="*/ 225 h 1388"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1352" name="T177"/>
                <a:gd fmla="*/ 0 h 1388" name="T178"/>
                <a:gd fmla="*/ 1352 w 1352" name="T179"/>
                <a:gd fmla="*/ 1388 h 1388"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1388" w="1352">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28" name="Freeform 72"/>
            <p:cNvSpPr/>
            <p:nvPr/>
          </p:nvSpPr>
          <p:spPr bwMode="gray">
            <a:xfrm>
              <a:off x="2215" y="3052"/>
              <a:ext cx="676" cy="694"/>
            </a:xfrm>
            <a:custGeom>
              <a:gdLst>
                <a:gd fmla="*/ 297 w 1352" name="T0"/>
                <a:gd fmla="*/ 258 h 1388" name="T1"/>
                <a:gd fmla="*/ 288 w 1352" name="T2"/>
                <a:gd fmla="*/ 267 h 1388" name="T3"/>
                <a:gd fmla="*/ 280 w 1352" name="T4"/>
                <a:gd fmla="*/ 277 h 1388" name="T5"/>
                <a:gd fmla="*/ 265 w 1352" name="T6"/>
                <a:gd fmla="*/ 279 h 1388" name="T7"/>
                <a:gd fmla="*/ 258 w 1352" name="T8"/>
                <a:gd fmla="*/ 281 h 1388" name="T9"/>
                <a:gd fmla="*/ 248 w 1352" name="T10"/>
                <a:gd fmla="*/ 285 h 1388" name="T11"/>
                <a:gd fmla="*/ 240 w 1352" name="T12"/>
                <a:gd fmla="*/ 279 h 1388" name="T13"/>
                <a:gd fmla="*/ 237 w 1352" name="T14"/>
                <a:gd fmla="*/ 285 h 1388" name="T15"/>
                <a:gd fmla="*/ 231 w 1352" name="T16"/>
                <a:gd fmla="*/ 284 h 1388" name="T17"/>
                <a:gd fmla="*/ 228 w 1352" name="T18"/>
                <a:gd fmla="*/ 281 h 1388" name="T19"/>
                <a:gd fmla="*/ 218 w 1352" name="T20"/>
                <a:gd fmla="*/ 290 h 1388" name="T21"/>
                <a:gd fmla="*/ 202 w 1352" name="T22"/>
                <a:gd fmla="*/ 282 h 1388" name="T23"/>
                <a:gd fmla="*/ 188 w 1352" name="T24"/>
                <a:gd fmla="*/ 290 h 1388" name="T25"/>
                <a:gd fmla="*/ 174 w 1352" name="T26"/>
                <a:gd fmla="*/ 293 h 1388" name="T27"/>
                <a:gd fmla="*/ 162 w 1352" name="T28"/>
                <a:gd fmla="*/ 303 h 1388" name="T29"/>
                <a:gd fmla="*/ 169 w 1352" name="T30"/>
                <a:gd fmla="*/ 330 h 1388" name="T31"/>
                <a:gd fmla="*/ 165 w 1352" name="T32"/>
                <a:gd fmla="*/ 346 h 1388" name="T33"/>
                <a:gd fmla="*/ 146 w 1352" name="T34"/>
                <a:gd fmla="*/ 341 h 1388" name="T35"/>
                <a:gd fmla="*/ 142 w 1352" name="T36"/>
                <a:gd fmla="*/ 322 h 1388" name="T37"/>
                <a:gd fmla="*/ 130 w 1352" name="T38"/>
                <a:gd fmla="*/ 330 h 1388" name="T39"/>
                <a:gd fmla="*/ 113 w 1352" name="T40"/>
                <a:gd fmla="*/ 336 h 1388" name="T41"/>
                <a:gd fmla="*/ 98 w 1352" name="T42"/>
                <a:gd fmla="*/ 327 h 1388" name="T43"/>
                <a:gd fmla="*/ 94 w 1352" name="T44"/>
                <a:gd fmla="*/ 310 h 1388" name="T45"/>
                <a:gd fmla="*/ 76 w 1352" name="T46"/>
                <a:gd fmla="*/ 308 h 1388" name="T47"/>
                <a:gd fmla="*/ 67 w 1352" name="T48"/>
                <a:gd fmla="*/ 301 h 1388" name="T49"/>
                <a:gd fmla="*/ 72 w 1352" name="T50"/>
                <a:gd fmla="*/ 280 h 1388" name="T51"/>
                <a:gd fmla="*/ 79 w 1352" name="T52"/>
                <a:gd fmla="*/ 267 h 1388" name="T53"/>
                <a:gd fmla="*/ 63 w 1352" name="T54"/>
                <a:gd fmla="*/ 263 h 1388" name="T55"/>
                <a:gd fmla="*/ 53 w 1352" name="T56"/>
                <a:gd fmla="*/ 245 h 1388" name="T57"/>
                <a:gd fmla="*/ 47 w 1352" name="T58"/>
                <a:gd fmla="*/ 227 h 1388" name="T59"/>
                <a:gd fmla="*/ 51 w 1352" name="T60"/>
                <a:gd fmla="*/ 218 h 1388" name="T61"/>
                <a:gd fmla="*/ 48 w 1352" name="T62"/>
                <a:gd fmla="*/ 217 h 1388" name="T63"/>
                <a:gd fmla="*/ 24 w 1352" name="T64"/>
                <a:gd fmla="*/ 220 h 1388" name="T65"/>
                <a:gd fmla="*/ 9 w 1352" name="T66"/>
                <a:gd fmla="*/ 229 h 1388" name="T67"/>
                <a:gd fmla="*/ 3 w 1352" name="T68"/>
                <a:gd fmla="*/ 224 h 1388" name="T69"/>
                <a:gd fmla="*/ 8 w 1352" name="T70"/>
                <a:gd fmla="*/ 215 h 1388" name="T71"/>
                <a:gd fmla="*/ 3 w 1352" name="T72"/>
                <a:gd fmla="*/ 206 h 1388" name="T73"/>
                <a:gd fmla="*/ 5 w 1352" name="T74"/>
                <a:gd fmla="*/ 189 h 1388" name="T75"/>
                <a:gd fmla="*/ 15 w 1352" name="T76"/>
                <a:gd fmla="*/ 172 h 1388" name="T77"/>
                <a:gd fmla="*/ 28 w 1352" name="T78"/>
                <a:gd fmla="*/ 162 h 1388" name="T79"/>
                <a:gd fmla="*/ 38 w 1352" name="T80"/>
                <a:gd fmla="*/ 150 h 1388" name="T81"/>
                <a:gd fmla="*/ 49 w 1352" name="T82"/>
                <a:gd fmla="*/ 131 h 1388" name="T83"/>
                <a:gd fmla="*/ 53 w 1352" name="T84"/>
                <a:gd fmla="*/ 89 h 1388" name="T85"/>
                <a:gd fmla="*/ 47 w 1352" name="T86"/>
                <a:gd fmla="*/ 72 h 1388" name="T87"/>
                <a:gd fmla="*/ 31 w 1352" name="T88"/>
                <a:gd fmla="*/ 60 h 1388" name="T89"/>
                <a:gd fmla="*/ 51 w 1352" name="T90"/>
                <a:gd fmla="*/ 42 h 1388" name="T91"/>
                <a:gd fmla="*/ 78 w 1352" name="T92"/>
                <a:gd fmla="*/ 44 h 1388" name="T93"/>
                <a:gd fmla="*/ 112 w 1352" name="T94"/>
                <a:gd fmla="*/ 60 h 1388" name="T95"/>
                <a:gd fmla="*/ 170 w 1352" name="T96"/>
                <a:gd fmla="*/ 138 h 1388" name="T97"/>
                <a:gd fmla="*/ 214 w 1352" name="T98"/>
                <a:gd fmla="*/ 109 h 1388" name="T99"/>
                <a:gd fmla="*/ 229 w 1352" name="T100"/>
                <a:gd fmla="*/ 50 h 1388" name="T101"/>
                <a:gd fmla="*/ 248 w 1352" name="T102"/>
                <a:gd fmla="*/ 26 h 1388" name="T103"/>
                <a:gd fmla="*/ 289 w 1352" name="T104"/>
                <a:gd fmla="*/ 47 h 1388" name="T105"/>
                <a:gd fmla="*/ 266 w 1352" name="T106"/>
                <a:gd fmla="*/ 82 h 1388" name="T107"/>
                <a:gd fmla="*/ 240 w 1352" name="T108"/>
                <a:gd fmla="*/ 101 h 1388" name="T109"/>
                <a:gd fmla="*/ 276 w 1352" name="T110"/>
                <a:gd fmla="*/ 122 h 1388" name="T111"/>
                <a:gd fmla="*/ 280 w 1352" name="T112"/>
                <a:gd fmla="*/ 183 h 1388" name="T113"/>
                <a:gd fmla="*/ 300 w 1352" name="T114"/>
                <a:gd fmla="*/ 216 h 1388" name="T115"/>
                <a:gd fmla="*/ 338 w 1352" name="T116"/>
                <a:gd fmla="*/ 225 h 1388"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1352" name="T177"/>
                <a:gd fmla="*/ 0 h 1388" name="T178"/>
                <a:gd fmla="*/ 1352 w 1352" name="T179"/>
                <a:gd fmla="*/ 1388 h 1388"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1388" w="1352">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altLang="en-US" lang="zh-CN" sz="2400"/>
            </a:p>
          </p:txBody>
        </p:sp>
        <p:sp>
          <p:nvSpPr>
            <p:cNvPr id="29" name="Freeform 73"/>
            <p:cNvSpPr/>
            <p:nvPr/>
          </p:nvSpPr>
          <p:spPr bwMode="gray">
            <a:xfrm>
              <a:off x="2755" y="3269"/>
              <a:ext cx="596" cy="432"/>
            </a:xfrm>
            <a:custGeom>
              <a:gdLst>
                <a:gd fmla="*/ 209 w 1191" name="T0"/>
                <a:gd fmla="*/ 213 h 864" name="T1"/>
                <a:gd fmla="*/ 202 w 1191" name="T2"/>
                <a:gd fmla="*/ 215 h 864" name="T3"/>
                <a:gd fmla="*/ 195 w 1191" name="T4"/>
                <a:gd fmla="*/ 214 h 864" name="T5"/>
                <a:gd fmla="*/ 186 w 1191" name="T6"/>
                <a:gd fmla="*/ 210 h 864" name="T7"/>
                <a:gd fmla="*/ 180 w 1191" name="T8"/>
                <a:gd fmla="*/ 210 h 864" name="T9"/>
                <a:gd fmla="*/ 174 w 1191" name="T10"/>
                <a:gd fmla="*/ 203 h 864" name="T11"/>
                <a:gd fmla="*/ 169 w 1191" name="T12"/>
                <a:gd fmla="*/ 200 h 864" name="T13"/>
                <a:gd fmla="*/ 163 w 1191" name="T14"/>
                <a:gd fmla="*/ 210 h 864" name="T15"/>
                <a:gd fmla="*/ 155 w 1191" name="T16"/>
                <a:gd fmla="*/ 214 h 864" name="T17"/>
                <a:gd fmla="*/ 146 w 1191" name="T18"/>
                <a:gd fmla="*/ 216 h 864" name="T19"/>
                <a:gd fmla="*/ 140 w 1191" name="T20"/>
                <a:gd fmla="*/ 211 h 864" name="T21"/>
                <a:gd fmla="*/ 133 w 1191" name="T22"/>
                <a:gd fmla="*/ 213 h 864" name="T23"/>
                <a:gd fmla="*/ 123 w 1191" name="T24"/>
                <a:gd fmla="*/ 213 h 864" name="T25"/>
                <a:gd fmla="*/ 112 w 1191" name="T26"/>
                <a:gd fmla="*/ 206 h 864" name="T27"/>
                <a:gd fmla="*/ 101 w 1191" name="T28"/>
                <a:gd fmla="*/ 198 h 864" name="T29"/>
                <a:gd fmla="*/ 93 w 1191" name="T30"/>
                <a:gd fmla="*/ 189 h 864" name="T31"/>
                <a:gd fmla="*/ 88 w 1191" name="T32"/>
                <a:gd fmla="*/ 176 h 864" name="T33"/>
                <a:gd fmla="*/ 91 w 1191" name="T34"/>
                <a:gd fmla="*/ 171 h 864" name="T35"/>
                <a:gd fmla="*/ 94 w 1191" name="T36"/>
                <a:gd fmla="*/ 170 h 864" name="T37"/>
                <a:gd fmla="*/ 96 w 1191" name="T38"/>
                <a:gd fmla="*/ 167 h 864" name="T39"/>
                <a:gd fmla="*/ 87 w 1191" name="T40"/>
                <a:gd fmla="*/ 160 h 864" name="T41"/>
                <a:gd fmla="*/ 79 w 1191" name="T42"/>
                <a:gd fmla="*/ 161 h 864" name="T43"/>
                <a:gd fmla="*/ 74 w 1191" name="T44"/>
                <a:gd fmla="*/ 163 h 864" name="T45"/>
                <a:gd fmla="*/ 66 w 1191" name="T46"/>
                <a:gd fmla="*/ 158 h 864" name="T47"/>
                <a:gd fmla="*/ 60 w 1191" name="T48"/>
                <a:gd fmla="*/ 161 h 864" name="T49"/>
                <a:gd fmla="*/ 52 w 1191" name="T50"/>
                <a:gd fmla="*/ 156 h 864" name="T51"/>
                <a:gd fmla="*/ 46 w 1191" name="T52"/>
                <a:gd fmla="*/ 152 h 864" name="T53"/>
                <a:gd fmla="*/ 66 w 1191" name="T54"/>
                <a:gd fmla="*/ 135 h 864" name="T55"/>
                <a:gd fmla="*/ 53 w 1191" name="T56"/>
                <a:gd fmla="*/ 114 h 864" name="T57"/>
                <a:gd fmla="*/ 29 w 1191" name="T58"/>
                <a:gd fmla="*/ 108 h 864" name="T59"/>
                <a:gd fmla="*/ 8 w 1191" name="T60"/>
                <a:gd fmla="*/ 101 h 864" name="T61"/>
                <a:gd fmla="*/ 26 w 1191" name="T62"/>
                <a:gd fmla="*/ 74 h 864" name="T63"/>
                <a:gd fmla="*/ 63 w 1191" name="T64"/>
                <a:gd fmla="*/ 84 h 864" name="T65"/>
                <a:gd fmla="*/ 77 w 1191" name="T66"/>
                <a:gd fmla="*/ 70 h 864" name="T67"/>
                <a:gd fmla="*/ 100 w 1191" name="T68"/>
                <a:gd fmla="*/ 52 h 864" name="T69"/>
                <a:gd fmla="*/ 124 w 1191" name="T70"/>
                <a:gd fmla="*/ 56 h 864" name="T71"/>
                <a:gd fmla="*/ 144 w 1191" name="T72"/>
                <a:gd fmla="*/ 48 h 864" name="T73"/>
                <a:gd fmla="*/ 165 w 1191" name="T74"/>
                <a:gd fmla="*/ 40 h 864" name="T75"/>
                <a:gd fmla="*/ 182 w 1191" name="T76"/>
                <a:gd fmla="*/ 27 h 864" name="T77"/>
                <a:gd fmla="*/ 200 w 1191" name="T78"/>
                <a:gd fmla="*/ 19 h 864" name="T79"/>
                <a:gd fmla="*/ 217 w 1191" name="T80"/>
                <a:gd fmla="*/ 9 h 864" name="T81"/>
                <a:gd fmla="*/ 244 w 1191" name="T82"/>
                <a:gd fmla="*/ 5 h 864" name="T83"/>
                <a:gd fmla="*/ 260 w 1191" name="T84"/>
                <a:gd fmla="*/ 18 h 864" name="T85"/>
                <a:gd fmla="*/ 252 w 1191" name="T86"/>
                <a:gd fmla="*/ 54 h 864" name="T87"/>
                <a:gd fmla="*/ 274 w 1191" name="T88"/>
                <a:gd fmla="*/ 71 h 864" name="T89"/>
                <a:gd fmla="*/ 298 w 1191" name="T90"/>
                <a:gd fmla="*/ 81 h 864" name="T91"/>
                <a:gd fmla="*/ 282 w 1191" name="T92"/>
                <a:gd fmla="*/ 108 h 864" name="T93"/>
                <a:gd fmla="*/ 260 w 1191" name="T94"/>
                <a:gd fmla="*/ 161 h 864" name="T95"/>
                <a:gd fmla="*/ 248 w 1191" name="T96"/>
                <a:gd fmla="*/ 182 h 864" name="T97"/>
                <a:gd fmla="*/ 225 w 1191" name="T98"/>
                <a:gd fmla="*/ 197 h 864"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w 1191" name="T150"/>
                <a:gd fmla="*/ 0 h 864" name="T151"/>
                <a:gd fmla="*/ 1191 w 1191" name="T152"/>
                <a:gd fmla="*/ 864 h 864" name="T153"/>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b="T153" l="T150" r="T152" t="T151"/>
              <a:pathLst>
                <a:path h="864" w="1191">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30" name="Freeform 74"/>
            <p:cNvSpPr/>
            <p:nvPr/>
          </p:nvSpPr>
          <p:spPr bwMode="gray">
            <a:xfrm>
              <a:off x="2755" y="3269"/>
              <a:ext cx="596" cy="432"/>
            </a:xfrm>
            <a:custGeom>
              <a:gdLst>
                <a:gd fmla="*/ 209 w 1191" name="T0"/>
                <a:gd fmla="*/ 213 h 864" name="T1"/>
                <a:gd fmla="*/ 202 w 1191" name="T2"/>
                <a:gd fmla="*/ 215 h 864" name="T3"/>
                <a:gd fmla="*/ 195 w 1191" name="T4"/>
                <a:gd fmla="*/ 214 h 864" name="T5"/>
                <a:gd fmla="*/ 186 w 1191" name="T6"/>
                <a:gd fmla="*/ 210 h 864" name="T7"/>
                <a:gd fmla="*/ 180 w 1191" name="T8"/>
                <a:gd fmla="*/ 210 h 864" name="T9"/>
                <a:gd fmla="*/ 174 w 1191" name="T10"/>
                <a:gd fmla="*/ 203 h 864" name="T11"/>
                <a:gd fmla="*/ 169 w 1191" name="T12"/>
                <a:gd fmla="*/ 200 h 864" name="T13"/>
                <a:gd fmla="*/ 163 w 1191" name="T14"/>
                <a:gd fmla="*/ 210 h 864" name="T15"/>
                <a:gd fmla="*/ 155 w 1191" name="T16"/>
                <a:gd fmla="*/ 214 h 864" name="T17"/>
                <a:gd fmla="*/ 146 w 1191" name="T18"/>
                <a:gd fmla="*/ 216 h 864" name="T19"/>
                <a:gd fmla="*/ 140 w 1191" name="T20"/>
                <a:gd fmla="*/ 211 h 864" name="T21"/>
                <a:gd fmla="*/ 133 w 1191" name="T22"/>
                <a:gd fmla="*/ 213 h 864" name="T23"/>
                <a:gd fmla="*/ 123 w 1191" name="T24"/>
                <a:gd fmla="*/ 213 h 864" name="T25"/>
                <a:gd fmla="*/ 112 w 1191" name="T26"/>
                <a:gd fmla="*/ 206 h 864" name="T27"/>
                <a:gd fmla="*/ 101 w 1191" name="T28"/>
                <a:gd fmla="*/ 198 h 864" name="T29"/>
                <a:gd fmla="*/ 93 w 1191" name="T30"/>
                <a:gd fmla="*/ 189 h 864" name="T31"/>
                <a:gd fmla="*/ 88 w 1191" name="T32"/>
                <a:gd fmla="*/ 176 h 864" name="T33"/>
                <a:gd fmla="*/ 91 w 1191" name="T34"/>
                <a:gd fmla="*/ 171 h 864" name="T35"/>
                <a:gd fmla="*/ 94 w 1191" name="T36"/>
                <a:gd fmla="*/ 170 h 864" name="T37"/>
                <a:gd fmla="*/ 96 w 1191" name="T38"/>
                <a:gd fmla="*/ 167 h 864" name="T39"/>
                <a:gd fmla="*/ 87 w 1191" name="T40"/>
                <a:gd fmla="*/ 160 h 864" name="T41"/>
                <a:gd fmla="*/ 79 w 1191" name="T42"/>
                <a:gd fmla="*/ 161 h 864" name="T43"/>
                <a:gd fmla="*/ 74 w 1191" name="T44"/>
                <a:gd fmla="*/ 163 h 864" name="T45"/>
                <a:gd fmla="*/ 66 w 1191" name="T46"/>
                <a:gd fmla="*/ 158 h 864" name="T47"/>
                <a:gd fmla="*/ 60 w 1191" name="T48"/>
                <a:gd fmla="*/ 161 h 864" name="T49"/>
                <a:gd fmla="*/ 52 w 1191" name="T50"/>
                <a:gd fmla="*/ 156 h 864" name="T51"/>
                <a:gd fmla="*/ 46 w 1191" name="T52"/>
                <a:gd fmla="*/ 152 h 864" name="T53"/>
                <a:gd fmla="*/ 66 w 1191" name="T54"/>
                <a:gd fmla="*/ 135 h 864" name="T55"/>
                <a:gd fmla="*/ 53 w 1191" name="T56"/>
                <a:gd fmla="*/ 114 h 864" name="T57"/>
                <a:gd fmla="*/ 29 w 1191" name="T58"/>
                <a:gd fmla="*/ 108 h 864" name="T59"/>
                <a:gd fmla="*/ 8 w 1191" name="T60"/>
                <a:gd fmla="*/ 101 h 864" name="T61"/>
                <a:gd fmla="*/ 26 w 1191" name="T62"/>
                <a:gd fmla="*/ 74 h 864" name="T63"/>
                <a:gd fmla="*/ 63 w 1191" name="T64"/>
                <a:gd fmla="*/ 84 h 864" name="T65"/>
                <a:gd fmla="*/ 77 w 1191" name="T66"/>
                <a:gd fmla="*/ 70 h 864" name="T67"/>
                <a:gd fmla="*/ 100 w 1191" name="T68"/>
                <a:gd fmla="*/ 52 h 864" name="T69"/>
                <a:gd fmla="*/ 124 w 1191" name="T70"/>
                <a:gd fmla="*/ 56 h 864" name="T71"/>
                <a:gd fmla="*/ 144 w 1191" name="T72"/>
                <a:gd fmla="*/ 48 h 864" name="T73"/>
                <a:gd fmla="*/ 165 w 1191" name="T74"/>
                <a:gd fmla="*/ 40 h 864" name="T75"/>
                <a:gd fmla="*/ 182 w 1191" name="T76"/>
                <a:gd fmla="*/ 27 h 864" name="T77"/>
                <a:gd fmla="*/ 200 w 1191" name="T78"/>
                <a:gd fmla="*/ 19 h 864" name="T79"/>
                <a:gd fmla="*/ 217 w 1191" name="T80"/>
                <a:gd fmla="*/ 9 h 864" name="T81"/>
                <a:gd fmla="*/ 244 w 1191" name="T82"/>
                <a:gd fmla="*/ 5 h 864" name="T83"/>
                <a:gd fmla="*/ 260 w 1191" name="T84"/>
                <a:gd fmla="*/ 18 h 864" name="T85"/>
                <a:gd fmla="*/ 252 w 1191" name="T86"/>
                <a:gd fmla="*/ 54 h 864" name="T87"/>
                <a:gd fmla="*/ 274 w 1191" name="T88"/>
                <a:gd fmla="*/ 71 h 864" name="T89"/>
                <a:gd fmla="*/ 298 w 1191" name="T90"/>
                <a:gd fmla="*/ 81 h 864" name="T91"/>
                <a:gd fmla="*/ 282 w 1191" name="T92"/>
                <a:gd fmla="*/ 108 h 864" name="T93"/>
                <a:gd fmla="*/ 260 w 1191" name="T94"/>
                <a:gd fmla="*/ 161 h 864" name="T95"/>
                <a:gd fmla="*/ 248 w 1191" name="T96"/>
                <a:gd fmla="*/ 182 h 864" name="T97"/>
                <a:gd fmla="*/ 225 w 1191" name="T98"/>
                <a:gd fmla="*/ 197 h 864"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w 1191" name="T150"/>
                <a:gd fmla="*/ 0 h 864" name="T151"/>
                <a:gd fmla="*/ 1191 w 1191" name="T152"/>
                <a:gd fmla="*/ 864 h 864" name="T153"/>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b="T153" l="T150" r="T152" t="T151"/>
              <a:pathLst>
                <a:path h="864" w="1191">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altLang="en-US" lang="zh-CN" sz="2400"/>
            </a:p>
          </p:txBody>
        </p:sp>
        <p:sp>
          <p:nvSpPr>
            <p:cNvPr id="31" name="Freeform 75"/>
            <p:cNvSpPr/>
            <p:nvPr/>
          </p:nvSpPr>
          <p:spPr bwMode="gray">
            <a:xfrm>
              <a:off x="3116" y="3813"/>
              <a:ext cx="195" cy="172"/>
            </a:xfrm>
            <a:custGeom>
              <a:gdLst>
                <a:gd fmla="*/ 20 w 392" name="T0"/>
                <a:gd fmla="*/ 19 h 344" name="T1"/>
                <a:gd fmla="*/ 17 w 392" name="T2"/>
                <a:gd fmla="*/ 21 h 344" name="T3"/>
                <a:gd fmla="*/ 11 w 392" name="T4"/>
                <a:gd fmla="*/ 27 h 344" name="T5"/>
                <a:gd fmla="*/ 5 w 392" name="T6"/>
                <a:gd fmla="*/ 35 h 344" name="T7"/>
                <a:gd fmla="*/ 1 w 392" name="T8"/>
                <a:gd fmla="*/ 40 h 344" name="T9"/>
                <a:gd fmla="*/ 0 w 392" name="T10"/>
                <a:gd fmla="*/ 50 h 344" name="T11"/>
                <a:gd fmla="*/ 1 w 392" name="T12"/>
                <a:gd fmla="*/ 63 h 344" name="T13"/>
                <a:gd fmla="*/ 5 w 392" name="T14"/>
                <a:gd fmla="*/ 72 h 344" name="T15"/>
                <a:gd fmla="*/ 12 w 392" name="T16"/>
                <a:gd fmla="*/ 78 h 344" name="T17"/>
                <a:gd fmla="*/ 22 w 392" name="T18"/>
                <a:gd fmla="*/ 80 h 344" name="T19"/>
                <a:gd fmla="*/ 28 w 392" name="T20"/>
                <a:gd fmla="*/ 80 h 344" name="T21"/>
                <a:gd fmla="*/ 33 w 392" name="T22"/>
                <a:gd fmla="*/ 81 h 344" name="T23"/>
                <a:gd fmla="*/ 41 w 392" name="T24"/>
                <a:gd fmla="*/ 86 h 344" name="T25"/>
                <a:gd fmla="*/ 46 w 392" name="T26"/>
                <a:gd fmla="*/ 85 h 344" name="T27"/>
                <a:gd fmla="*/ 49 w 392" name="T28"/>
                <a:gd fmla="*/ 80 h 344" name="T29"/>
                <a:gd fmla="*/ 53 w 392" name="T30"/>
                <a:gd fmla="*/ 74 h 344" name="T31"/>
                <a:gd fmla="*/ 59 w 392" name="T32"/>
                <a:gd fmla="*/ 73 h 344" name="T33"/>
                <a:gd fmla="*/ 64 w 392" name="T34"/>
                <a:gd fmla="*/ 69 h 344" name="T35"/>
                <a:gd fmla="*/ 69 w 392" name="T36"/>
                <a:gd fmla="*/ 63 h 344" name="T37"/>
                <a:gd fmla="*/ 76 w 392" name="T38"/>
                <a:gd fmla="*/ 59 h 344" name="T39"/>
                <a:gd fmla="*/ 79 w 392" name="T40"/>
                <a:gd fmla="*/ 52 h 344" name="T41"/>
                <a:gd fmla="*/ 80 w 392" name="T42"/>
                <a:gd fmla="*/ 43 h 344" name="T43"/>
                <a:gd fmla="*/ 85 w 392" name="T44"/>
                <a:gd fmla="*/ 28 h 344" name="T45"/>
                <a:gd fmla="*/ 90 w 392" name="T46"/>
                <a:gd fmla="*/ 21 h 344" name="T47"/>
                <a:gd fmla="*/ 94 w 392" name="T48"/>
                <a:gd fmla="*/ 19 h 344" name="T49"/>
                <a:gd fmla="*/ 97 w 392" name="T50"/>
                <a:gd fmla="*/ 15 h 344" name="T51"/>
                <a:gd fmla="*/ 97 w 392" name="T52"/>
                <a:gd fmla="*/ 9 h 344" name="T53"/>
                <a:gd fmla="*/ 95 w 392" name="T54"/>
                <a:gd fmla="*/ 3 h 344" name="T55"/>
                <a:gd fmla="*/ 88 w 392" name="T56"/>
                <a:gd fmla="*/ 1 h 344" name="T57"/>
                <a:gd fmla="*/ 75 w 392" name="T58"/>
                <a:gd fmla="*/ 1 h 344" name="T59"/>
                <a:gd fmla="*/ 64 w 392" name="T60"/>
                <a:gd fmla="*/ 3 h 344" name="T61"/>
                <a:gd fmla="*/ 55 w 392" name="T62"/>
                <a:gd fmla="*/ 5 h 344" name="T63"/>
                <a:gd fmla="*/ 45 w 392" name="T64"/>
                <a:gd fmla="*/ 7 h 344" name="T65"/>
                <a:gd fmla="*/ 38 w 392" name="T66"/>
                <a:gd fmla="*/ 8 h 344" name="T67"/>
                <a:gd fmla="*/ 33 w 392" name="T68"/>
                <a:gd fmla="*/ 11 h 344" name="T69"/>
                <a:gd fmla="*/ 28 w 392" name="T70"/>
                <a:gd fmla="*/ 12 h 344" name="T71"/>
                <a:gd fmla="*/ 23 w 392" name="T72"/>
                <a:gd fmla="*/ 12 h 344"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w 392" name="T111"/>
                <a:gd fmla="*/ 0 h 344" name="T112"/>
                <a:gd fmla="*/ 392 w 392" name="T113"/>
                <a:gd fmla="*/ 344 h 344" name="T114"/>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b="T114" l="T111" r="T113" t="T112"/>
              <a:pathLst>
                <a:path h="344" w="392">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32" name="Freeform 76"/>
            <p:cNvSpPr/>
            <p:nvPr/>
          </p:nvSpPr>
          <p:spPr bwMode="gray">
            <a:xfrm>
              <a:off x="3116" y="3813"/>
              <a:ext cx="195" cy="172"/>
            </a:xfrm>
            <a:custGeom>
              <a:gdLst>
                <a:gd fmla="*/ 20 w 392" name="T0"/>
                <a:gd fmla="*/ 19 h 344" name="T1"/>
                <a:gd fmla="*/ 17 w 392" name="T2"/>
                <a:gd fmla="*/ 21 h 344" name="T3"/>
                <a:gd fmla="*/ 11 w 392" name="T4"/>
                <a:gd fmla="*/ 27 h 344" name="T5"/>
                <a:gd fmla="*/ 5 w 392" name="T6"/>
                <a:gd fmla="*/ 35 h 344" name="T7"/>
                <a:gd fmla="*/ 1 w 392" name="T8"/>
                <a:gd fmla="*/ 40 h 344" name="T9"/>
                <a:gd fmla="*/ 0 w 392" name="T10"/>
                <a:gd fmla="*/ 50 h 344" name="T11"/>
                <a:gd fmla="*/ 1 w 392" name="T12"/>
                <a:gd fmla="*/ 63 h 344" name="T13"/>
                <a:gd fmla="*/ 5 w 392" name="T14"/>
                <a:gd fmla="*/ 72 h 344" name="T15"/>
                <a:gd fmla="*/ 12 w 392" name="T16"/>
                <a:gd fmla="*/ 78 h 344" name="T17"/>
                <a:gd fmla="*/ 22 w 392" name="T18"/>
                <a:gd fmla="*/ 80 h 344" name="T19"/>
                <a:gd fmla="*/ 28 w 392" name="T20"/>
                <a:gd fmla="*/ 80 h 344" name="T21"/>
                <a:gd fmla="*/ 33 w 392" name="T22"/>
                <a:gd fmla="*/ 81 h 344" name="T23"/>
                <a:gd fmla="*/ 41 w 392" name="T24"/>
                <a:gd fmla="*/ 86 h 344" name="T25"/>
                <a:gd fmla="*/ 46 w 392" name="T26"/>
                <a:gd fmla="*/ 85 h 344" name="T27"/>
                <a:gd fmla="*/ 49 w 392" name="T28"/>
                <a:gd fmla="*/ 80 h 344" name="T29"/>
                <a:gd fmla="*/ 53 w 392" name="T30"/>
                <a:gd fmla="*/ 74 h 344" name="T31"/>
                <a:gd fmla="*/ 59 w 392" name="T32"/>
                <a:gd fmla="*/ 73 h 344" name="T33"/>
                <a:gd fmla="*/ 64 w 392" name="T34"/>
                <a:gd fmla="*/ 69 h 344" name="T35"/>
                <a:gd fmla="*/ 69 w 392" name="T36"/>
                <a:gd fmla="*/ 63 h 344" name="T37"/>
                <a:gd fmla="*/ 76 w 392" name="T38"/>
                <a:gd fmla="*/ 59 h 344" name="T39"/>
                <a:gd fmla="*/ 79 w 392" name="T40"/>
                <a:gd fmla="*/ 52 h 344" name="T41"/>
                <a:gd fmla="*/ 80 w 392" name="T42"/>
                <a:gd fmla="*/ 43 h 344" name="T43"/>
                <a:gd fmla="*/ 85 w 392" name="T44"/>
                <a:gd fmla="*/ 28 h 344" name="T45"/>
                <a:gd fmla="*/ 90 w 392" name="T46"/>
                <a:gd fmla="*/ 21 h 344" name="T47"/>
                <a:gd fmla="*/ 94 w 392" name="T48"/>
                <a:gd fmla="*/ 19 h 344" name="T49"/>
                <a:gd fmla="*/ 97 w 392" name="T50"/>
                <a:gd fmla="*/ 15 h 344" name="T51"/>
                <a:gd fmla="*/ 97 w 392" name="T52"/>
                <a:gd fmla="*/ 9 h 344" name="T53"/>
                <a:gd fmla="*/ 95 w 392" name="T54"/>
                <a:gd fmla="*/ 3 h 344" name="T55"/>
                <a:gd fmla="*/ 88 w 392" name="T56"/>
                <a:gd fmla="*/ 1 h 344" name="T57"/>
                <a:gd fmla="*/ 75 w 392" name="T58"/>
                <a:gd fmla="*/ 1 h 344" name="T59"/>
                <a:gd fmla="*/ 64 w 392" name="T60"/>
                <a:gd fmla="*/ 3 h 344" name="T61"/>
                <a:gd fmla="*/ 55 w 392" name="T62"/>
                <a:gd fmla="*/ 5 h 344" name="T63"/>
                <a:gd fmla="*/ 45 w 392" name="T64"/>
                <a:gd fmla="*/ 7 h 344" name="T65"/>
                <a:gd fmla="*/ 38 w 392" name="T66"/>
                <a:gd fmla="*/ 8 h 344" name="T67"/>
                <a:gd fmla="*/ 33 w 392" name="T68"/>
                <a:gd fmla="*/ 11 h 344" name="T69"/>
                <a:gd fmla="*/ 28 w 392" name="T70"/>
                <a:gd fmla="*/ 12 h 344" name="T71"/>
                <a:gd fmla="*/ 23 w 392" name="T72"/>
                <a:gd fmla="*/ 12 h 344"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w 392" name="T111"/>
                <a:gd fmla="*/ 0 h 344" name="T112"/>
                <a:gd fmla="*/ 392 w 392" name="T113"/>
                <a:gd fmla="*/ 344 h 344" name="T114"/>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b="T114" l="T111" r="T113" t="T112"/>
              <a:pathLst>
                <a:path h="344" w="392">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altLang="en-US" lang="zh-CN" sz="2400"/>
            </a:p>
          </p:txBody>
        </p:sp>
        <p:sp>
          <p:nvSpPr>
            <p:cNvPr id="33" name="Freeform 77"/>
            <p:cNvSpPr/>
            <p:nvPr/>
          </p:nvSpPr>
          <p:spPr bwMode="gray">
            <a:xfrm>
              <a:off x="3188" y="3319"/>
              <a:ext cx="564" cy="480"/>
            </a:xfrm>
            <a:custGeom>
              <a:gdLst>
                <a:gd fmla="*/ 279 w 1128" name="T0"/>
                <a:gd fmla="*/ 62 h 960" name="T1"/>
                <a:gd fmla="*/ 272 w 1128" name="T2"/>
                <a:gd fmla="*/ 67 h 960" name="T3"/>
                <a:gd fmla="*/ 266 w 1128" name="T4"/>
                <a:gd fmla="*/ 77 h 960" name="T5"/>
                <a:gd fmla="*/ 261 w 1128" name="T6"/>
                <a:gd fmla="*/ 87 h 960" name="T7"/>
                <a:gd fmla="*/ 254 w 1128" name="T8"/>
                <a:gd fmla="*/ 97 h 960" name="T9"/>
                <a:gd fmla="*/ 241 w 1128" name="T10"/>
                <a:gd fmla="*/ 103 h 960" name="T11"/>
                <a:gd fmla="*/ 230 w 1128" name="T12"/>
                <a:gd fmla="*/ 104 h 960" name="T13"/>
                <a:gd fmla="*/ 216 w 1128" name="T14"/>
                <a:gd fmla="*/ 103 h 960" name="T15"/>
                <a:gd fmla="*/ 203 w 1128" name="T16"/>
                <a:gd fmla="*/ 110 h 960" name="T17"/>
                <a:gd fmla="*/ 199 w 1128" name="T18"/>
                <a:gd fmla="*/ 115 h 960" name="T19"/>
                <a:gd fmla="*/ 198 w 1128" name="T20"/>
                <a:gd fmla="*/ 118 h 960" name="T21"/>
                <a:gd fmla="*/ 196 w 1128" name="T22"/>
                <a:gd fmla="*/ 119 h 960" name="T23"/>
                <a:gd fmla="*/ 190 w 1128" name="T24"/>
                <a:gd fmla="*/ 114 h 960" name="T25"/>
                <a:gd fmla="*/ 183 w 1128" name="T26"/>
                <a:gd fmla="*/ 118 h 960" name="T27"/>
                <a:gd fmla="*/ 177 w 1128" name="T28"/>
                <a:gd fmla="*/ 127 h 960" name="T29"/>
                <a:gd fmla="*/ 164 w 1128" name="T30"/>
                <a:gd fmla="*/ 127 h 960" name="T31"/>
                <a:gd fmla="*/ 155 w 1128" name="T32"/>
                <a:gd fmla="*/ 120 h 960" name="T33"/>
                <a:gd fmla="*/ 148 w 1128" name="T34"/>
                <a:gd fmla="*/ 111 h 960" name="T35"/>
                <a:gd fmla="*/ 143 w 1128" name="T36"/>
                <a:gd fmla="*/ 113 h 960" name="T37"/>
                <a:gd fmla="*/ 147 w 1128" name="T38"/>
                <a:gd fmla="*/ 122 h 960" name="T39"/>
                <a:gd fmla="*/ 154 w 1128" name="T40"/>
                <a:gd fmla="*/ 130 h 960" name="T41"/>
                <a:gd fmla="*/ 153 w 1128" name="T42"/>
                <a:gd fmla="*/ 140 h 960" name="T43"/>
                <a:gd fmla="*/ 140 w 1128" name="T44"/>
                <a:gd fmla="*/ 149 h 960" name="T45"/>
                <a:gd fmla="*/ 134 w 1128" name="T46"/>
                <a:gd fmla="*/ 149 h 960" name="T47"/>
                <a:gd fmla="*/ 132 w 1128" name="T48"/>
                <a:gd fmla="*/ 148 h 960" name="T49"/>
                <a:gd fmla="*/ 130 w 1128" name="T50"/>
                <a:gd fmla="*/ 148 h 960" name="T51"/>
                <a:gd fmla="*/ 126 w 1128" name="T52"/>
                <a:gd fmla="*/ 154 h 960" name="T53"/>
                <a:gd fmla="*/ 116 w 1128" name="T54"/>
                <a:gd fmla="*/ 163 h 960" name="T55"/>
                <a:gd fmla="*/ 110 w 1128" name="T56"/>
                <a:gd fmla="*/ 167 h 960" name="T57"/>
                <a:gd fmla="*/ 97 w 1128" name="T58"/>
                <a:gd fmla="*/ 168 h 960" name="T59"/>
                <a:gd fmla="*/ 87 w 1128" name="T60"/>
                <a:gd fmla="*/ 171 h 960" name="T61"/>
                <a:gd fmla="*/ 75 w 1128" name="T62"/>
                <a:gd fmla="*/ 179 h 960" name="T63"/>
                <a:gd fmla="*/ 56 w 1128" name="T64"/>
                <a:gd fmla="*/ 185 h 960" name="T65"/>
                <a:gd fmla="*/ 46 w 1128" name="T66"/>
                <a:gd fmla="*/ 186 h 960" name="T67"/>
                <a:gd fmla="*/ 38 w 1128" name="T68"/>
                <a:gd fmla="*/ 194 h 960" name="T69"/>
                <a:gd fmla="*/ 29 w 1128" name="T70"/>
                <a:gd fmla="*/ 199 h 960" name="T71"/>
                <a:gd fmla="*/ 23 w 1128" name="T72"/>
                <a:gd fmla="*/ 207 h 960" name="T73"/>
                <a:gd fmla="*/ 26 w 1128" name="T74"/>
                <a:gd fmla="*/ 214 h 960" name="T75"/>
                <a:gd fmla="*/ 35 w 1128" name="T76"/>
                <a:gd fmla="*/ 227 h 960" name="T77"/>
                <a:gd fmla="*/ 35 w 1128" name="T78"/>
                <a:gd fmla="*/ 235 h 960" name="T79"/>
                <a:gd fmla="*/ 24 w 1128" name="T80"/>
                <a:gd fmla="*/ 240 h 960" name="T81"/>
                <a:gd fmla="*/ 13 w 1128" name="T82"/>
                <a:gd fmla="*/ 235 h 960" name="T83"/>
                <a:gd fmla="*/ 4 w 1128" name="T84"/>
                <a:gd fmla="*/ 222 h 960" name="T85"/>
                <a:gd fmla="*/ 1 w 1128" name="T86"/>
                <a:gd fmla="*/ 210 h 960" name="T87"/>
                <a:gd fmla="*/ 1 w 1128" name="T88"/>
                <a:gd fmla="*/ 200 h 960" name="T89"/>
                <a:gd fmla="*/ 8 w 1128" name="T90"/>
                <a:gd fmla="*/ 189 h 960" name="T91"/>
                <a:gd fmla="*/ 0 w 1128" name="T92"/>
                <a:gd fmla="*/ 184 h 960" name="T93"/>
                <a:gd fmla="*/ 19 w 1128" name="T94"/>
                <a:gd fmla="*/ 160 h 960" name="T95"/>
                <a:gd fmla="*/ 37 w 1128" name="T96"/>
                <a:gd fmla="*/ 139 h 960" name="T97"/>
                <a:gd fmla="*/ 59 w 1128" name="T98"/>
                <a:gd fmla="*/ 101 h 960" name="T99"/>
                <a:gd fmla="*/ 74 w 1128" name="T100"/>
                <a:gd fmla="*/ 62 h 960" name="T101"/>
                <a:gd fmla="*/ 82 w 1128" name="T102"/>
                <a:gd fmla="*/ 36 h 960" name="T103"/>
                <a:gd fmla="*/ 121 w 1128" name="T104"/>
                <a:gd fmla="*/ 3 h 960" name="T105"/>
                <a:gd fmla="*/ 156 w 1128" name="T106"/>
                <a:gd fmla="*/ 8 h 960" name="T107"/>
                <a:gd fmla="*/ 170 w 1128" name="T108"/>
                <a:gd fmla="*/ 24 h 960" name="T109"/>
                <a:gd fmla="*/ 185 w 1128" name="T110"/>
                <a:gd fmla="*/ 32 h 960" name="T111"/>
                <a:gd fmla="*/ 224 w 1128" name="T112"/>
                <a:gd fmla="*/ 15 h 960" name="T113"/>
                <a:gd fmla="*/ 272 w 1128" name="T114"/>
                <a:gd fmla="*/ 41 h 960"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w 1128" name="T174"/>
                <a:gd fmla="*/ 0 h 960" name="T175"/>
                <a:gd fmla="*/ 1128 w 1128" name="T176"/>
                <a:gd fmla="*/ 960 h 960" name="T17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T177" l="T174" r="T176" t="T175"/>
              <a:pathLst>
                <a:path h="960" w="1128">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34" name="Freeform 78"/>
            <p:cNvSpPr/>
            <p:nvPr/>
          </p:nvSpPr>
          <p:spPr bwMode="gray">
            <a:xfrm>
              <a:off x="3188" y="3319"/>
              <a:ext cx="564" cy="480"/>
            </a:xfrm>
            <a:custGeom>
              <a:gdLst>
                <a:gd fmla="*/ 279 w 1128" name="T0"/>
                <a:gd fmla="*/ 62 h 960" name="T1"/>
                <a:gd fmla="*/ 272 w 1128" name="T2"/>
                <a:gd fmla="*/ 67 h 960" name="T3"/>
                <a:gd fmla="*/ 266 w 1128" name="T4"/>
                <a:gd fmla="*/ 77 h 960" name="T5"/>
                <a:gd fmla="*/ 261 w 1128" name="T6"/>
                <a:gd fmla="*/ 87 h 960" name="T7"/>
                <a:gd fmla="*/ 254 w 1128" name="T8"/>
                <a:gd fmla="*/ 97 h 960" name="T9"/>
                <a:gd fmla="*/ 241 w 1128" name="T10"/>
                <a:gd fmla="*/ 103 h 960" name="T11"/>
                <a:gd fmla="*/ 230 w 1128" name="T12"/>
                <a:gd fmla="*/ 104 h 960" name="T13"/>
                <a:gd fmla="*/ 216 w 1128" name="T14"/>
                <a:gd fmla="*/ 103 h 960" name="T15"/>
                <a:gd fmla="*/ 203 w 1128" name="T16"/>
                <a:gd fmla="*/ 110 h 960" name="T17"/>
                <a:gd fmla="*/ 199 w 1128" name="T18"/>
                <a:gd fmla="*/ 115 h 960" name="T19"/>
                <a:gd fmla="*/ 198 w 1128" name="T20"/>
                <a:gd fmla="*/ 118 h 960" name="T21"/>
                <a:gd fmla="*/ 196 w 1128" name="T22"/>
                <a:gd fmla="*/ 119 h 960" name="T23"/>
                <a:gd fmla="*/ 190 w 1128" name="T24"/>
                <a:gd fmla="*/ 114 h 960" name="T25"/>
                <a:gd fmla="*/ 183 w 1128" name="T26"/>
                <a:gd fmla="*/ 118 h 960" name="T27"/>
                <a:gd fmla="*/ 177 w 1128" name="T28"/>
                <a:gd fmla="*/ 127 h 960" name="T29"/>
                <a:gd fmla="*/ 164 w 1128" name="T30"/>
                <a:gd fmla="*/ 127 h 960" name="T31"/>
                <a:gd fmla="*/ 155 w 1128" name="T32"/>
                <a:gd fmla="*/ 120 h 960" name="T33"/>
                <a:gd fmla="*/ 148 w 1128" name="T34"/>
                <a:gd fmla="*/ 111 h 960" name="T35"/>
                <a:gd fmla="*/ 143 w 1128" name="T36"/>
                <a:gd fmla="*/ 113 h 960" name="T37"/>
                <a:gd fmla="*/ 147 w 1128" name="T38"/>
                <a:gd fmla="*/ 122 h 960" name="T39"/>
                <a:gd fmla="*/ 154 w 1128" name="T40"/>
                <a:gd fmla="*/ 130 h 960" name="T41"/>
                <a:gd fmla="*/ 153 w 1128" name="T42"/>
                <a:gd fmla="*/ 140 h 960" name="T43"/>
                <a:gd fmla="*/ 140 w 1128" name="T44"/>
                <a:gd fmla="*/ 149 h 960" name="T45"/>
                <a:gd fmla="*/ 134 w 1128" name="T46"/>
                <a:gd fmla="*/ 149 h 960" name="T47"/>
                <a:gd fmla="*/ 132 w 1128" name="T48"/>
                <a:gd fmla="*/ 148 h 960" name="T49"/>
                <a:gd fmla="*/ 130 w 1128" name="T50"/>
                <a:gd fmla="*/ 148 h 960" name="T51"/>
                <a:gd fmla="*/ 126 w 1128" name="T52"/>
                <a:gd fmla="*/ 154 h 960" name="T53"/>
                <a:gd fmla="*/ 116 w 1128" name="T54"/>
                <a:gd fmla="*/ 163 h 960" name="T55"/>
                <a:gd fmla="*/ 110 w 1128" name="T56"/>
                <a:gd fmla="*/ 167 h 960" name="T57"/>
                <a:gd fmla="*/ 97 w 1128" name="T58"/>
                <a:gd fmla="*/ 168 h 960" name="T59"/>
                <a:gd fmla="*/ 87 w 1128" name="T60"/>
                <a:gd fmla="*/ 171 h 960" name="T61"/>
                <a:gd fmla="*/ 75 w 1128" name="T62"/>
                <a:gd fmla="*/ 179 h 960" name="T63"/>
                <a:gd fmla="*/ 56 w 1128" name="T64"/>
                <a:gd fmla="*/ 185 h 960" name="T65"/>
                <a:gd fmla="*/ 46 w 1128" name="T66"/>
                <a:gd fmla="*/ 186 h 960" name="T67"/>
                <a:gd fmla="*/ 38 w 1128" name="T68"/>
                <a:gd fmla="*/ 194 h 960" name="T69"/>
                <a:gd fmla="*/ 29 w 1128" name="T70"/>
                <a:gd fmla="*/ 199 h 960" name="T71"/>
                <a:gd fmla="*/ 23 w 1128" name="T72"/>
                <a:gd fmla="*/ 207 h 960" name="T73"/>
                <a:gd fmla="*/ 26 w 1128" name="T74"/>
                <a:gd fmla="*/ 214 h 960" name="T75"/>
                <a:gd fmla="*/ 35 w 1128" name="T76"/>
                <a:gd fmla="*/ 227 h 960" name="T77"/>
                <a:gd fmla="*/ 35 w 1128" name="T78"/>
                <a:gd fmla="*/ 235 h 960" name="T79"/>
                <a:gd fmla="*/ 24 w 1128" name="T80"/>
                <a:gd fmla="*/ 240 h 960" name="T81"/>
                <a:gd fmla="*/ 13 w 1128" name="T82"/>
                <a:gd fmla="*/ 235 h 960" name="T83"/>
                <a:gd fmla="*/ 4 w 1128" name="T84"/>
                <a:gd fmla="*/ 222 h 960" name="T85"/>
                <a:gd fmla="*/ 1 w 1128" name="T86"/>
                <a:gd fmla="*/ 210 h 960" name="T87"/>
                <a:gd fmla="*/ 1 w 1128" name="T88"/>
                <a:gd fmla="*/ 200 h 960" name="T89"/>
                <a:gd fmla="*/ 8 w 1128" name="T90"/>
                <a:gd fmla="*/ 189 h 960" name="T91"/>
                <a:gd fmla="*/ 0 w 1128" name="T92"/>
                <a:gd fmla="*/ 184 h 960" name="T93"/>
                <a:gd fmla="*/ 19 w 1128" name="T94"/>
                <a:gd fmla="*/ 160 h 960" name="T95"/>
                <a:gd fmla="*/ 37 w 1128" name="T96"/>
                <a:gd fmla="*/ 139 h 960" name="T97"/>
                <a:gd fmla="*/ 59 w 1128" name="T98"/>
                <a:gd fmla="*/ 101 h 960" name="T99"/>
                <a:gd fmla="*/ 74 w 1128" name="T100"/>
                <a:gd fmla="*/ 62 h 960" name="T101"/>
                <a:gd fmla="*/ 82 w 1128" name="T102"/>
                <a:gd fmla="*/ 36 h 960" name="T103"/>
                <a:gd fmla="*/ 121 w 1128" name="T104"/>
                <a:gd fmla="*/ 3 h 960" name="T105"/>
                <a:gd fmla="*/ 156 w 1128" name="T106"/>
                <a:gd fmla="*/ 8 h 960" name="T107"/>
                <a:gd fmla="*/ 170 w 1128" name="T108"/>
                <a:gd fmla="*/ 24 h 960" name="T109"/>
                <a:gd fmla="*/ 185 w 1128" name="T110"/>
                <a:gd fmla="*/ 32 h 960" name="T111"/>
                <a:gd fmla="*/ 224 w 1128" name="T112"/>
                <a:gd fmla="*/ 15 h 960" name="T113"/>
                <a:gd fmla="*/ 272 w 1128" name="T114"/>
                <a:gd fmla="*/ 41 h 960"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w 1128" name="T174"/>
                <a:gd fmla="*/ 0 h 960" name="T175"/>
                <a:gd fmla="*/ 1128 w 1128" name="T176"/>
                <a:gd fmla="*/ 960 h 960" name="T17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T177" l="T174" r="T176" t="T175"/>
              <a:pathLst>
                <a:path h="960" w="1128">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altLang="en-US" lang="zh-CN" sz="2400"/>
            </a:p>
          </p:txBody>
        </p:sp>
        <p:sp>
          <p:nvSpPr>
            <p:cNvPr id="35" name="Freeform 79"/>
            <p:cNvSpPr/>
            <p:nvPr/>
          </p:nvSpPr>
          <p:spPr bwMode="gray">
            <a:xfrm>
              <a:off x="3636" y="3029"/>
              <a:ext cx="313" cy="413"/>
            </a:xfrm>
            <a:custGeom>
              <a:gdLst>
                <a:gd fmla="*/ 156 w 626" name="T0"/>
                <a:gd fmla="*/ 31 h 825" name="T1"/>
                <a:gd fmla="*/ 154 w 626" name="T2"/>
                <a:gd fmla="*/ 37 h 825" name="T3"/>
                <a:gd fmla="*/ 152 w 626" name="T4"/>
                <a:gd fmla="*/ 44 h 825" name="T5"/>
                <a:gd fmla="*/ 146 w 626" name="T6"/>
                <a:gd fmla="*/ 52 h 825" name="T7"/>
                <a:gd fmla="*/ 138 w 626" name="T8"/>
                <a:gd fmla="*/ 57 h 825" name="T9"/>
                <a:gd fmla="*/ 131 w 626" name="T10"/>
                <a:gd fmla="*/ 61 h 825" name="T11"/>
                <a:gd fmla="*/ 130 w 626" name="T12"/>
                <a:gd fmla="*/ 62 h 825" name="T13"/>
                <a:gd fmla="*/ 132 w 626" name="T14"/>
                <a:gd fmla="*/ 68 h 825" name="T15"/>
                <a:gd fmla="*/ 135 w 626" name="T16"/>
                <a:gd fmla="*/ 75 h 825" name="T17"/>
                <a:gd fmla="*/ 136 w 626" name="T18"/>
                <a:gd fmla="*/ 81 h 825" name="T19"/>
                <a:gd fmla="*/ 136 w 626" name="T20"/>
                <a:gd fmla="*/ 89 h 825" name="T21"/>
                <a:gd fmla="*/ 137 w 626" name="T22"/>
                <a:gd fmla="*/ 95 h 825" name="T23"/>
                <a:gd fmla="*/ 138 w 626" name="T24"/>
                <a:gd fmla="*/ 104 h 825" name="T25"/>
                <a:gd fmla="*/ 131 w 626" name="T26"/>
                <a:gd fmla="*/ 112 h 825" name="T27"/>
                <a:gd fmla="*/ 122 w 626" name="T28"/>
                <a:gd fmla="*/ 120 h 825" name="T29"/>
                <a:gd fmla="*/ 117 w 626" name="T30"/>
                <a:gd fmla="*/ 131 h 825" name="T31"/>
                <a:gd fmla="*/ 115 w 626" name="T32"/>
                <a:gd fmla="*/ 142 h 825" name="T33"/>
                <a:gd fmla="*/ 110 w 626" name="T34"/>
                <a:gd fmla="*/ 151 h 825" name="T35"/>
                <a:gd fmla="*/ 103 w 626" name="T36"/>
                <a:gd fmla="*/ 156 h 825" name="T37"/>
                <a:gd fmla="*/ 94 w 626" name="T38"/>
                <a:gd fmla="*/ 158 h 825" name="T39"/>
                <a:gd fmla="*/ 86 w 626" name="T40"/>
                <a:gd fmla="*/ 161 h 825" name="T41"/>
                <a:gd fmla="*/ 85 w 626" name="T42"/>
                <a:gd fmla="*/ 165 h 825" name="T43"/>
                <a:gd fmla="*/ 89 w 626" name="T44"/>
                <a:gd fmla="*/ 171 h 825" name="T45"/>
                <a:gd fmla="*/ 90 w 626" name="T46"/>
                <a:gd fmla="*/ 176 h 825" name="T47"/>
                <a:gd fmla="*/ 86 w 626" name="T48"/>
                <a:gd fmla="*/ 182 h 825" name="T49"/>
                <a:gd fmla="*/ 80 w 626" name="T50"/>
                <a:gd fmla="*/ 189 h 825" name="T51"/>
                <a:gd fmla="*/ 76 w 626" name="T52"/>
                <a:gd fmla="*/ 193 h 825" name="T53"/>
                <a:gd fmla="*/ 69 w 626" name="T54"/>
                <a:gd fmla="*/ 199 h 825" name="T55"/>
                <a:gd fmla="*/ 61 w 626" name="T56"/>
                <a:gd fmla="*/ 204 h 825" name="T57"/>
                <a:gd fmla="*/ 58 w 626" name="T58"/>
                <a:gd fmla="*/ 207 h 825" name="T59"/>
                <a:gd fmla="*/ 48 w 626" name="T60"/>
                <a:gd fmla="*/ 185 h 825" name="T61"/>
                <a:gd fmla="*/ 22 w 626" name="T62"/>
                <a:gd fmla="*/ 161 h 825" name="T63"/>
                <a:gd fmla="*/ 0 w 626" name="T64"/>
                <a:gd fmla="*/ 146 h 825" name="T65"/>
                <a:gd fmla="*/ 15 w 626" name="T66"/>
                <a:gd fmla="*/ 107 h 825" name="T67"/>
                <a:gd fmla="*/ 20 w 626" name="T68"/>
                <a:gd fmla="*/ 88 h 825" name="T69"/>
                <a:gd fmla="*/ 18 w 626" name="T70"/>
                <a:gd fmla="*/ 67 h 825" name="T71"/>
                <a:gd fmla="*/ 34 w 626" name="T72"/>
                <a:gd fmla="*/ 43 h 825" name="T73"/>
                <a:gd fmla="*/ 42 w 626" name="T74"/>
                <a:gd fmla="*/ 24 h 825" name="T75"/>
                <a:gd fmla="*/ 63 w 626" name="T76"/>
                <a:gd fmla="*/ 17 h 825" name="T77"/>
                <a:gd fmla="*/ 75 w 626" name="T78"/>
                <a:gd fmla="*/ 1 h 825" name="T79"/>
                <a:gd fmla="*/ 92 w 626" name="T80"/>
                <a:gd fmla="*/ 14 h 825" name="T81"/>
                <a:gd fmla="*/ 114 w 626" name="T82"/>
                <a:gd fmla="*/ 32 h 825" name="T83"/>
                <a:gd fmla="*/ 135 w 626" name="T84"/>
                <a:gd fmla="*/ 32 h 825" name="T85"/>
                <a:gd fmla="*/ 151 w 626" name="T86"/>
                <a:gd fmla="*/ 25 h 825"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w 626" name="T132"/>
                <a:gd fmla="*/ 0 h 825" name="T133"/>
                <a:gd fmla="*/ 626 w 626" name="T134"/>
                <a:gd fmla="*/ 825 h 825" name="T13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T135" l="T132" r="T134" t="T133"/>
              <a:pathLst>
                <a:path h="825" w="626">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36" name="Freeform 80"/>
            <p:cNvSpPr/>
            <p:nvPr/>
          </p:nvSpPr>
          <p:spPr bwMode="gray">
            <a:xfrm>
              <a:off x="3636" y="3029"/>
              <a:ext cx="313" cy="413"/>
            </a:xfrm>
            <a:custGeom>
              <a:gdLst>
                <a:gd fmla="*/ 156 w 626" name="T0"/>
                <a:gd fmla="*/ 31 h 825" name="T1"/>
                <a:gd fmla="*/ 154 w 626" name="T2"/>
                <a:gd fmla="*/ 37 h 825" name="T3"/>
                <a:gd fmla="*/ 152 w 626" name="T4"/>
                <a:gd fmla="*/ 44 h 825" name="T5"/>
                <a:gd fmla="*/ 146 w 626" name="T6"/>
                <a:gd fmla="*/ 52 h 825" name="T7"/>
                <a:gd fmla="*/ 138 w 626" name="T8"/>
                <a:gd fmla="*/ 57 h 825" name="T9"/>
                <a:gd fmla="*/ 131 w 626" name="T10"/>
                <a:gd fmla="*/ 61 h 825" name="T11"/>
                <a:gd fmla="*/ 130 w 626" name="T12"/>
                <a:gd fmla="*/ 62 h 825" name="T13"/>
                <a:gd fmla="*/ 132 w 626" name="T14"/>
                <a:gd fmla="*/ 68 h 825" name="T15"/>
                <a:gd fmla="*/ 135 w 626" name="T16"/>
                <a:gd fmla="*/ 75 h 825" name="T17"/>
                <a:gd fmla="*/ 136 w 626" name="T18"/>
                <a:gd fmla="*/ 81 h 825" name="T19"/>
                <a:gd fmla="*/ 136 w 626" name="T20"/>
                <a:gd fmla="*/ 89 h 825" name="T21"/>
                <a:gd fmla="*/ 137 w 626" name="T22"/>
                <a:gd fmla="*/ 95 h 825" name="T23"/>
                <a:gd fmla="*/ 138 w 626" name="T24"/>
                <a:gd fmla="*/ 104 h 825" name="T25"/>
                <a:gd fmla="*/ 131 w 626" name="T26"/>
                <a:gd fmla="*/ 112 h 825" name="T27"/>
                <a:gd fmla="*/ 122 w 626" name="T28"/>
                <a:gd fmla="*/ 120 h 825" name="T29"/>
                <a:gd fmla="*/ 117 w 626" name="T30"/>
                <a:gd fmla="*/ 131 h 825" name="T31"/>
                <a:gd fmla="*/ 115 w 626" name="T32"/>
                <a:gd fmla="*/ 142 h 825" name="T33"/>
                <a:gd fmla="*/ 110 w 626" name="T34"/>
                <a:gd fmla="*/ 151 h 825" name="T35"/>
                <a:gd fmla="*/ 103 w 626" name="T36"/>
                <a:gd fmla="*/ 156 h 825" name="T37"/>
                <a:gd fmla="*/ 94 w 626" name="T38"/>
                <a:gd fmla="*/ 158 h 825" name="T39"/>
                <a:gd fmla="*/ 86 w 626" name="T40"/>
                <a:gd fmla="*/ 161 h 825" name="T41"/>
                <a:gd fmla="*/ 85 w 626" name="T42"/>
                <a:gd fmla="*/ 165 h 825" name="T43"/>
                <a:gd fmla="*/ 89 w 626" name="T44"/>
                <a:gd fmla="*/ 171 h 825" name="T45"/>
                <a:gd fmla="*/ 90 w 626" name="T46"/>
                <a:gd fmla="*/ 176 h 825" name="T47"/>
                <a:gd fmla="*/ 86 w 626" name="T48"/>
                <a:gd fmla="*/ 182 h 825" name="T49"/>
                <a:gd fmla="*/ 80 w 626" name="T50"/>
                <a:gd fmla="*/ 189 h 825" name="T51"/>
                <a:gd fmla="*/ 76 w 626" name="T52"/>
                <a:gd fmla="*/ 193 h 825" name="T53"/>
                <a:gd fmla="*/ 69 w 626" name="T54"/>
                <a:gd fmla="*/ 199 h 825" name="T55"/>
                <a:gd fmla="*/ 61 w 626" name="T56"/>
                <a:gd fmla="*/ 204 h 825" name="T57"/>
                <a:gd fmla="*/ 58 w 626" name="T58"/>
                <a:gd fmla="*/ 207 h 825" name="T59"/>
                <a:gd fmla="*/ 48 w 626" name="T60"/>
                <a:gd fmla="*/ 185 h 825" name="T61"/>
                <a:gd fmla="*/ 22 w 626" name="T62"/>
                <a:gd fmla="*/ 161 h 825" name="T63"/>
                <a:gd fmla="*/ 0 w 626" name="T64"/>
                <a:gd fmla="*/ 146 h 825" name="T65"/>
                <a:gd fmla="*/ 15 w 626" name="T66"/>
                <a:gd fmla="*/ 107 h 825" name="T67"/>
                <a:gd fmla="*/ 20 w 626" name="T68"/>
                <a:gd fmla="*/ 88 h 825" name="T69"/>
                <a:gd fmla="*/ 18 w 626" name="T70"/>
                <a:gd fmla="*/ 67 h 825" name="T71"/>
                <a:gd fmla="*/ 34 w 626" name="T72"/>
                <a:gd fmla="*/ 43 h 825" name="T73"/>
                <a:gd fmla="*/ 42 w 626" name="T74"/>
                <a:gd fmla="*/ 24 h 825" name="T75"/>
                <a:gd fmla="*/ 63 w 626" name="T76"/>
                <a:gd fmla="*/ 17 h 825" name="T77"/>
                <a:gd fmla="*/ 75 w 626" name="T78"/>
                <a:gd fmla="*/ 1 h 825" name="T79"/>
                <a:gd fmla="*/ 92 w 626" name="T80"/>
                <a:gd fmla="*/ 14 h 825" name="T81"/>
                <a:gd fmla="*/ 114 w 626" name="T82"/>
                <a:gd fmla="*/ 32 h 825" name="T83"/>
                <a:gd fmla="*/ 135 w 626" name="T84"/>
                <a:gd fmla="*/ 32 h 825" name="T85"/>
                <a:gd fmla="*/ 151 w 626" name="T86"/>
                <a:gd fmla="*/ 25 h 825"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w 626" name="T132"/>
                <a:gd fmla="*/ 0 h 825" name="T133"/>
                <a:gd fmla="*/ 626 w 626" name="T134"/>
                <a:gd fmla="*/ 825 h 825" name="T13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T135" l="T132" r="T134" t="T133"/>
              <a:pathLst>
                <a:path h="825" w="626">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altLang="en-US" lang="zh-CN" sz="2400"/>
            </a:p>
          </p:txBody>
        </p:sp>
        <p:sp>
          <p:nvSpPr>
            <p:cNvPr id="37" name="Freeform 81"/>
            <p:cNvSpPr/>
            <p:nvPr/>
          </p:nvSpPr>
          <p:spPr bwMode="gray">
            <a:xfrm>
              <a:off x="3746" y="2774"/>
              <a:ext cx="283" cy="318"/>
            </a:xfrm>
            <a:custGeom>
              <a:gdLst>
                <a:gd fmla="*/ 109 w 565" name="T0"/>
                <a:gd fmla="*/ 11 h 638" name="T1"/>
                <a:gd fmla="*/ 106 w 565" name="T2"/>
                <a:gd fmla="*/ 11 h 638" name="T3"/>
                <a:gd fmla="*/ 103 w 565" name="T4"/>
                <a:gd fmla="*/ 14 h 638" name="T5"/>
                <a:gd fmla="*/ 100 w 565" name="T6"/>
                <a:gd fmla="*/ 21 h 638" name="T7"/>
                <a:gd fmla="*/ 99 w 565" name="T8"/>
                <a:gd fmla="*/ 28 h 638" name="T9"/>
                <a:gd fmla="*/ 96 w 565" name="T10"/>
                <a:gd fmla="*/ 31 h 638" name="T11"/>
                <a:gd fmla="*/ 90 w 565" name="T12"/>
                <a:gd fmla="*/ 29 h 638" name="T13"/>
                <a:gd fmla="*/ 84 w 565" name="T14"/>
                <a:gd fmla="*/ 26 h 638" name="T15"/>
                <a:gd fmla="*/ 80 w 565" name="T16"/>
                <a:gd fmla="*/ 26 h 638" name="T17"/>
                <a:gd fmla="*/ 82 w 565" name="T18"/>
                <a:gd fmla="*/ 32 h 638" name="T19"/>
                <a:gd fmla="*/ 87 w 565" name="T20"/>
                <a:gd fmla="*/ 36 h 638" name="T21"/>
                <a:gd fmla="*/ 93 w 565" name="T22"/>
                <a:gd fmla="*/ 38 h 638" name="T23"/>
                <a:gd fmla="*/ 101 w 565" name="T24"/>
                <a:gd fmla="*/ 35 h 638" name="T25"/>
                <a:gd fmla="*/ 104 w 565" name="T26"/>
                <a:gd fmla="*/ 31 h 638" name="T27"/>
                <a:gd fmla="*/ 106 w 565" name="T28"/>
                <a:gd fmla="*/ 25 h 638" name="T29"/>
                <a:gd fmla="*/ 110 w 565" name="T30"/>
                <a:gd fmla="*/ 24 h 638" name="T31"/>
                <a:gd fmla="*/ 117 w 565" name="T32"/>
                <a:gd fmla="*/ 30 h 638" name="T33"/>
                <a:gd fmla="*/ 126 w 565" name="T34"/>
                <a:gd fmla="*/ 34 h 638" name="T35"/>
                <a:gd fmla="*/ 131 w 565" name="T36"/>
                <a:gd fmla="*/ 36 h 638" name="T37"/>
                <a:gd fmla="*/ 138 w 565" name="T38"/>
                <a:gd fmla="*/ 38 h 638" name="T39"/>
                <a:gd fmla="*/ 142 w 565" name="T40"/>
                <a:gd fmla="*/ 44 h 638" name="T41"/>
                <a:gd fmla="*/ 139 w 565" name="T42"/>
                <a:gd fmla="*/ 51 h 638" name="T43"/>
                <a:gd fmla="*/ 133 w 565" name="T44"/>
                <a:gd fmla="*/ 58 h 638" name="T45"/>
                <a:gd fmla="*/ 130 w 565" name="T46"/>
                <a:gd fmla="*/ 60 h 638" name="T47"/>
                <a:gd fmla="*/ 134 w 565" name="T48"/>
                <a:gd fmla="*/ 60 h 638" name="T49"/>
                <a:gd fmla="*/ 139 w 565" name="T50"/>
                <a:gd fmla="*/ 60 h 638" name="T51"/>
                <a:gd fmla="*/ 141 w 565" name="T52"/>
                <a:gd fmla="*/ 63 h 638" name="T53"/>
                <a:gd fmla="*/ 136 w 565" name="T54"/>
                <a:gd fmla="*/ 67 h 638" name="T55"/>
                <a:gd fmla="*/ 129 w 565" name="T56"/>
                <a:gd fmla="*/ 71 h 638" name="T57"/>
                <a:gd fmla="*/ 126 w 565" name="T58"/>
                <a:gd fmla="*/ 73 h 638" name="T59"/>
                <a:gd fmla="*/ 129 w 565" name="T60"/>
                <a:gd fmla="*/ 73 h 638" name="T61"/>
                <a:gd fmla="*/ 135 w 565" name="T62"/>
                <a:gd fmla="*/ 78 h 638" name="T63"/>
                <a:gd fmla="*/ 136 w 565" name="T64"/>
                <a:gd fmla="*/ 88 h 638" name="T65"/>
                <a:gd fmla="*/ 138 w 565" name="T66"/>
                <a:gd fmla="*/ 98 h 638" name="T67"/>
                <a:gd fmla="*/ 141 w 565" name="T68"/>
                <a:gd fmla="*/ 104 h 638" name="T69"/>
                <a:gd fmla="*/ 141 w 565" name="T70"/>
                <a:gd fmla="*/ 108 h 638" name="T71"/>
                <a:gd fmla="*/ 136 w 565" name="T72"/>
                <a:gd fmla="*/ 112 h 638" name="T73"/>
                <a:gd fmla="*/ 129 w 565" name="T74"/>
                <a:gd fmla="*/ 111 h 638" name="T75"/>
                <a:gd fmla="*/ 123 w 565" name="T76"/>
                <a:gd fmla="*/ 110 h 638" name="T77"/>
                <a:gd fmla="*/ 119 w 565" name="T78"/>
                <a:gd fmla="*/ 116 h 638" name="T79"/>
                <a:gd fmla="*/ 118 w 565" name="T80"/>
                <a:gd fmla="*/ 122 h 638" name="T81"/>
                <a:gd fmla="*/ 116 w 565" name="T82"/>
                <a:gd fmla="*/ 129 h 638" name="T83"/>
                <a:gd fmla="*/ 113 w 565" name="T84"/>
                <a:gd fmla="*/ 136 h 638" name="T85"/>
                <a:gd fmla="*/ 112 w 565" name="T86"/>
                <a:gd fmla="*/ 146 h 638" name="T87"/>
                <a:gd fmla="*/ 112 w 565" name="T88"/>
                <a:gd fmla="*/ 150 h 638" name="T89"/>
                <a:gd fmla="*/ 102 w 565" name="T90"/>
                <a:gd fmla="*/ 158 h 638" name="T91"/>
                <a:gd fmla="*/ 88 w 565" name="T92"/>
                <a:gd fmla="*/ 158 h 638" name="T93"/>
                <a:gd fmla="*/ 69 w 565" name="T94"/>
                <a:gd fmla="*/ 148 h 638" name="T95"/>
                <a:gd fmla="*/ 47 w 565" name="T96"/>
                <a:gd fmla="*/ 155 h 638" name="T97"/>
                <a:gd fmla="*/ 35 w 565" name="T98"/>
                <a:gd fmla="*/ 128 h 638" name="T99"/>
                <a:gd fmla="*/ 20 w 565" name="T100"/>
                <a:gd fmla="*/ 113 h 638" name="T101"/>
                <a:gd fmla="*/ 5 w 565" name="T102"/>
                <a:gd fmla="*/ 83 h 638" name="T103"/>
                <a:gd fmla="*/ 27 w 565" name="T104"/>
                <a:gd fmla="*/ 49 h 638" name="T105"/>
                <a:gd fmla="*/ 42 w 565" name="T106"/>
                <a:gd fmla="*/ 36 h 638" name="T107"/>
                <a:gd fmla="*/ 46 w 565" name="T108"/>
                <a:gd fmla="*/ 12 h 638" name="T109"/>
                <a:gd fmla="*/ 56 w 565" name="T110"/>
                <a:gd fmla="*/ 0 h 638" name="T111"/>
                <a:gd fmla="*/ 76 w 565" name="T112"/>
                <a:gd fmla="*/ 7 h 638" name="T113"/>
                <a:gd fmla="*/ 96 w 565" name="T114"/>
                <a:gd fmla="*/ 1 h 638" name="T115"/>
                <a:gd fmla="*/ 109 w 565" name="T116"/>
                <a:gd fmla="*/ 11 h 638"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565" name="T177"/>
                <a:gd fmla="*/ 0 h 638" name="T178"/>
                <a:gd fmla="*/ 565 w 565" name="T179"/>
                <a:gd fmla="*/ 638 h 638"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638" w="565">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38" name="Freeform 82"/>
            <p:cNvSpPr/>
            <p:nvPr/>
          </p:nvSpPr>
          <p:spPr bwMode="gray">
            <a:xfrm>
              <a:off x="3746" y="2774"/>
              <a:ext cx="283" cy="318"/>
            </a:xfrm>
            <a:custGeom>
              <a:gdLst>
                <a:gd fmla="*/ 109 w 565" name="T0"/>
                <a:gd fmla="*/ 11 h 638" name="T1"/>
                <a:gd fmla="*/ 106 w 565" name="T2"/>
                <a:gd fmla="*/ 11 h 638" name="T3"/>
                <a:gd fmla="*/ 103 w 565" name="T4"/>
                <a:gd fmla="*/ 14 h 638" name="T5"/>
                <a:gd fmla="*/ 100 w 565" name="T6"/>
                <a:gd fmla="*/ 21 h 638" name="T7"/>
                <a:gd fmla="*/ 99 w 565" name="T8"/>
                <a:gd fmla="*/ 28 h 638" name="T9"/>
                <a:gd fmla="*/ 96 w 565" name="T10"/>
                <a:gd fmla="*/ 31 h 638" name="T11"/>
                <a:gd fmla="*/ 90 w 565" name="T12"/>
                <a:gd fmla="*/ 29 h 638" name="T13"/>
                <a:gd fmla="*/ 84 w 565" name="T14"/>
                <a:gd fmla="*/ 26 h 638" name="T15"/>
                <a:gd fmla="*/ 80 w 565" name="T16"/>
                <a:gd fmla="*/ 26 h 638" name="T17"/>
                <a:gd fmla="*/ 82 w 565" name="T18"/>
                <a:gd fmla="*/ 32 h 638" name="T19"/>
                <a:gd fmla="*/ 87 w 565" name="T20"/>
                <a:gd fmla="*/ 36 h 638" name="T21"/>
                <a:gd fmla="*/ 93 w 565" name="T22"/>
                <a:gd fmla="*/ 38 h 638" name="T23"/>
                <a:gd fmla="*/ 101 w 565" name="T24"/>
                <a:gd fmla="*/ 35 h 638" name="T25"/>
                <a:gd fmla="*/ 104 w 565" name="T26"/>
                <a:gd fmla="*/ 31 h 638" name="T27"/>
                <a:gd fmla="*/ 106 w 565" name="T28"/>
                <a:gd fmla="*/ 25 h 638" name="T29"/>
                <a:gd fmla="*/ 110 w 565" name="T30"/>
                <a:gd fmla="*/ 24 h 638" name="T31"/>
                <a:gd fmla="*/ 117 w 565" name="T32"/>
                <a:gd fmla="*/ 30 h 638" name="T33"/>
                <a:gd fmla="*/ 126 w 565" name="T34"/>
                <a:gd fmla="*/ 34 h 638" name="T35"/>
                <a:gd fmla="*/ 131 w 565" name="T36"/>
                <a:gd fmla="*/ 36 h 638" name="T37"/>
                <a:gd fmla="*/ 138 w 565" name="T38"/>
                <a:gd fmla="*/ 38 h 638" name="T39"/>
                <a:gd fmla="*/ 142 w 565" name="T40"/>
                <a:gd fmla="*/ 44 h 638" name="T41"/>
                <a:gd fmla="*/ 139 w 565" name="T42"/>
                <a:gd fmla="*/ 51 h 638" name="T43"/>
                <a:gd fmla="*/ 133 w 565" name="T44"/>
                <a:gd fmla="*/ 58 h 638" name="T45"/>
                <a:gd fmla="*/ 130 w 565" name="T46"/>
                <a:gd fmla="*/ 60 h 638" name="T47"/>
                <a:gd fmla="*/ 134 w 565" name="T48"/>
                <a:gd fmla="*/ 60 h 638" name="T49"/>
                <a:gd fmla="*/ 139 w 565" name="T50"/>
                <a:gd fmla="*/ 60 h 638" name="T51"/>
                <a:gd fmla="*/ 141 w 565" name="T52"/>
                <a:gd fmla="*/ 63 h 638" name="T53"/>
                <a:gd fmla="*/ 136 w 565" name="T54"/>
                <a:gd fmla="*/ 67 h 638" name="T55"/>
                <a:gd fmla="*/ 129 w 565" name="T56"/>
                <a:gd fmla="*/ 71 h 638" name="T57"/>
                <a:gd fmla="*/ 126 w 565" name="T58"/>
                <a:gd fmla="*/ 73 h 638" name="T59"/>
                <a:gd fmla="*/ 129 w 565" name="T60"/>
                <a:gd fmla="*/ 73 h 638" name="T61"/>
                <a:gd fmla="*/ 135 w 565" name="T62"/>
                <a:gd fmla="*/ 78 h 638" name="T63"/>
                <a:gd fmla="*/ 136 w 565" name="T64"/>
                <a:gd fmla="*/ 88 h 638" name="T65"/>
                <a:gd fmla="*/ 138 w 565" name="T66"/>
                <a:gd fmla="*/ 98 h 638" name="T67"/>
                <a:gd fmla="*/ 141 w 565" name="T68"/>
                <a:gd fmla="*/ 104 h 638" name="T69"/>
                <a:gd fmla="*/ 141 w 565" name="T70"/>
                <a:gd fmla="*/ 108 h 638" name="T71"/>
                <a:gd fmla="*/ 136 w 565" name="T72"/>
                <a:gd fmla="*/ 112 h 638" name="T73"/>
                <a:gd fmla="*/ 129 w 565" name="T74"/>
                <a:gd fmla="*/ 111 h 638" name="T75"/>
                <a:gd fmla="*/ 123 w 565" name="T76"/>
                <a:gd fmla="*/ 110 h 638" name="T77"/>
                <a:gd fmla="*/ 119 w 565" name="T78"/>
                <a:gd fmla="*/ 116 h 638" name="T79"/>
                <a:gd fmla="*/ 118 w 565" name="T80"/>
                <a:gd fmla="*/ 122 h 638" name="T81"/>
                <a:gd fmla="*/ 116 w 565" name="T82"/>
                <a:gd fmla="*/ 129 h 638" name="T83"/>
                <a:gd fmla="*/ 113 w 565" name="T84"/>
                <a:gd fmla="*/ 136 h 638" name="T85"/>
                <a:gd fmla="*/ 112 w 565" name="T86"/>
                <a:gd fmla="*/ 146 h 638" name="T87"/>
                <a:gd fmla="*/ 112 w 565" name="T88"/>
                <a:gd fmla="*/ 150 h 638" name="T89"/>
                <a:gd fmla="*/ 102 w 565" name="T90"/>
                <a:gd fmla="*/ 158 h 638" name="T91"/>
                <a:gd fmla="*/ 88 w 565" name="T92"/>
                <a:gd fmla="*/ 158 h 638" name="T93"/>
                <a:gd fmla="*/ 69 w 565" name="T94"/>
                <a:gd fmla="*/ 148 h 638" name="T95"/>
                <a:gd fmla="*/ 47 w 565" name="T96"/>
                <a:gd fmla="*/ 155 h 638" name="T97"/>
                <a:gd fmla="*/ 35 w 565" name="T98"/>
                <a:gd fmla="*/ 128 h 638" name="T99"/>
                <a:gd fmla="*/ 20 w 565" name="T100"/>
                <a:gd fmla="*/ 113 h 638" name="T101"/>
                <a:gd fmla="*/ 5 w 565" name="T102"/>
                <a:gd fmla="*/ 83 h 638" name="T103"/>
                <a:gd fmla="*/ 27 w 565" name="T104"/>
                <a:gd fmla="*/ 49 h 638" name="T105"/>
                <a:gd fmla="*/ 42 w 565" name="T106"/>
                <a:gd fmla="*/ 36 h 638" name="T107"/>
                <a:gd fmla="*/ 46 w 565" name="T108"/>
                <a:gd fmla="*/ 12 h 638" name="T109"/>
                <a:gd fmla="*/ 56 w 565" name="T110"/>
                <a:gd fmla="*/ 0 h 638" name="T111"/>
                <a:gd fmla="*/ 76 w 565" name="T112"/>
                <a:gd fmla="*/ 7 h 638" name="T113"/>
                <a:gd fmla="*/ 96 w 565" name="T114"/>
                <a:gd fmla="*/ 1 h 638" name="T115"/>
                <a:gd fmla="*/ 109 w 565" name="T116"/>
                <a:gd fmla="*/ 11 h 638"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565" name="T177"/>
                <a:gd fmla="*/ 0 h 638" name="T178"/>
                <a:gd fmla="*/ 565 w 565" name="T179"/>
                <a:gd fmla="*/ 638 h 638"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638" w="565">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altLang="en-US" lang="zh-CN" sz="2400"/>
            </a:p>
          </p:txBody>
        </p:sp>
        <p:sp>
          <p:nvSpPr>
            <p:cNvPr id="39" name="Freeform 83"/>
            <p:cNvSpPr/>
            <p:nvPr/>
          </p:nvSpPr>
          <p:spPr bwMode="gray">
            <a:xfrm>
              <a:off x="3622" y="2455"/>
              <a:ext cx="383" cy="340"/>
            </a:xfrm>
            <a:custGeom>
              <a:gdLst>
                <a:gd fmla="*/ 67 w 766" name="T0"/>
                <a:gd fmla="*/ 11 h 681" name="T1"/>
                <a:gd fmla="*/ 71 w 766" name="T2"/>
                <a:gd fmla="*/ 13 h 681" name="T3"/>
                <a:gd fmla="*/ 79 w 766" name="T4"/>
                <a:gd fmla="*/ 17 h 681" name="T5"/>
                <a:gd fmla="*/ 85 w 766" name="T6"/>
                <a:gd fmla="*/ 22 h 681" name="T7"/>
                <a:gd fmla="*/ 96 w 766" name="T8"/>
                <a:gd fmla="*/ 25 h 681" name="T9"/>
                <a:gd fmla="*/ 105 w 766" name="T10"/>
                <a:gd fmla="*/ 28 h 681" name="T11"/>
                <a:gd fmla="*/ 110 w 766" name="T12"/>
                <a:gd fmla="*/ 34 h 681" name="T13"/>
                <a:gd fmla="*/ 114 w 766" name="T14"/>
                <a:gd fmla="*/ 41 h 681" name="T15"/>
                <a:gd fmla="*/ 120 w 766" name="T16"/>
                <a:gd fmla="*/ 51 h 681" name="T17"/>
                <a:gd fmla="*/ 126 w 766" name="T18"/>
                <a:gd fmla="*/ 59 h 681" name="T19"/>
                <a:gd fmla="*/ 133 w 766" name="T20"/>
                <a:gd fmla="*/ 69 h 681" name="T21"/>
                <a:gd fmla="*/ 138 w 766" name="T22"/>
                <a:gd fmla="*/ 79 h 681" name="T23"/>
                <a:gd fmla="*/ 138 w 766" name="T24"/>
                <a:gd fmla="*/ 85 h 681" name="T25"/>
                <a:gd fmla="*/ 141 w 766" name="T26"/>
                <a:gd fmla="*/ 92 h 681" name="T27"/>
                <a:gd fmla="*/ 152 w 766" name="T28"/>
                <a:gd fmla="*/ 96 h 681" name="T29"/>
                <a:gd fmla="*/ 162 w 766" name="T30"/>
                <a:gd fmla="*/ 99 h 681" name="T31"/>
                <a:gd fmla="*/ 168 w 766" name="T32"/>
                <a:gd fmla="*/ 106 h 681" name="T33"/>
                <a:gd fmla="*/ 174 w 766" name="T34"/>
                <a:gd fmla="*/ 112 h 681" name="T35"/>
                <a:gd fmla="*/ 179 w 766" name="T36"/>
                <a:gd fmla="*/ 116 h 681" name="T37"/>
                <a:gd fmla="*/ 183 w 766" name="T38"/>
                <a:gd fmla="*/ 121 h 681" name="T39"/>
                <a:gd fmla="*/ 181 w 766" name="T40"/>
                <a:gd fmla="*/ 124 h 681" name="T41"/>
                <a:gd fmla="*/ 173 w 766" name="T42"/>
                <a:gd fmla="*/ 125 h 681" name="T43"/>
                <a:gd fmla="*/ 161 w 766" name="T44"/>
                <a:gd fmla="*/ 124 h 681" name="T45"/>
                <a:gd fmla="*/ 153 w 766" name="T46"/>
                <a:gd fmla="*/ 124 h 681" name="T47"/>
                <a:gd fmla="*/ 153 w 766" name="T48"/>
                <a:gd fmla="*/ 124 h 681" name="T49"/>
                <a:gd fmla="*/ 158 w 766" name="T50"/>
                <a:gd fmla="*/ 126 h 681" name="T51"/>
                <a:gd fmla="*/ 165 w 766" name="T52"/>
                <a:gd fmla="*/ 130 h 681" name="T53"/>
                <a:gd fmla="*/ 168 w 766" name="T54"/>
                <a:gd fmla="*/ 134 h 681" name="T55"/>
                <a:gd fmla="*/ 177 w 766" name="T56"/>
                <a:gd fmla="*/ 139 h 681" name="T57"/>
                <a:gd fmla="*/ 184 w 766" name="T58"/>
                <a:gd fmla="*/ 144 h 681" name="T59"/>
                <a:gd fmla="*/ 189 w 766" name="T60"/>
                <a:gd fmla="*/ 150 h 681" name="T61"/>
                <a:gd fmla="*/ 192 w 766" name="T62"/>
                <a:gd fmla="*/ 155 h 681" name="T63"/>
                <a:gd fmla="*/ 190 w 766" name="T64"/>
                <a:gd fmla="*/ 157 h 681" name="T65"/>
                <a:gd fmla="*/ 183 w 766" name="T66"/>
                <a:gd fmla="*/ 161 h 681" name="T67"/>
                <a:gd fmla="*/ 177 w 766" name="T68"/>
                <a:gd fmla="*/ 164 h 681" name="T69"/>
                <a:gd fmla="*/ 175 w 766" name="T70"/>
                <a:gd fmla="*/ 166 h 681" name="T71"/>
                <a:gd fmla="*/ 173 w 766" name="T72"/>
                <a:gd fmla="*/ 168 h 681" name="T73"/>
                <a:gd fmla="*/ 171 w 766" name="T74"/>
                <a:gd fmla="*/ 169 h 681" name="T75"/>
                <a:gd fmla="*/ 170 w 766" name="T76"/>
                <a:gd fmla="*/ 170 h 681" name="T77"/>
                <a:gd fmla="*/ 158 w 766" name="T78"/>
                <a:gd fmla="*/ 160 h 681" name="T79"/>
                <a:gd fmla="*/ 125 w 766" name="T80"/>
                <a:gd fmla="*/ 167 h 681" name="T81"/>
                <a:gd fmla="*/ 108 w 766" name="T82"/>
                <a:gd fmla="*/ 161 h 681" name="T83"/>
                <a:gd fmla="*/ 89 w 766" name="T84"/>
                <a:gd fmla="*/ 158 h 681" name="T85"/>
                <a:gd fmla="*/ 75 w 766" name="T86"/>
                <a:gd fmla="*/ 148 h 681" name="T87"/>
                <a:gd fmla="*/ 57 w 766" name="T88"/>
                <a:gd fmla="*/ 128 h 681" name="T89"/>
                <a:gd fmla="*/ 49 w 766" name="T90"/>
                <a:gd fmla="*/ 101 h 681" name="T91"/>
                <a:gd fmla="*/ 36 w 766" name="T92"/>
                <a:gd fmla="*/ 67 h 681" name="T93"/>
                <a:gd fmla="*/ 21 w 766" name="T94"/>
                <a:gd fmla="*/ 64 h 681" name="T95"/>
                <a:gd fmla="*/ 0 w 766" name="T96"/>
                <a:gd fmla="*/ 55 h 681" name="T97"/>
                <a:gd fmla="*/ 18 w 766" name="T98"/>
                <a:gd fmla="*/ 31 h 681" name="T99"/>
                <a:gd fmla="*/ 30 w 766" name="T100"/>
                <a:gd fmla="*/ 25 h 681" name="T101"/>
                <a:gd fmla="*/ 51 w 766" name="T102"/>
                <a:gd fmla="*/ 19 h 681" name="T103"/>
                <a:gd fmla="*/ 66 w 766" name="T104"/>
                <a:gd fmla="*/ 0 h 681"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w 766" name="T159"/>
                <a:gd fmla="*/ 0 h 681" name="T160"/>
                <a:gd fmla="*/ 766 w 766" name="T161"/>
                <a:gd fmla="*/ 681 h 681" name="T162"/>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b="T162" l="T159" r="T161" t="T160"/>
              <a:pathLst>
                <a:path h="681" w="766">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40" name="Freeform 84"/>
            <p:cNvSpPr/>
            <p:nvPr/>
          </p:nvSpPr>
          <p:spPr bwMode="gray">
            <a:xfrm>
              <a:off x="3622" y="2455"/>
              <a:ext cx="383" cy="340"/>
            </a:xfrm>
            <a:custGeom>
              <a:gdLst>
                <a:gd fmla="*/ 67 w 766" name="T0"/>
                <a:gd fmla="*/ 11 h 681" name="T1"/>
                <a:gd fmla="*/ 71 w 766" name="T2"/>
                <a:gd fmla="*/ 13 h 681" name="T3"/>
                <a:gd fmla="*/ 79 w 766" name="T4"/>
                <a:gd fmla="*/ 17 h 681" name="T5"/>
                <a:gd fmla="*/ 85 w 766" name="T6"/>
                <a:gd fmla="*/ 22 h 681" name="T7"/>
                <a:gd fmla="*/ 96 w 766" name="T8"/>
                <a:gd fmla="*/ 25 h 681" name="T9"/>
                <a:gd fmla="*/ 105 w 766" name="T10"/>
                <a:gd fmla="*/ 28 h 681" name="T11"/>
                <a:gd fmla="*/ 110 w 766" name="T12"/>
                <a:gd fmla="*/ 34 h 681" name="T13"/>
                <a:gd fmla="*/ 114 w 766" name="T14"/>
                <a:gd fmla="*/ 41 h 681" name="T15"/>
                <a:gd fmla="*/ 120 w 766" name="T16"/>
                <a:gd fmla="*/ 51 h 681" name="T17"/>
                <a:gd fmla="*/ 126 w 766" name="T18"/>
                <a:gd fmla="*/ 59 h 681" name="T19"/>
                <a:gd fmla="*/ 133 w 766" name="T20"/>
                <a:gd fmla="*/ 69 h 681" name="T21"/>
                <a:gd fmla="*/ 138 w 766" name="T22"/>
                <a:gd fmla="*/ 79 h 681" name="T23"/>
                <a:gd fmla="*/ 138 w 766" name="T24"/>
                <a:gd fmla="*/ 85 h 681" name="T25"/>
                <a:gd fmla="*/ 141 w 766" name="T26"/>
                <a:gd fmla="*/ 92 h 681" name="T27"/>
                <a:gd fmla="*/ 152 w 766" name="T28"/>
                <a:gd fmla="*/ 96 h 681" name="T29"/>
                <a:gd fmla="*/ 162 w 766" name="T30"/>
                <a:gd fmla="*/ 99 h 681" name="T31"/>
                <a:gd fmla="*/ 168 w 766" name="T32"/>
                <a:gd fmla="*/ 106 h 681" name="T33"/>
                <a:gd fmla="*/ 174 w 766" name="T34"/>
                <a:gd fmla="*/ 112 h 681" name="T35"/>
                <a:gd fmla="*/ 179 w 766" name="T36"/>
                <a:gd fmla="*/ 116 h 681" name="T37"/>
                <a:gd fmla="*/ 183 w 766" name="T38"/>
                <a:gd fmla="*/ 121 h 681" name="T39"/>
                <a:gd fmla="*/ 181 w 766" name="T40"/>
                <a:gd fmla="*/ 124 h 681" name="T41"/>
                <a:gd fmla="*/ 173 w 766" name="T42"/>
                <a:gd fmla="*/ 125 h 681" name="T43"/>
                <a:gd fmla="*/ 161 w 766" name="T44"/>
                <a:gd fmla="*/ 124 h 681" name="T45"/>
                <a:gd fmla="*/ 153 w 766" name="T46"/>
                <a:gd fmla="*/ 124 h 681" name="T47"/>
                <a:gd fmla="*/ 153 w 766" name="T48"/>
                <a:gd fmla="*/ 124 h 681" name="T49"/>
                <a:gd fmla="*/ 158 w 766" name="T50"/>
                <a:gd fmla="*/ 126 h 681" name="T51"/>
                <a:gd fmla="*/ 165 w 766" name="T52"/>
                <a:gd fmla="*/ 130 h 681" name="T53"/>
                <a:gd fmla="*/ 168 w 766" name="T54"/>
                <a:gd fmla="*/ 134 h 681" name="T55"/>
                <a:gd fmla="*/ 177 w 766" name="T56"/>
                <a:gd fmla="*/ 139 h 681" name="T57"/>
                <a:gd fmla="*/ 184 w 766" name="T58"/>
                <a:gd fmla="*/ 144 h 681" name="T59"/>
                <a:gd fmla="*/ 189 w 766" name="T60"/>
                <a:gd fmla="*/ 150 h 681" name="T61"/>
                <a:gd fmla="*/ 192 w 766" name="T62"/>
                <a:gd fmla="*/ 155 h 681" name="T63"/>
                <a:gd fmla="*/ 190 w 766" name="T64"/>
                <a:gd fmla="*/ 157 h 681" name="T65"/>
                <a:gd fmla="*/ 183 w 766" name="T66"/>
                <a:gd fmla="*/ 161 h 681" name="T67"/>
                <a:gd fmla="*/ 177 w 766" name="T68"/>
                <a:gd fmla="*/ 164 h 681" name="T69"/>
                <a:gd fmla="*/ 175 w 766" name="T70"/>
                <a:gd fmla="*/ 166 h 681" name="T71"/>
                <a:gd fmla="*/ 173 w 766" name="T72"/>
                <a:gd fmla="*/ 168 h 681" name="T73"/>
                <a:gd fmla="*/ 171 w 766" name="T74"/>
                <a:gd fmla="*/ 169 h 681" name="T75"/>
                <a:gd fmla="*/ 170 w 766" name="T76"/>
                <a:gd fmla="*/ 170 h 681" name="T77"/>
                <a:gd fmla="*/ 158 w 766" name="T78"/>
                <a:gd fmla="*/ 160 h 681" name="T79"/>
                <a:gd fmla="*/ 125 w 766" name="T80"/>
                <a:gd fmla="*/ 167 h 681" name="T81"/>
                <a:gd fmla="*/ 108 w 766" name="T82"/>
                <a:gd fmla="*/ 161 h 681" name="T83"/>
                <a:gd fmla="*/ 89 w 766" name="T84"/>
                <a:gd fmla="*/ 158 h 681" name="T85"/>
                <a:gd fmla="*/ 75 w 766" name="T86"/>
                <a:gd fmla="*/ 148 h 681" name="T87"/>
                <a:gd fmla="*/ 57 w 766" name="T88"/>
                <a:gd fmla="*/ 128 h 681" name="T89"/>
                <a:gd fmla="*/ 49 w 766" name="T90"/>
                <a:gd fmla="*/ 101 h 681" name="T91"/>
                <a:gd fmla="*/ 36 w 766" name="T92"/>
                <a:gd fmla="*/ 67 h 681" name="T93"/>
                <a:gd fmla="*/ 21 w 766" name="T94"/>
                <a:gd fmla="*/ 64 h 681" name="T95"/>
                <a:gd fmla="*/ 0 w 766" name="T96"/>
                <a:gd fmla="*/ 55 h 681" name="T97"/>
                <a:gd fmla="*/ 18 w 766" name="T98"/>
                <a:gd fmla="*/ 31 h 681" name="T99"/>
                <a:gd fmla="*/ 30 w 766" name="T100"/>
                <a:gd fmla="*/ 25 h 681" name="T101"/>
                <a:gd fmla="*/ 51 w 766" name="T102"/>
                <a:gd fmla="*/ 19 h 681" name="T103"/>
                <a:gd fmla="*/ 66 w 766" name="T104"/>
                <a:gd fmla="*/ 0 h 681"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w 766" name="T159"/>
                <a:gd fmla="*/ 0 h 681" name="T160"/>
                <a:gd fmla="*/ 766 w 766" name="T161"/>
                <a:gd fmla="*/ 681 h 681" name="T162"/>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b="T162" l="T159" r="T161" t="T160"/>
              <a:pathLst>
                <a:path h="681" w="766">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altLang="en-US" lang="zh-CN" sz="2400"/>
            </a:p>
          </p:txBody>
        </p:sp>
        <p:sp>
          <p:nvSpPr>
            <p:cNvPr id="41" name="Freeform 85"/>
            <p:cNvSpPr/>
            <p:nvPr/>
          </p:nvSpPr>
          <p:spPr bwMode="gray">
            <a:xfrm>
              <a:off x="3848" y="2705"/>
              <a:ext cx="58" cy="77"/>
            </a:xfrm>
            <a:custGeom>
              <a:gdLst>
                <a:gd fmla="*/ 0 w 116" name="T0"/>
                <a:gd fmla="*/ 0 h 156" name="T1"/>
                <a:gd fmla="*/ 1 w 116" name="T2"/>
                <a:gd fmla="*/ 1 h 156" name="T3"/>
                <a:gd fmla="*/ 2 w 116" name="T4"/>
                <a:gd fmla="*/ 4 h 156" name="T5"/>
                <a:gd fmla="*/ 4 w 116" name="T6"/>
                <a:gd fmla="*/ 8 h 156" name="T7"/>
                <a:gd fmla="*/ 5 w 116" name="T8"/>
                <a:gd fmla="*/ 13 h 156" name="T9"/>
                <a:gd fmla="*/ 6 w 116" name="T10"/>
                <a:gd fmla="*/ 16 h 156" name="T11"/>
                <a:gd fmla="*/ 6 w 116" name="T12"/>
                <a:gd fmla="*/ 20 h 156" name="T13"/>
                <a:gd fmla="*/ 8 w 116" name="T14"/>
                <a:gd fmla="*/ 25 h 156" name="T15"/>
                <a:gd fmla="*/ 11 w 116" name="T16"/>
                <a:gd fmla="*/ 30 h 156" name="T17"/>
                <a:gd fmla="*/ 12 w 116" name="T18"/>
                <a:gd fmla="*/ 33 h 156" name="T19"/>
                <a:gd fmla="*/ 13 w 116" name="T20"/>
                <a:gd fmla="*/ 35 h 156" name="T21"/>
                <a:gd fmla="*/ 15 w 116" name="T22"/>
                <a:gd fmla="*/ 36 h 156" name="T23"/>
                <a:gd fmla="*/ 18 w 116" name="T24"/>
                <a:gd fmla="*/ 38 h 156" name="T25"/>
                <a:gd fmla="*/ 21 w 116" name="T26"/>
                <a:gd fmla="*/ 38 h 156" name="T27"/>
                <a:gd fmla="*/ 24 w 116" name="T28"/>
                <a:gd fmla="*/ 38 h 156" name="T29"/>
                <a:gd fmla="*/ 27 w 116" name="T30"/>
                <a:gd fmla="*/ 37 h 156" name="T31"/>
                <a:gd fmla="*/ 29 w 116" name="T32"/>
                <a:gd fmla="*/ 34 h 156" name="T33"/>
                <a:gd fmla="*/ 29 w 116" name="T34"/>
                <a:gd fmla="*/ 30 h 156" name="T35"/>
                <a:gd fmla="*/ 27 w 116" name="T36"/>
                <a:gd fmla="*/ 26 h 156" name="T37"/>
                <a:gd fmla="*/ 24 w 116" name="T38"/>
                <a:gd fmla="*/ 22 h 156" name="T39"/>
                <a:gd fmla="*/ 19 w 116" name="T40"/>
                <a:gd fmla="*/ 19 h 156" name="T41"/>
                <a:gd fmla="*/ 15 w 116" name="T42"/>
                <a:gd fmla="*/ 16 h 156" name="T43"/>
                <a:gd fmla="*/ 11 w 116" name="T44"/>
                <a:gd fmla="*/ 13 h 156" name="T45"/>
                <a:gd fmla="*/ 10 w 116" name="T46"/>
                <a:gd fmla="*/ 11 h 156" name="T47"/>
                <a:gd fmla="*/ 8 w 116" name="T48"/>
                <a:gd fmla="*/ 8 h 156" name="T49"/>
                <a:gd fmla="*/ 6 w 116" name="T50"/>
                <a:gd fmla="*/ 5 h 156" name="T51"/>
                <a:gd fmla="*/ 3 w 116" name="T52"/>
                <a:gd fmla="*/ 3 h 156" name="T53"/>
                <a:gd fmla="*/ 1 w 116" name="T54"/>
                <a:gd fmla="*/ 1 h 156" name="T55"/>
                <a:gd fmla="*/ 0 w 116" name="T56"/>
                <a:gd fmla="*/ 0 h 15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w 116" name="T87"/>
                <a:gd fmla="*/ 0 h 156" name="T88"/>
                <a:gd fmla="*/ 116 w 116" name="T89"/>
                <a:gd fmla="*/ 156 h 156" name="T90"/>
              </a:gd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b="T90" l="T87" r="T89" t="T88"/>
              <a:pathLst>
                <a:path h="156" w="115">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42" name="Freeform 86"/>
            <p:cNvSpPr/>
            <p:nvPr/>
          </p:nvSpPr>
          <p:spPr bwMode="gray">
            <a:xfrm>
              <a:off x="3848" y="2705"/>
              <a:ext cx="58" cy="77"/>
            </a:xfrm>
            <a:custGeom>
              <a:gdLst>
                <a:gd fmla="*/ 0 w 116" name="T0"/>
                <a:gd fmla="*/ 0 h 156" name="T1"/>
                <a:gd fmla="*/ 1 w 116" name="T2"/>
                <a:gd fmla="*/ 1 h 156" name="T3"/>
                <a:gd fmla="*/ 2 w 116" name="T4"/>
                <a:gd fmla="*/ 4 h 156" name="T5"/>
                <a:gd fmla="*/ 4 w 116" name="T6"/>
                <a:gd fmla="*/ 8 h 156" name="T7"/>
                <a:gd fmla="*/ 5 w 116" name="T8"/>
                <a:gd fmla="*/ 13 h 156" name="T9"/>
                <a:gd fmla="*/ 6 w 116" name="T10"/>
                <a:gd fmla="*/ 16 h 156" name="T11"/>
                <a:gd fmla="*/ 6 w 116" name="T12"/>
                <a:gd fmla="*/ 20 h 156" name="T13"/>
                <a:gd fmla="*/ 8 w 116" name="T14"/>
                <a:gd fmla="*/ 25 h 156" name="T15"/>
                <a:gd fmla="*/ 11 w 116" name="T16"/>
                <a:gd fmla="*/ 30 h 156" name="T17"/>
                <a:gd fmla="*/ 12 w 116" name="T18"/>
                <a:gd fmla="*/ 33 h 156" name="T19"/>
                <a:gd fmla="*/ 13 w 116" name="T20"/>
                <a:gd fmla="*/ 35 h 156" name="T21"/>
                <a:gd fmla="*/ 15 w 116" name="T22"/>
                <a:gd fmla="*/ 36 h 156" name="T23"/>
                <a:gd fmla="*/ 18 w 116" name="T24"/>
                <a:gd fmla="*/ 38 h 156" name="T25"/>
                <a:gd fmla="*/ 21 w 116" name="T26"/>
                <a:gd fmla="*/ 38 h 156" name="T27"/>
                <a:gd fmla="*/ 24 w 116" name="T28"/>
                <a:gd fmla="*/ 38 h 156" name="T29"/>
                <a:gd fmla="*/ 27 w 116" name="T30"/>
                <a:gd fmla="*/ 37 h 156" name="T31"/>
                <a:gd fmla="*/ 29 w 116" name="T32"/>
                <a:gd fmla="*/ 34 h 156" name="T33"/>
                <a:gd fmla="*/ 29 w 116" name="T34"/>
                <a:gd fmla="*/ 30 h 156" name="T35"/>
                <a:gd fmla="*/ 27 w 116" name="T36"/>
                <a:gd fmla="*/ 26 h 156" name="T37"/>
                <a:gd fmla="*/ 24 w 116" name="T38"/>
                <a:gd fmla="*/ 22 h 156" name="T39"/>
                <a:gd fmla="*/ 19 w 116" name="T40"/>
                <a:gd fmla="*/ 19 h 156" name="T41"/>
                <a:gd fmla="*/ 15 w 116" name="T42"/>
                <a:gd fmla="*/ 16 h 156" name="T43"/>
                <a:gd fmla="*/ 11 w 116" name="T44"/>
                <a:gd fmla="*/ 13 h 156" name="T45"/>
                <a:gd fmla="*/ 10 w 116" name="T46"/>
                <a:gd fmla="*/ 11 h 156" name="T47"/>
                <a:gd fmla="*/ 8 w 116" name="T48"/>
                <a:gd fmla="*/ 8 h 156" name="T49"/>
                <a:gd fmla="*/ 6 w 116" name="T50"/>
                <a:gd fmla="*/ 5 h 156" name="T51"/>
                <a:gd fmla="*/ 3 w 116" name="T52"/>
                <a:gd fmla="*/ 3 h 156" name="T53"/>
                <a:gd fmla="*/ 1 w 116" name="T54"/>
                <a:gd fmla="*/ 1 h 156" name="T55"/>
                <a:gd fmla="*/ 0 w 116" name="T56"/>
                <a:gd fmla="*/ 0 h 15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w 116" name="T87"/>
                <a:gd fmla="*/ 0 h 156" name="T88"/>
                <a:gd fmla="*/ 116 w 116" name="T89"/>
                <a:gd fmla="*/ 156 h 156" name="T90"/>
              </a:gd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b="T90" l="T87" r="T89" t="T88"/>
              <a:pathLst>
                <a:path h="156" w="115">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altLang="en-US" lang="zh-CN" sz="2400"/>
            </a:p>
          </p:txBody>
        </p:sp>
        <p:sp>
          <p:nvSpPr>
            <p:cNvPr id="43" name="Freeform 87"/>
            <p:cNvSpPr/>
            <p:nvPr/>
          </p:nvSpPr>
          <p:spPr bwMode="gray">
            <a:xfrm>
              <a:off x="3714" y="2597"/>
              <a:ext cx="37" cy="32"/>
            </a:xfrm>
            <a:custGeom>
              <a:gdLst>
                <a:gd fmla="*/ 0 w 75" name="T0"/>
                <a:gd fmla="*/ 12 h 63" name="T1"/>
                <a:gd fmla="*/ 8 w 75" name="T2"/>
                <a:gd fmla="*/ 0 h 63" name="T3"/>
                <a:gd fmla="*/ 18 w 75" name="T4"/>
                <a:gd fmla="*/ 4 h 63" name="T5"/>
                <a:gd fmla="*/ 18 w 75" name="T6"/>
                <a:gd fmla="*/ 13 h 63" name="T7"/>
                <a:gd fmla="*/ 8 w 75" name="T8"/>
                <a:gd fmla="*/ 16 h 63" name="T9"/>
                <a:gd fmla="*/ 0 w 75" name="T10"/>
                <a:gd fmla="*/ 12 h 63" name="T11"/>
                <a:gd fmla="*/ 0 60000 65536" name="T12"/>
                <a:gd fmla="*/ 0 60000 65536" name="T13"/>
                <a:gd fmla="*/ 0 60000 65536" name="T14"/>
                <a:gd fmla="*/ 0 60000 65536" name="T15"/>
                <a:gd fmla="*/ 0 60000 65536" name="T16"/>
                <a:gd fmla="*/ 0 60000 65536" name="T17"/>
                <a:gd fmla="*/ 0 w 75" name="T18"/>
                <a:gd fmla="*/ 0 h 63" name="T19"/>
                <a:gd fmla="*/ 75 w 75" name="T20"/>
                <a:gd fmla="*/ 63 h 63" name="T21"/>
              </a:gdLst>
              <a:cxnLst>
                <a:cxn ang="T12">
                  <a:pos x="T0" y="T1"/>
                </a:cxn>
                <a:cxn ang="T13">
                  <a:pos x="T2" y="T3"/>
                </a:cxn>
                <a:cxn ang="T14">
                  <a:pos x="T4" y="T5"/>
                </a:cxn>
                <a:cxn ang="T15">
                  <a:pos x="T6" y="T7"/>
                </a:cxn>
                <a:cxn ang="T16">
                  <a:pos x="T8" y="T9"/>
                </a:cxn>
                <a:cxn ang="T17">
                  <a:pos x="T10" y="T11"/>
                </a:cxn>
              </a:cxnLst>
              <a:rect b="T21" l="T18" r="T20" t="T19"/>
              <a:pathLst>
                <a:path h="62" w="75">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44" name="Freeform 88"/>
            <p:cNvSpPr/>
            <p:nvPr/>
          </p:nvSpPr>
          <p:spPr bwMode="gray">
            <a:xfrm>
              <a:off x="3714" y="2597"/>
              <a:ext cx="37" cy="32"/>
            </a:xfrm>
            <a:custGeom>
              <a:gdLst>
                <a:gd fmla="*/ 0 w 75" name="T0"/>
                <a:gd fmla="*/ 12 h 63" name="T1"/>
                <a:gd fmla="*/ 8 w 75" name="T2"/>
                <a:gd fmla="*/ 0 h 63" name="T3"/>
                <a:gd fmla="*/ 18 w 75" name="T4"/>
                <a:gd fmla="*/ 4 h 63" name="T5"/>
                <a:gd fmla="*/ 18 w 75" name="T6"/>
                <a:gd fmla="*/ 13 h 63" name="T7"/>
                <a:gd fmla="*/ 8 w 75" name="T8"/>
                <a:gd fmla="*/ 16 h 63" name="T9"/>
                <a:gd fmla="*/ 0 w 75" name="T10"/>
                <a:gd fmla="*/ 12 h 63" name="T11"/>
                <a:gd fmla="*/ 0 60000 65536" name="T12"/>
                <a:gd fmla="*/ 0 60000 65536" name="T13"/>
                <a:gd fmla="*/ 0 60000 65536" name="T14"/>
                <a:gd fmla="*/ 0 60000 65536" name="T15"/>
                <a:gd fmla="*/ 0 60000 65536" name="T16"/>
                <a:gd fmla="*/ 0 60000 65536" name="T17"/>
                <a:gd fmla="*/ 0 w 75" name="T18"/>
                <a:gd fmla="*/ 0 h 63" name="T19"/>
                <a:gd fmla="*/ 75 w 75" name="T20"/>
                <a:gd fmla="*/ 63 h 63" name="T21"/>
              </a:gdLst>
              <a:cxnLst>
                <a:cxn ang="T12">
                  <a:pos x="T0" y="T1"/>
                </a:cxn>
                <a:cxn ang="T13">
                  <a:pos x="T2" y="T3"/>
                </a:cxn>
                <a:cxn ang="T14">
                  <a:pos x="T4" y="T5"/>
                </a:cxn>
                <a:cxn ang="T15">
                  <a:pos x="T6" y="T7"/>
                </a:cxn>
                <a:cxn ang="T16">
                  <a:pos x="T8" y="T9"/>
                </a:cxn>
                <a:cxn ang="T17">
                  <a:pos x="T10" y="T11"/>
                </a:cxn>
              </a:cxnLst>
              <a:rect b="T21" l="T18" r="T20" t="T19"/>
              <a:pathLst>
                <a:path h="62" w="75">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altLang="en-US" lang="zh-CN" sz="2400"/>
            </a:p>
          </p:txBody>
        </p:sp>
        <p:sp>
          <p:nvSpPr>
            <p:cNvPr id="45" name="Freeform 89"/>
            <p:cNvSpPr/>
            <p:nvPr/>
          </p:nvSpPr>
          <p:spPr bwMode="gray">
            <a:xfrm>
              <a:off x="3768" y="2614"/>
              <a:ext cx="37" cy="52"/>
            </a:xfrm>
            <a:custGeom>
              <a:gdLst>
                <a:gd fmla="*/ 0 w 73" name="T0"/>
                <a:gd fmla="*/ 10 h 105" name="T1"/>
                <a:gd fmla="*/ 9 w 73" name="T2"/>
                <a:gd fmla="*/ 0 h 105" name="T3"/>
                <a:gd fmla="*/ 16 w 73" name="T4"/>
                <a:gd fmla="*/ 12 h 105" name="T5"/>
                <a:gd fmla="*/ 19 w 73" name="T6"/>
                <a:gd fmla="*/ 26 h 105" name="T7"/>
                <a:gd fmla="*/ 9 w 73" name="T8"/>
                <a:gd fmla="*/ 19 h 105" name="T9"/>
                <a:gd fmla="*/ 0 w 73" name="T10"/>
                <a:gd fmla="*/ 10 h 105" name="T11"/>
                <a:gd fmla="*/ 0 60000 65536" name="T12"/>
                <a:gd fmla="*/ 0 60000 65536" name="T13"/>
                <a:gd fmla="*/ 0 60000 65536" name="T14"/>
                <a:gd fmla="*/ 0 60000 65536" name="T15"/>
                <a:gd fmla="*/ 0 60000 65536" name="T16"/>
                <a:gd fmla="*/ 0 60000 65536" name="T17"/>
                <a:gd fmla="*/ 0 w 73" name="T18"/>
                <a:gd fmla="*/ 0 h 105" name="T19"/>
                <a:gd fmla="*/ 73 w 73" name="T20"/>
                <a:gd fmla="*/ 105 h 105" name="T21"/>
              </a:gdLst>
              <a:cxnLst>
                <a:cxn ang="T12">
                  <a:pos x="T0" y="T1"/>
                </a:cxn>
                <a:cxn ang="T13">
                  <a:pos x="T2" y="T3"/>
                </a:cxn>
                <a:cxn ang="T14">
                  <a:pos x="T4" y="T5"/>
                </a:cxn>
                <a:cxn ang="T15">
                  <a:pos x="T6" y="T7"/>
                </a:cxn>
                <a:cxn ang="T16">
                  <a:pos x="T8" y="T9"/>
                </a:cxn>
                <a:cxn ang="T17">
                  <a:pos x="T10" y="T11"/>
                </a:cxn>
              </a:cxnLst>
              <a:rect b="T21" l="T18" r="T20" t="T19"/>
              <a:pathLst>
                <a:path h="105" w="73">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46" name="Freeform 90"/>
            <p:cNvSpPr/>
            <p:nvPr/>
          </p:nvSpPr>
          <p:spPr bwMode="gray">
            <a:xfrm>
              <a:off x="3768" y="2614"/>
              <a:ext cx="37" cy="52"/>
            </a:xfrm>
            <a:custGeom>
              <a:gdLst>
                <a:gd fmla="*/ 0 w 73" name="T0"/>
                <a:gd fmla="*/ 10 h 105" name="T1"/>
                <a:gd fmla="*/ 9 w 73" name="T2"/>
                <a:gd fmla="*/ 0 h 105" name="T3"/>
                <a:gd fmla="*/ 16 w 73" name="T4"/>
                <a:gd fmla="*/ 12 h 105" name="T5"/>
                <a:gd fmla="*/ 19 w 73" name="T6"/>
                <a:gd fmla="*/ 26 h 105" name="T7"/>
                <a:gd fmla="*/ 9 w 73" name="T8"/>
                <a:gd fmla="*/ 19 h 105" name="T9"/>
                <a:gd fmla="*/ 0 w 73" name="T10"/>
                <a:gd fmla="*/ 10 h 105" name="T11"/>
                <a:gd fmla="*/ 0 60000 65536" name="T12"/>
                <a:gd fmla="*/ 0 60000 65536" name="T13"/>
                <a:gd fmla="*/ 0 60000 65536" name="T14"/>
                <a:gd fmla="*/ 0 60000 65536" name="T15"/>
                <a:gd fmla="*/ 0 60000 65536" name="T16"/>
                <a:gd fmla="*/ 0 60000 65536" name="T17"/>
                <a:gd fmla="*/ 0 w 73" name="T18"/>
                <a:gd fmla="*/ 0 h 105" name="T19"/>
                <a:gd fmla="*/ 73 w 73" name="T20"/>
                <a:gd fmla="*/ 105 h 105" name="T21"/>
              </a:gdLst>
              <a:cxnLst>
                <a:cxn ang="T12">
                  <a:pos x="T0" y="T1"/>
                </a:cxn>
                <a:cxn ang="T13">
                  <a:pos x="T2" y="T3"/>
                </a:cxn>
                <a:cxn ang="T14">
                  <a:pos x="T4" y="T5"/>
                </a:cxn>
                <a:cxn ang="T15">
                  <a:pos x="T6" y="T7"/>
                </a:cxn>
                <a:cxn ang="T16">
                  <a:pos x="T8" y="T9"/>
                </a:cxn>
                <a:cxn ang="T17">
                  <a:pos x="T10" y="T11"/>
                </a:cxn>
              </a:cxnLst>
              <a:rect b="T21" l="T18" r="T20" t="T19"/>
              <a:pathLst>
                <a:path h="105" w="73">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altLang="en-US" lang="zh-CN" sz="2400"/>
            </a:p>
          </p:txBody>
        </p:sp>
        <p:sp>
          <p:nvSpPr>
            <p:cNvPr id="47" name="Freeform 91"/>
            <p:cNvSpPr/>
            <p:nvPr/>
          </p:nvSpPr>
          <p:spPr bwMode="gray">
            <a:xfrm>
              <a:off x="3451" y="2207"/>
              <a:ext cx="493" cy="331"/>
            </a:xfrm>
            <a:custGeom>
              <a:gdLst>
                <a:gd fmla="*/ 81 w 987" name="T0"/>
                <a:gd fmla="*/ 0 h 663" name="T1"/>
                <a:gd fmla="*/ 88 w 987" name="T2"/>
                <a:gd fmla="*/ 3 h 663" name="T3"/>
                <a:gd fmla="*/ 96 w 987" name="T4"/>
                <a:gd fmla="*/ 5 h 663" name="T5"/>
                <a:gd fmla="*/ 103 w 987" name="T6"/>
                <a:gd fmla="*/ 2 h 663" name="T7"/>
                <a:gd fmla="*/ 111 w 987" name="T8"/>
                <a:gd fmla="*/ 0 h 663" name="T9"/>
                <a:gd fmla="*/ 119 w 987" name="T10"/>
                <a:gd fmla="*/ 5 h 663" name="T11"/>
                <a:gd fmla="*/ 125 w 987" name="T12"/>
                <a:gd fmla="*/ 15 h 663" name="T13"/>
                <a:gd fmla="*/ 126 w 987" name="T14"/>
                <a:gd fmla="*/ 24 h 663" name="T15"/>
                <a:gd fmla="*/ 128 w 987" name="T16"/>
                <a:gd fmla="*/ 32 h 663" name="T17"/>
                <a:gd fmla="*/ 133 w 987" name="T18"/>
                <a:gd fmla="*/ 37 h 663" name="T19"/>
                <a:gd fmla="*/ 141 w 987" name="T20"/>
                <a:gd fmla="*/ 39 h 663" name="T21"/>
                <a:gd fmla="*/ 149 w 987" name="T22"/>
                <a:gd fmla="*/ 38 h 663" name="T23"/>
                <a:gd fmla="*/ 154 w 987" name="T24"/>
                <a:gd fmla="*/ 33 h 663" name="T25"/>
                <a:gd fmla="*/ 160 w 987" name="T26"/>
                <a:gd fmla="*/ 24 h 663" name="T27"/>
                <a:gd fmla="*/ 167 w 987" name="T28"/>
                <a:gd fmla="*/ 15 h 663" name="T29"/>
                <a:gd fmla="*/ 175 w 987" name="T30"/>
                <a:gd fmla="*/ 6 h 663" name="T31"/>
                <a:gd fmla="*/ 184 w 987" name="T32"/>
                <a:gd fmla="*/ 2 h 663" name="T33"/>
                <a:gd fmla="*/ 191 w 987" name="T34"/>
                <a:gd fmla="*/ 4 h 663" name="T35"/>
                <a:gd fmla="*/ 200 w 987" name="T36"/>
                <a:gd fmla="*/ 9 h 663" name="T37"/>
                <a:gd fmla="*/ 212 w 987" name="T38"/>
                <a:gd fmla="*/ 11 h 663" name="T39"/>
                <a:gd fmla="*/ 224 w 987" name="T40"/>
                <a:gd fmla="*/ 9 h 663" name="T41"/>
                <a:gd fmla="*/ 234 w 987" name="T42"/>
                <a:gd fmla="*/ 7 h 663" name="T43"/>
                <a:gd fmla="*/ 241 w 987" name="T44"/>
                <a:gd fmla="*/ 5 h 663" name="T45"/>
                <a:gd fmla="*/ 246 w 987" name="T46"/>
                <a:gd fmla="*/ 5 h 663" name="T47"/>
                <a:gd fmla="*/ 246 w 987" name="T48"/>
                <a:gd fmla="*/ 12 h 663" name="T49"/>
                <a:gd fmla="*/ 245 w 987" name="T50"/>
                <a:gd fmla="*/ 23 h 663" name="T51"/>
                <a:gd fmla="*/ 243 w 987" name="T52"/>
                <a:gd fmla="*/ 31 h 663" name="T53"/>
                <a:gd fmla="*/ 237 w 987" name="T54"/>
                <a:gd fmla="*/ 32 h 663" name="T55"/>
                <a:gd fmla="*/ 231 w 987" name="T56"/>
                <a:gd fmla="*/ 31 h 663" name="T57"/>
                <a:gd fmla="*/ 225 w 987" name="T58"/>
                <a:gd fmla="*/ 32 h 663" name="T59"/>
                <a:gd fmla="*/ 216 w 987" name="T60"/>
                <a:gd fmla="*/ 41 h 663" name="T61"/>
                <a:gd fmla="*/ 205 w 987" name="T62"/>
                <a:gd fmla="*/ 49 h 663" name="T63"/>
                <a:gd fmla="*/ 198 w 987" name="T64"/>
                <a:gd fmla="*/ 51 h 663" name="T65"/>
                <a:gd fmla="*/ 191 w 987" name="T66"/>
                <a:gd fmla="*/ 52 h 663" name="T67"/>
                <a:gd fmla="*/ 189 w 987" name="T68"/>
                <a:gd fmla="*/ 55 h 663" name="T69"/>
                <a:gd fmla="*/ 191 w 987" name="T70"/>
                <a:gd fmla="*/ 63 h 663" name="T71"/>
                <a:gd fmla="*/ 190 w 987" name="T72"/>
                <a:gd fmla="*/ 72 h 663" name="T73"/>
                <a:gd fmla="*/ 185 w 987" name="T74"/>
                <a:gd fmla="*/ 77 h 663" name="T75"/>
                <a:gd fmla="*/ 177 w 987" name="T76"/>
                <a:gd fmla="*/ 79 h 663" name="T77"/>
                <a:gd fmla="*/ 171 w 987" name="T78"/>
                <a:gd fmla="*/ 79 h 663" name="T79"/>
                <a:gd fmla="*/ 170 w 987" name="T80"/>
                <a:gd fmla="*/ 84 h 663" name="T81"/>
                <a:gd fmla="*/ 170 w 987" name="T82"/>
                <a:gd fmla="*/ 93 h 663" name="T83"/>
                <a:gd fmla="*/ 168 w 987" name="T84"/>
                <a:gd fmla="*/ 101 h 663" name="T85"/>
                <a:gd fmla="*/ 163 w 987" name="T86"/>
                <a:gd fmla="*/ 106 h 663" name="T87"/>
                <a:gd fmla="*/ 157 w 987" name="T88"/>
                <a:gd fmla="*/ 111 h 663" name="T89"/>
                <a:gd fmla="*/ 155 w 987" name="T90"/>
                <a:gd fmla="*/ 118 h 663" name="T91"/>
                <a:gd fmla="*/ 152 w 987" name="T92"/>
                <a:gd fmla="*/ 123 h 663" name="T93"/>
                <a:gd fmla="*/ 139 w 987" name="T94"/>
                <a:gd fmla="*/ 127 h 663" name="T95"/>
                <a:gd fmla="*/ 129 w 987" name="T96"/>
                <a:gd fmla="*/ 143 h 663" name="T97"/>
                <a:gd fmla="*/ 106 w 987" name="T98"/>
                <a:gd fmla="*/ 148 h 663" name="T99"/>
                <a:gd fmla="*/ 89 w 987" name="T100"/>
                <a:gd fmla="*/ 156 h 663" name="T101"/>
                <a:gd fmla="*/ 66 w 987" name="T102"/>
                <a:gd fmla="*/ 144 h 663" name="T103"/>
                <a:gd fmla="*/ 52 w 987" name="T104"/>
                <a:gd fmla="*/ 160 h 663" name="T105"/>
                <a:gd fmla="*/ 13 w 987" name="T106"/>
                <a:gd fmla="*/ 152 h 663" name="T107"/>
                <a:gd fmla="*/ 0 w 987" name="T108"/>
                <a:gd fmla="*/ 140 h 663" name="T109"/>
                <a:gd fmla="*/ 14 w 987" name="T110"/>
                <a:gd fmla="*/ 98 h 663" name="T111"/>
                <a:gd fmla="*/ 8 w 987" name="T112"/>
                <a:gd fmla="*/ 78 h 663" name="T113"/>
                <a:gd fmla="*/ 26 w 987" name="T114"/>
                <a:gd fmla="*/ 45 h 663" name="T115"/>
                <a:gd fmla="*/ 50 w 987" name="T116"/>
                <a:gd fmla="*/ 22 h 663" name="T117"/>
                <a:gd fmla="*/ 80 w 987" name="T118"/>
                <a:gd fmla="*/ 0 h 663"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w 987" name="T180"/>
                <a:gd fmla="*/ 0 h 663" name="T181"/>
                <a:gd fmla="*/ 987 w 987" name="T182"/>
                <a:gd fmla="*/ 663 h 663" name="T183"/>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b="T183" l="T180" r="T182" t="T181"/>
              <a:pathLst>
                <a:path h="663" w="986">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48" name="Freeform 92"/>
            <p:cNvSpPr/>
            <p:nvPr/>
          </p:nvSpPr>
          <p:spPr bwMode="gray">
            <a:xfrm>
              <a:off x="3451" y="2207"/>
              <a:ext cx="493" cy="331"/>
            </a:xfrm>
            <a:custGeom>
              <a:gdLst>
                <a:gd fmla="*/ 81 w 987" name="T0"/>
                <a:gd fmla="*/ 0 h 663" name="T1"/>
                <a:gd fmla="*/ 88 w 987" name="T2"/>
                <a:gd fmla="*/ 3 h 663" name="T3"/>
                <a:gd fmla="*/ 96 w 987" name="T4"/>
                <a:gd fmla="*/ 5 h 663" name="T5"/>
                <a:gd fmla="*/ 103 w 987" name="T6"/>
                <a:gd fmla="*/ 2 h 663" name="T7"/>
                <a:gd fmla="*/ 111 w 987" name="T8"/>
                <a:gd fmla="*/ 0 h 663" name="T9"/>
                <a:gd fmla="*/ 119 w 987" name="T10"/>
                <a:gd fmla="*/ 5 h 663" name="T11"/>
                <a:gd fmla="*/ 125 w 987" name="T12"/>
                <a:gd fmla="*/ 15 h 663" name="T13"/>
                <a:gd fmla="*/ 126 w 987" name="T14"/>
                <a:gd fmla="*/ 24 h 663" name="T15"/>
                <a:gd fmla="*/ 128 w 987" name="T16"/>
                <a:gd fmla="*/ 32 h 663" name="T17"/>
                <a:gd fmla="*/ 133 w 987" name="T18"/>
                <a:gd fmla="*/ 37 h 663" name="T19"/>
                <a:gd fmla="*/ 141 w 987" name="T20"/>
                <a:gd fmla="*/ 39 h 663" name="T21"/>
                <a:gd fmla="*/ 149 w 987" name="T22"/>
                <a:gd fmla="*/ 38 h 663" name="T23"/>
                <a:gd fmla="*/ 154 w 987" name="T24"/>
                <a:gd fmla="*/ 33 h 663" name="T25"/>
                <a:gd fmla="*/ 160 w 987" name="T26"/>
                <a:gd fmla="*/ 24 h 663" name="T27"/>
                <a:gd fmla="*/ 167 w 987" name="T28"/>
                <a:gd fmla="*/ 15 h 663" name="T29"/>
                <a:gd fmla="*/ 175 w 987" name="T30"/>
                <a:gd fmla="*/ 6 h 663" name="T31"/>
                <a:gd fmla="*/ 184 w 987" name="T32"/>
                <a:gd fmla="*/ 2 h 663" name="T33"/>
                <a:gd fmla="*/ 191 w 987" name="T34"/>
                <a:gd fmla="*/ 4 h 663" name="T35"/>
                <a:gd fmla="*/ 200 w 987" name="T36"/>
                <a:gd fmla="*/ 9 h 663" name="T37"/>
                <a:gd fmla="*/ 212 w 987" name="T38"/>
                <a:gd fmla="*/ 11 h 663" name="T39"/>
                <a:gd fmla="*/ 224 w 987" name="T40"/>
                <a:gd fmla="*/ 9 h 663" name="T41"/>
                <a:gd fmla="*/ 234 w 987" name="T42"/>
                <a:gd fmla="*/ 7 h 663" name="T43"/>
                <a:gd fmla="*/ 241 w 987" name="T44"/>
                <a:gd fmla="*/ 5 h 663" name="T45"/>
                <a:gd fmla="*/ 246 w 987" name="T46"/>
                <a:gd fmla="*/ 5 h 663" name="T47"/>
                <a:gd fmla="*/ 246 w 987" name="T48"/>
                <a:gd fmla="*/ 12 h 663" name="T49"/>
                <a:gd fmla="*/ 245 w 987" name="T50"/>
                <a:gd fmla="*/ 23 h 663" name="T51"/>
                <a:gd fmla="*/ 243 w 987" name="T52"/>
                <a:gd fmla="*/ 31 h 663" name="T53"/>
                <a:gd fmla="*/ 237 w 987" name="T54"/>
                <a:gd fmla="*/ 32 h 663" name="T55"/>
                <a:gd fmla="*/ 231 w 987" name="T56"/>
                <a:gd fmla="*/ 31 h 663" name="T57"/>
                <a:gd fmla="*/ 225 w 987" name="T58"/>
                <a:gd fmla="*/ 32 h 663" name="T59"/>
                <a:gd fmla="*/ 216 w 987" name="T60"/>
                <a:gd fmla="*/ 41 h 663" name="T61"/>
                <a:gd fmla="*/ 205 w 987" name="T62"/>
                <a:gd fmla="*/ 49 h 663" name="T63"/>
                <a:gd fmla="*/ 198 w 987" name="T64"/>
                <a:gd fmla="*/ 51 h 663" name="T65"/>
                <a:gd fmla="*/ 191 w 987" name="T66"/>
                <a:gd fmla="*/ 52 h 663" name="T67"/>
                <a:gd fmla="*/ 189 w 987" name="T68"/>
                <a:gd fmla="*/ 55 h 663" name="T69"/>
                <a:gd fmla="*/ 191 w 987" name="T70"/>
                <a:gd fmla="*/ 63 h 663" name="T71"/>
                <a:gd fmla="*/ 190 w 987" name="T72"/>
                <a:gd fmla="*/ 72 h 663" name="T73"/>
                <a:gd fmla="*/ 185 w 987" name="T74"/>
                <a:gd fmla="*/ 77 h 663" name="T75"/>
                <a:gd fmla="*/ 177 w 987" name="T76"/>
                <a:gd fmla="*/ 79 h 663" name="T77"/>
                <a:gd fmla="*/ 171 w 987" name="T78"/>
                <a:gd fmla="*/ 79 h 663" name="T79"/>
                <a:gd fmla="*/ 170 w 987" name="T80"/>
                <a:gd fmla="*/ 84 h 663" name="T81"/>
                <a:gd fmla="*/ 170 w 987" name="T82"/>
                <a:gd fmla="*/ 93 h 663" name="T83"/>
                <a:gd fmla="*/ 168 w 987" name="T84"/>
                <a:gd fmla="*/ 101 h 663" name="T85"/>
                <a:gd fmla="*/ 163 w 987" name="T86"/>
                <a:gd fmla="*/ 106 h 663" name="T87"/>
                <a:gd fmla="*/ 157 w 987" name="T88"/>
                <a:gd fmla="*/ 111 h 663" name="T89"/>
                <a:gd fmla="*/ 155 w 987" name="T90"/>
                <a:gd fmla="*/ 118 h 663" name="T91"/>
                <a:gd fmla="*/ 152 w 987" name="T92"/>
                <a:gd fmla="*/ 123 h 663" name="T93"/>
                <a:gd fmla="*/ 139 w 987" name="T94"/>
                <a:gd fmla="*/ 127 h 663" name="T95"/>
                <a:gd fmla="*/ 129 w 987" name="T96"/>
                <a:gd fmla="*/ 143 h 663" name="T97"/>
                <a:gd fmla="*/ 106 w 987" name="T98"/>
                <a:gd fmla="*/ 148 h 663" name="T99"/>
                <a:gd fmla="*/ 89 w 987" name="T100"/>
                <a:gd fmla="*/ 156 h 663" name="T101"/>
                <a:gd fmla="*/ 66 w 987" name="T102"/>
                <a:gd fmla="*/ 144 h 663" name="T103"/>
                <a:gd fmla="*/ 52 w 987" name="T104"/>
                <a:gd fmla="*/ 160 h 663" name="T105"/>
                <a:gd fmla="*/ 13 w 987" name="T106"/>
                <a:gd fmla="*/ 152 h 663" name="T107"/>
                <a:gd fmla="*/ 0 w 987" name="T108"/>
                <a:gd fmla="*/ 140 h 663" name="T109"/>
                <a:gd fmla="*/ 14 w 987" name="T110"/>
                <a:gd fmla="*/ 98 h 663" name="T111"/>
                <a:gd fmla="*/ 8 w 987" name="T112"/>
                <a:gd fmla="*/ 78 h 663" name="T113"/>
                <a:gd fmla="*/ 26 w 987" name="T114"/>
                <a:gd fmla="*/ 45 h 663" name="T115"/>
                <a:gd fmla="*/ 50 w 987" name="T116"/>
                <a:gd fmla="*/ 22 h 663" name="T117"/>
                <a:gd fmla="*/ 80 w 987" name="T118"/>
                <a:gd fmla="*/ 0 h 663"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w 987" name="T180"/>
                <a:gd fmla="*/ 0 h 663" name="T181"/>
                <a:gd fmla="*/ 987 w 987" name="T182"/>
                <a:gd fmla="*/ 663 h 663" name="T183"/>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b="T183" l="T180" r="T182" t="T181"/>
              <a:pathLst>
                <a:path h="663" w="986">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altLang="en-US" lang="zh-CN" sz="2400"/>
            </a:p>
          </p:txBody>
        </p:sp>
        <p:sp>
          <p:nvSpPr>
            <p:cNvPr id="49" name="Freeform 93"/>
            <p:cNvSpPr/>
            <p:nvPr/>
          </p:nvSpPr>
          <p:spPr bwMode="gray">
            <a:xfrm>
              <a:off x="3322" y="1838"/>
              <a:ext cx="400" cy="580"/>
            </a:xfrm>
            <a:custGeom>
              <a:gdLst>
                <a:gd fmla="*/ 199 w 799" name="T0"/>
                <a:gd fmla="*/ 103 h 1161" name="T1"/>
                <a:gd fmla="*/ 194 w 799" name="T2"/>
                <a:gd fmla="*/ 108 h 1161" name="T3"/>
                <a:gd fmla="*/ 187 w 799" name="T4"/>
                <a:gd fmla="*/ 114 h 1161" name="T5"/>
                <a:gd fmla="*/ 185 w 799" name="T6"/>
                <a:gd fmla="*/ 121 h 1161" name="T7"/>
                <a:gd fmla="*/ 185 w 799" name="T8"/>
                <a:gd fmla="*/ 129 h 1161" name="T9"/>
                <a:gd fmla="*/ 182 w 799" name="T10"/>
                <a:gd fmla="*/ 137 h 1161" name="T11"/>
                <a:gd fmla="*/ 171 w 799" name="T12"/>
                <a:gd fmla="*/ 142 h 1161" name="T13"/>
                <a:gd fmla="*/ 162 w 799" name="T14"/>
                <a:gd fmla="*/ 146 h 1161" name="T15"/>
                <a:gd fmla="*/ 156 w 799" name="T16"/>
                <a:gd fmla="*/ 146 h 1161" name="T17"/>
                <a:gd fmla="*/ 149 w 799" name="T18"/>
                <a:gd fmla="*/ 145 h 1161" name="T19"/>
                <a:gd fmla="*/ 145 w 799" name="T20"/>
                <a:gd fmla="*/ 144 h 1161" name="T21"/>
                <a:gd fmla="*/ 140 w 799" name="T22"/>
                <a:gd fmla="*/ 169 h 1161" name="T23"/>
                <a:gd fmla="*/ 145 w 799" name="T24"/>
                <a:gd fmla="*/ 184 h 1161" name="T25"/>
                <a:gd fmla="*/ 115 w 799" name="T26"/>
                <a:gd fmla="*/ 206 h 1161" name="T27"/>
                <a:gd fmla="*/ 92 w 799" name="T28"/>
                <a:gd fmla="*/ 229 h 1161" name="T29"/>
                <a:gd fmla="*/ 73 w 799" name="T30"/>
                <a:gd fmla="*/ 262 h 1161" name="T31"/>
                <a:gd fmla="*/ 79 w 799" name="T32"/>
                <a:gd fmla="*/ 283 h 1161" name="T33"/>
                <a:gd fmla="*/ 61 w 799" name="T34"/>
                <a:gd fmla="*/ 290 h 1161" name="T35"/>
                <a:gd fmla="*/ 20 w 799" name="T36"/>
                <a:gd fmla="*/ 284 h 1161" name="T37"/>
                <a:gd fmla="*/ 12 w 799" name="T38"/>
                <a:gd fmla="*/ 265 h 1161" name="T39"/>
                <a:gd fmla="*/ 17 w 799" name="T40"/>
                <a:gd fmla="*/ 247 h 1161" name="T41"/>
                <a:gd fmla="*/ 21 w 799" name="T42"/>
                <a:gd fmla="*/ 214 h 1161" name="T43"/>
                <a:gd fmla="*/ 3 w 799" name="T44"/>
                <a:gd fmla="*/ 187 h 1161" name="T45"/>
                <a:gd fmla="*/ 12 w 799" name="T46"/>
                <a:gd fmla="*/ 169 h 1161" name="T47"/>
                <a:gd fmla="*/ 29 w 799" name="T48"/>
                <a:gd fmla="*/ 148 h 1161" name="T49"/>
                <a:gd fmla="*/ 13 w 799" name="T50"/>
                <a:gd fmla="*/ 132 h 1161" name="T51"/>
                <a:gd fmla="*/ 24 w 799" name="T52"/>
                <a:gd fmla="*/ 116 h 1161" name="T53"/>
                <a:gd fmla="*/ 0 w 799" name="T54"/>
                <a:gd fmla="*/ 84 h 1161" name="T55"/>
                <a:gd fmla="*/ 1 w 799" name="T56"/>
                <a:gd fmla="*/ 68 h 1161" name="T57"/>
                <a:gd fmla="*/ 11 w 799" name="T58"/>
                <a:gd fmla="*/ 45 h 1161" name="T59"/>
                <a:gd fmla="*/ 29 w 799" name="T60"/>
                <a:gd fmla="*/ 36 h 1161" name="T61"/>
                <a:gd fmla="*/ 45 w 799" name="T62"/>
                <a:gd fmla="*/ 55 h 1161" name="T63"/>
                <a:gd fmla="*/ 68 w 799" name="T64"/>
                <a:gd fmla="*/ 41 h 1161" name="T65"/>
                <a:gd fmla="*/ 81 w 799" name="T66"/>
                <a:gd fmla="*/ 35 h 1161" name="T67"/>
                <a:gd fmla="*/ 88 w 799" name="T68"/>
                <a:gd fmla="*/ 14 h 1161" name="T69"/>
                <a:gd fmla="*/ 105 w 799" name="T70"/>
                <a:gd fmla="*/ 8 h 1161" name="T71"/>
                <a:gd fmla="*/ 116 w 799" name="T72"/>
                <a:gd fmla="*/ 4 h 1161" name="T73"/>
                <a:gd fmla="*/ 124 w 799" name="T74"/>
                <a:gd fmla="*/ 16 h 1161" name="T75"/>
                <a:gd fmla="*/ 128 w 799" name="T76"/>
                <a:gd fmla="*/ 21 h 1161" name="T77"/>
                <a:gd fmla="*/ 131 w 799" name="T78"/>
                <a:gd fmla="*/ 26 h 1161" name="T79"/>
                <a:gd fmla="*/ 132 w 799" name="T80"/>
                <a:gd fmla="*/ 28 h 1161" name="T81"/>
                <a:gd fmla="*/ 133 w 799" name="T82"/>
                <a:gd fmla="*/ 34 h 1161" name="T83"/>
                <a:gd fmla="*/ 135 w 799" name="T84"/>
                <a:gd fmla="*/ 40 h 1161" name="T85"/>
                <a:gd fmla="*/ 147 w 799" name="T86"/>
                <a:gd fmla="*/ 52 h 1161" name="T87"/>
                <a:gd fmla="*/ 166 w 799" name="T88"/>
                <a:gd fmla="*/ 58 h 1161" name="T89"/>
                <a:gd fmla="*/ 174 w 799" name="T90"/>
                <a:gd fmla="*/ 77 h 1161" name="T91"/>
                <a:gd fmla="*/ 194 w 799" name="T92"/>
                <a:gd fmla="*/ 97 h 1161"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w 799" name="T141"/>
                <a:gd fmla="*/ 0 h 1161" name="T142"/>
                <a:gd fmla="*/ 799 w 799" name="T143"/>
                <a:gd fmla="*/ 1161 h 1161" name="T14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b="T144" l="T141" r="T143" t="T142"/>
              <a:pathLst>
                <a:path h="1161" w="799">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50" name="Freeform 94"/>
            <p:cNvSpPr/>
            <p:nvPr/>
          </p:nvSpPr>
          <p:spPr bwMode="gray">
            <a:xfrm>
              <a:off x="3322" y="1838"/>
              <a:ext cx="400" cy="580"/>
            </a:xfrm>
            <a:custGeom>
              <a:gdLst>
                <a:gd fmla="*/ 199 w 799" name="T0"/>
                <a:gd fmla="*/ 103 h 1161" name="T1"/>
                <a:gd fmla="*/ 194 w 799" name="T2"/>
                <a:gd fmla="*/ 108 h 1161" name="T3"/>
                <a:gd fmla="*/ 187 w 799" name="T4"/>
                <a:gd fmla="*/ 114 h 1161" name="T5"/>
                <a:gd fmla="*/ 185 w 799" name="T6"/>
                <a:gd fmla="*/ 121 h 1161" name="T7"/>
                <a:gd fmla="*/ 185 w 799" name="T8"/>
                <a:gd fmla="*/ 129 h 1161" name="T9"/>
                <a:gd fmla="*/ 182 w 799" name="T10"/>
                <a:gd fmla="*/ 137 h 1161" name="T11"/>
                <a:gd fmla="*/ 171 w 799" name="T12"/>
                <a:gd fmla="*/ 142 h 1161" name="T13"/>
                <a:gd fmla="*/ 162 w 799" name="T14"/>
                <a:gd fmla="*/ 146 h 1161" name="T15"/>
                <a:gd fmla="*/ 156 w 799" name="T16"/>
                <a:gd fmla="*/ 146 h 1161" name="T17"/>
                <a:gd fmla="*/ 149 w 799" name="T18"/>
                <a:gd fmla="*/ 145 h 1161" name="T19"/>
                <a:gd fmla="*/ 145 w 799" name="T20"/>
                <a:gd fmla="*/ 144 h 1161" name="T21"/>
                <a:gd fmla="*/ 140 w 799" name="T22"/>
                <a:gd fmla="*/ 169 h 1161" name="T23"/>
                <a:gd fmla="*/ 145 w 799" name="T24"/>
                <a:gd fmla="*/ 184 h 1161" name="T25"/>
                <a:gd fmla="*/ 115 w 799" name="T26"/>
                <a:gd fmla="*/ 206 h 1161" name="T27"/>
                <a:gd fmla="*/ 92 w 799" name="T28"/>
                <a:gd fmla="*/ 229 h 1161" name="T29"/>
                <a:gd fmla="*/ 73 w 799" name="T30"/>
                <a:gd fmla="*/ 262 h 1161" name="T31"/>
                <a:gd fmla="*/ 79 w 799" name="T32"/>
                <a:gd fmla="*/ 283 h 1161" name="T33"/>
                <a:gd fmla="*/ 61 w 799" name="T34"/>
                <a:gd fmla="*/ 290 h 1161" name="T35"/>
                <a:gd fmla="*/ 20 w 799" name="T36"/>
                <a:gd fmla="*/ 284 h 1161" name="T37"/>
                <a:gd fmla="*/ 12 w 799" name="T38"/>
                <a:gd fmla="*/ 265 h 1161" name="T39"/>
                <a:gd fmla="*/ 17 w 799" name="T40"/>
                <a:gd fmla="*/ 247 h 1161" name="T41"/>
                <a:gd fmla="*/ 21 w 799" name="T42"/>
                <a:gd fmla="*/ 214 h 1161" name="T43"/>
                <a:gd fmla="*/ 3 w 799" name="T44"/>
                <a:gd fmla="*/ 187 h 1161" name="T45"/>
                <a:gd fmla="*/ 12 w 799" name="T46"/>
                <a:gd fmla="*/ 169 h 1161" name="T47"/>
                <a:gd fmla="*/ 29 w 799" name="T48"/>
                <a:gd fmla="*/ 148 h 1161" name="T49"/>
                <a:gd fmla="*/ 13 w 799" name="T50"/>
                <a:gd fmla="*/ 132 h 1161" name="T51"/>
                <a:gd fmla="*/ 24 w 799" name="T52"/>
                <a:gd fmla="*/ 116 h 1161" name="T53"/>
                <a:gd fmla="*/ 0 w 799" name="T54"/>
                <a:gd fmla="*/ 84 h 1161" name="T55"/>
                <a:gd fmla="*/ 1 w 799" name="T56"/>
                <a:gd fmla="*/ 68 h 1161" name="T57"/>
                <a:gd fmla="*/ 11 w 799" name="T58"/>
                <a:gd fmla="*/ 45 h 1161" name="T59"/>
                <a:gd fmla="*/ 29 w 799" name="T60"/>
                <a:gd fmla="*/ 36 h 1161" name="T61"/>
                <a:gd fmla="*/ 45 w 799" name="T62"/>
                <a:gd fmla="*/ 55 h 1161" name="T63"/>
                <a:gd fmla="*/ 68 w 799" name="T64"/>
                <a:gd fmla="*/ 41 h 1161" name="T65"/>
                <a:gd fmla="*/ 81 w 799" name="T66"/>
                <a:gd fmla="*/ 35 h 1161" name="T67"/>
                <a:gd fmla="*/ 88 w 799" name="T68"/>
                <a:gd fmla="*/ 14 h 1161" name="T69"/>
                <a:gd fmla="*/ 105 w 799" name="T70"/>
                <a:gd fmla="*/ 8 h 1161" name="T71"/>
                <a:gd fmla="*/ 116 w 799" name="T72"/>
                <a:gd fmla="*/ 4 h 1161" name="T73"/>
                <a:gd fmla="*/ 124 w 799" name="T74"/>
                <a:gd fmla="*/ 16 h 1161" name="T75"/>
                <a:gd fmla="*/ 128 w 799" name="T76"/>
                <a:gd fmla="*/ 21 h 1161" name="T77"/>
                <a:gd fmla="*/ 131 w 799" name="T78"/>
                <a:gd fmla="*/ 26 h 1161" name="T79"/>
                <a:gd fmla="*/ 132 w 799" name="T80"/>
                <a:gd fmla="*/ 28 h 1161" name="T81"/>
                <a:gd fmla="*/ 133 w 799" name="T82"/>
                <a:gd fmla="*/ 34 h 1161" name="T83"/>
                <a:gd fmla="*/ 135 w 799" name="T84"/>
                <a:gd fmla="*/ 40 h 1161" name="T85"/>
                <a:gd fmla="*/ 147 w 799" name="T86"/>
                <a:gd fmla="*/ 52 h 1161" name="T87"/>
                <a:gd fmla="*/ 166 w 799" name="T88"/>
                <a:gd fmla="*/ 58 h 1161" name="T89"/>
                <a:gd fmla="*/ 174 w 799" name="T90"/>
                <a:gd fmla="*/ 77 h 1161" name="T91"/>
                <a:gd fmla="*/ 194 w 799" name="T92"/>
                <a:gd fmla="*/ 97 h 1161"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w 799" name="T141"/>
                <a:gd fmla="*/ 0 h 1161" name="T142"/>
                <a:gd fmla="*/ 799 w 799" name="T143"/>
                <a:gd fmla="*/ 1161 h 1161" name="T14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b="T144" l="T141" r="T143" t="T142"/>
              <a:pathLst>
                <a:path h="1161" w="799">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altLang="en-US" lang="zh-CN" sz="2400"/>
            </a:p>
          </p:txBody>
        </p:sp>
        <p:sp>
          <p:nvSpPr>
            <p:cNvPr id="51" name="Freeform 95"/>
            <p:cNvSpPr/>
            <p:nvPr/>
          </p:nvSpPr>
          <p:spPr bwMode="gray">
            <a:xfrm>
              <a:off x="3440" y="1985"/>
              <a:ext cx="121" cy="140"/>
            </a:xfrm>
            <a:custGeom>
              <a:gdLst>
                <a:gd fmla="*/ 44 w 242" name="T0"/>
                <a:gd fmla="*/ 62 h 279" name="T1"/>
                <a:gd fmla="*/ 35 w 242" name="T2"/>
                <a:gd fmla="*/ 63 h 279" name="T3"/>
                <a:gd fmla="*/ 29 w 242" name="T4"/>
                <a:gd fmla="*/ 70 h 279" name="T5"/>
                <a:gd fmla="*/ 11 w 242" name="T6"/>
                <a:gd fmla="*/ 69 h 279" name="T7"/>
                <a:gd fmla="*/ 1 w 242" name="T8"/>
                <a:gd fmla="*/ 63 h 279" name="T9"/>
                <a:gd fmla="*/ 0 w 242" name="T10"/>
                <a:gd fmla="*/ 45 h 279" name="T11"/>
                <a:gd fmla="*/ 6 w 242" name="T12"/>
                <a:gd fmla="*/ 40 h 279" name="T13"/>
                <a:gd fmla="*/ 11 w 242" name="T14"/>
                <a:gd fmla="*/ 30 h 279" name="T15"/>
                <a:gd fmla="*/ 5 w 242" name="T16"/>
                <a:gd fmla="*/ 27 h 279" name="T17"/>
                <a:gd fmla="*/ 7 w 242" name="T18"/>
                <a:gd fmla="*/ 22 h 279" name="T19"/>
                <a:gd fmla="*/ 14 w 242" name="T20"/>
                <a:gd fmla="*/ 20 h 279" name="T21"/>
                <a:gd fmla="*/ 21 w 242" name="T22"/>
                <a:gd fmla="*/ 10 h 279" name="T23"/>
                <a:gd fmla="*/ 27 w 242" name="T24"/>
                <a:gd fmla="*/ 3 h 279" name="T25"/>
                <a:gd fmla="*/ 33 w 242" name="T26"/>
                <a:gd fmla="*/ 0 h 279" name="T27"/>
                <a:gd fmla="*/ 44 w 242" name="T28"/>
                <a:gd fmla="*/ 13 h 279" name="T29"/>
                <a:gd fmla="*/ 54 w 242" name="T30"/>
                <a:gd fmla="*/ 13 h 279" name="T31"/>
                <a:gd fmla="*/ 58 w 242" name="T32"/>
                <a:gd fmla="*/ 25 h 279" name="T33"/>
                <a:gd fmla="*/ 61 w 242" name="T34"/>
                <a:gd fmla="*/ 35 h 279" name="T35"/>
                <a:gd fmla="*/ 54 w 242" name="T36"/>
                <a:gd fmla="*/ 41 h 279" name="T37"/>
                <a:gd fmla="*/ 54 w 242" name="T38"/>
                <a:gd fmla="*/ 54 h 279" name="T39"/>
                <a:gd fmla="*/ 44 w 242" name="T40"/>
                <a:gd fmla="*/ 62 h 279"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w 242" name="T63"/>
                <a:gd fmla="*/ 0 h 279" name="T64"/>
                <a:gd fmla="*/ 242 w 242" name="T65"/>
                <a:gd fmla="*/ 279 h 279" name="T66"/>
              </a:gd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b="T66" l="T63" r="T65" t="T64"/>
              <a:pathLst>
                <a:path h="279" w="241">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52" name="Freeform 96"/>
            <p:cNvSpPr/>
            <p:nvPr/>
          </p:nvSpPr>
          <p:spPr bwMode="gray">
            <a:xfrm>
              <a:off x="3440" y="1985"/>
              <a:ext cx="121" cy="140"/>
            </a:xfrm>
            <a:custGeom>
              <a:gdLst>
                <a:gd fmla="*/ 44 w 242" name="T0"/>
                <a:gd fmla="*/ 62 h 279" name="T1"/>
                <a:gd fmla="*/ 35 w 242" name="T2"/>
                <a:gd fmla="*/ 63 h 279" name="T3"/>
                <a:gd fmla="*/ 29 w 242" name="T4"/>
                <a:gd fmla="*/ 70 h 279" name="T5"/>
                <a:gd fmla="*/ 11 w 242" name="T6"/>
                <a:gd fmla="*/ 69 h 279" name="T7"/>
                <a:gd fmla="*/ 1 w 242" name="T8"/>
                <a:gd fmla="*/ 63 h 279" name="T9"/>
                <a:gd fmla="*/ 0 w 242" name="T10"/>
                <a:gd fmla="*/ 45 h 279" name="T11"/>
                <a:gd fmla="*/ 6 w 242" name="T12"/>
                <a:gd fmla="*/ 40 h 279" name="T13"/>
                <a:gd fmla="*/ 11 w 242" name="T14"/>
                <a:gd fmla="*/ 30 h 279" name="T15"/>
                <a:gd fmla="*/ 5 w 242" name="T16"/>
                <a:gd fmla="*/ 27 h 279" name="T17"/>
                <a:gd fmla="*/ 7 w 242" name="T18"/>
                <a:gd fmla="*/ 22 h 279" name="T19"/>
                <a:gd fmla="*/ 14 w 242" name="T20"/>
                <a:gd fmla="*/ 20 h 279" name="T21"/>
                <a:gd fmla="*/ 21 w 242" name="T22"/>
                <a:gd fmla="*/ 10 h 279" name="T23"/>
                <a:gd fmla="*/ 27 w 242" name="T24"/>
                <a:gd fmla="*/ 3 h 279" name="T25"/>
                <a:gd fmla="*/ 33 w 242" name="T26"/>
                <a:gd fmla="*/ 0 h 279" name="T27"/>
                <a:gd fmla="*/ 44 w 242" name="T28"/>
                <a:gd fmla="*/ 13 h 279" name="T29"/>
                <a:gd fmla="*/ 54 w 242" name="T30"/>
                <a:gd fmla="*/ 13 h 279" name="T31"/>
                <a:gd fmla="*/ 58 w 242" name="T32"/>
                <a:gd fmla="*/ 25 h 279" name="T33"/>
                <a:gd fmla="*/ 61 w 242" name="T34"/>
                <a:gd fmla="*/ 35 h 279" name="T35"/>
                <a:gd fmla="*/ 54 w 242" name="T36"/>
                <a:gd fmla="*/ 41 h 279" name="T37"/>
                <a:gd fmla="*/ 54 w 242" name="T38"/>
                <a:gd fmla="*/ 54 h 279" name="T39"/>
                <a:gd fmla="*/ 44 w 242" name="T40"/>
                <a:gd fmla="*/ 62 h 279"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w 242" name="T63"/>
                <a:gd fmla="*/ 0 h 279" name="T64"/>
                <a:gd fmla="*/ 242 w 242" name="T65"/>
                <a:gd fmla="*/ 279 h 279" name="T66"/>
              </a:gd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b="T66" l="T63" r="T65" t="T64"/>
              <a:pathLst>
                <a:path h="279" w="241">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altLang="en-US" lang="zh-CN" sz="2400"/>
            </a:p>
          </p:txBody>
        </p:sp>
        <p:sp>
          <p:nvSpPr>
            <p:cNvPr id="53" name="Freeform 97"/>
            <p:cNvSpPr/>
            <p:nvPr/>
          </p:nvSpPr>
          <p:spPr bwMode="gray">
            <a:xfrm>
              <a:off x="3527" y="2070"/>
              <a:ext cx="86" cy="115"/>
            </a:xfrm>
            <a:custGeom>
              <a:gdLst>
                <a:gd fmla="*/ 2 w 171" name="T0"/>
                <a:gd fmla="*/ 36 h 230" name="T1"/>
                <a:gd fmla="*/ 1 w 171" name="T2"/>
                <a:gd fmla="*/ 47 h 230" name="T3"/>
                <a:gd fmla="*/ 8 w 171" name="T4"/>
                <a:gd fmla="*/ 56 h 230" name="T5"/>
                <a:gd fmla="*/ 24 w 171" name="T6"/>
                <a:gd fmla="*/ 58 h 230" name="T7"/>
                <a:gd fmla="*/ 37 w 171" name="T8"/>
                <a:gd fmla="*/ 54 h 230" name="T9"/>
                <a:gd fmla="*/ 38 w 171" name="T10"/>
                <a:gd fmla="*/ 39 h 230" name="T11"/>
                <a:gd fmla="*/ 43 w 171" name="T12"/>
                <a:gd fmla="*/ 27 h 230" name="T13"/>
                <a:gd fmla="*/ 41 w 171" name="T14"/>
                <a:gd fmla="*/ 20 h 230" name="T15"/>
                <a:gd fmla="*/ 35 w 171" name="T16"/>
                <a:gd fmla="*/ 15 h 230" name="T17"/>
                <a:gd fmla="*/ 25 w 171" name="T18"/>
                <a:gd fmla="*/ 9 h 230" name="T19"/>
                <a:gd fmla="*/ 25 w 171" name="T20"/>
                <a:gd fmla="*/ 1 h 230" name="T21"/>
                <a:gd fmla="*/ 12 w 171" name="T22"/>
                <a:gd fmla="*/ 0 h 230" name="T23"/>
                <a:gd fmla="*/ 11 w 171" name="T24"/>
                <a:gd fmla="*/ 12 h 230" name="T25"/>
                <a:gd fmla="*/ 0 w 171" name="T26"/>
                <a:gd fmla="*/ 20 h 230" name="T27"/>
                <a:gd fmla="*/ 2 w 171" name="T28"/>
                <a:gd fmla="*/ 36 h 230"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 fmla="*/ 0 w 171" name="T45"/>
                <a:gd fmla="*/ 0 h 230" name="T46"/>
                <a:gd fmla="*/ 171 w 171" name="T47"/>
                <a:gd fmla="*/ 230 h 230" name="T48"/>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b="T48" l="T45" r="T47" t="T46"/>
              <a:pathLst>
                <a:path h="230" w="171">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54" name="Freeform 98"/>
            <p:cNvSpPr/>
            <p:nvPr/>
          </p:nvSpPr>
          <p:spPr bwMode="gray">
            <a:xfrm>
              <a:off x="3527" y="2070"/>
              <a:ext cx="86" cy="115"/>
            </a:xfrm>
            <a:custGeom>
              <a:gdLst>
                <a:gd fmla="*/ 2 w 171" name="T0"/>
                <a:gd fmla="*/ 36 h 230" name="T1"/>
                <a:gd fmla="*/ 1 w 171" name="T2"/>
                <a:gd fmla="*/ 47 h 230" name="T3"/>
                <a:gd fmla="*/ 8 w 171" name="T4"/>
                <a:gd fmla="*/ 56 h 230" name="T5"/>
                <a:gd fmla="*/ 24 w 171" name="T6"/>
                <a:gd fmla="*/ 58 h 230" name="T7"/>
                <a:gd fmla="*/ 37 w 171" name="T8"/>
                <a:gd fmla="*/ 54 h 230" name="T9"/>
                <a:gd fmla="*/ 38 w 171" name="T10"/>
                <a:gd fmla="*/ 39 h 230" name="T11"/>
                <a:gd fmla="*/ 43 w 171" name="T12"/>
                <a:gd fmla="*/ 27 h 230" name="T13"/>
                <a:gd fmla="*/ 41 w 171" name="T14"/>
                <a:gd fmla="*/ 20 h 230" name="T15"/>
                <a:gd fmla="*/ 35 w 171" name="T16"/>
                <a:gd fmla="*/ 15 h 230" name="T17"/>
                <a:gd fmla="*/ 25 w 171" name="T18"/>
                <a:gd fmla="*/ 9 h 230" name="T19"/>
                <a:gd fmla="*/ 25 w 171" name="T20"/>
                <a:gd fmla="*/ 1 h 230" name="T21"/>
                <a:gd fmla="*/ 12 w 171" name="T22"/>
                <a:gd fmla="*/ 0 h 230" name="T23"/>
                <a:gd fmla="*/ 11 w 171" name="T24"/>
                <a:gd fmla="*/ 12 h 230" name="T25"/>
                <a:gd fmla="*/ 0 w 171" name="T26"/>
                <a:gd fmla="*/ 20 h 230" name="T27"/>
                <a:gd fmla="*/ 2 w 171" name="T28"/>
                <a:gd fmla="*/ 36 h 230"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 fmla="*/ 0 w 171" name="T45"/>
                <a:gd fmla="*/ 0 h 230" name="T46"/>
                <a:gd fmla="*/ 171 w 171" name="T47"/>
                <a:gd fmla="*/ 230 h 230" name="T48"/>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b="T48" l="T45" r="T47" t="T46"/>
              <a:pathLst>
                <a:path h="230" w="171">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altLang="en-US" lang="zh-CN" sz="2400"/>
            </a:p>
          </p:txBody>
        </p:sp>
        <p:sp>
          <p:nvSpPr>
            <p:cNvPr id="55" name="Freeform 99"/>
            <p:cNvSpPr/>
            <p:nvPr/>
          </p:nvSpPr>
          <p:spPr bwMode="gray">
            <a:xfrm>
              <a:off x="3643" y="1699"/>
              <a:ext cx="430" cy="429"/>
            </a:xfrm>
            <a:custGeom>
              <a:gdLst>
                <a:gd fmla="*/ 182 w 860" name="T0"/>
                <a:gd fmla="*/ 145 h 858" name="T1"/>
                <a:gd fmla="*/ 179 w 860" name="T2"/>
                <a:gd fmla="*/ 149 h 858" name="T3"/>
                <a:gd fmla="*/ 174 w 860" name="T4"/>
                <a:gd fmla="*/ 152 h 858" name="T5"/>
                <a:gd fmla="*/ 166 w 860" name="T6"/>
                <a:gd fmla="*/ 154 h 858" name="T7"/>
                <a:gd fmla="*/ 156 w 860" name="T8"/>
                <a:gd fmla="*/ 157 h 858" name="T9"/>
                <a:gd fmla="*/ 149 w 860" name="T10"/>
                <a:gd fmla="*/ 163 h 858" name="T11"/>
                <a:gd fmla="*/ 140 w 860" name="T12"/>
                <a:gd fmla="*/ 170 h 858" name="T13"/>
                <a:gd fmla="*/ 133 w 860" name="T14"/>
                <a:gd fmla="*/ 176 h 858" name="T15"/>
                <a:gd fmla="*/ 129 w 860" name="T16"/>
                <a:gd fmla="*/ 180 h 858" name="T17"/>
                <a:gd fmla="*/ 123 w 860" name="T18"/>
                <a:gd fmla="*/ 186 h 858" name="T19"/>
                <a:gd fmla="*/ 119 w 860" name="T20"/>
                <a:gd fmla="*/ 194 h 858" name="T21"/>
                <a:gd fmla="*/ 113 w 860" name="T22"/>
                <a:gd fmla="*/ 201 h 858" name="T23"/>
                <a:gd fmla="*/ 107 w 860" name="T24"/>
                <a:gd fmla="*/ 204 h 858" name="T25"/>
                <a:gd fmla="*/ 103 w 860" name="T26"/>
                <a:gd fmla="*/ 208 h 858" name="T27"/>
                <a:gd fmla="*/ 95 w 860" name="T28"/>
                <a:gd fmla="*/ 213 h 858" name="T29"/>
                <a:gd fmla="*/ 89 w 860" name="T30"/>
                <a:gd fmla="*/ 215 h 858" name="T31"/>
                <a:gd fmla="*/ 88 w 860" name="T32"/>
                <a:gd fmla="*/ 210 h 858" name="T33"/>
                <a:gd fmla="*/ 92 w 860" name="T34"/>
                <a:gd fmla="*/ 204 h 858" name="T35"/>
                <a:gd fmla="*/ 98 w 860" name="T36"/>
                <a:gd fmla="*/ 198 h 858" name="T37"/>
                <a:gd fmla="*/ 103 w 860" name="T38"/>
                <a:gd fmla="*/ 191 h 858" name="T39"/>
                <a:gd fmla="*/ 101 w 860" name="T40"/>
                <a:gd fmla="*/ 187 h 858" name="T41"/>
                <a:gd fmla="*/ 95 w 860" name="T42"/>
                <a:gd fmla="*/ 184 h 858" name="T43"/>
                <a:gd fmla="*/ 91 w 860" name="T44"/>
                <a:gd fmla="*/ 179 h 858" name="T45"/>
                <a:gd fmla="*/ 93 w 860" name="T46"/>
                <a:gd fmla="*/ 170 h 858" name="T47"/>
                <a:gd fmla="*/ 100 w 860" name="T48"/>
                <a:gd fmla="*/ 159 h 858" name="T49"/>
                <a:gd fmla="*/ 107 w 860" name="T50"/>
                <a:gd fmla="*/ 148 h 858" name="T51"/>
                <a:gd fmla="*/ 110 w 860" name="T52"/>
                <a:gd fmla="*/ 140 h 858" name="T53"/>
                <a:gd fmla="*/ 110 w 860" name="T54"/>
                <a:gd fmla="*/ 135 h 858" name="T55"/>
                <a:gd fmla="*/ 105 w 860" name="T56"/>
                <a:gd fmla="*/ 129 h 858" name="T57"/>
                <a:gd fmla="*/ 99 w 860" name="T58"/>
                <a:gd fmla="*/ 123 h 858" name="T59"/>
                <a:gd fmla="*/ 94 w 860" name="T60"/>
                <a:gd fmla="*/ 122 h 858" name="T61"/>
                <a:gd fmla="*/ 87 w 860" name="T62"/>
                <a:gd fmla="*/ 123 h 858" name="T63"/>
                <a:gd fmla="*/ 78 w 860" name="T64"/>
                <a:gd fmla="*/ 123 h 858" name="T65"/>
                <a:gd fmla="*/ 74 w 860" name="T66"/>
                <a:gd fmla="*/ 124 h 858" name="T67"/>
                <a:gd fmla="*/ 70 w 860" name="T68"/>
                <a:gd fmla="*/ 134 h 858" name="T69"/>
                <a:gd fmla="*/ 66 w 860" name="T70"/>
                <a:gd fmla="*/ 145 h 858" name="T71"/>
                <a:gd fmla="*/ 60 w 860" name="T72"/>
                <a:gd fmla="*/ 152 h 858" name="T73"/>
                <a:gd fmla="*/ 53 w 860" name="T74"/>
                <a:gd fmla="*/ 163 h 858" name="T75"/>
                <a:gd fmla="*/ 46 w 860" name="T76"/>
                <a:gd fmla="*/ 169 h 858" name="T77"/>
                <a:gd fmla="*/ 41 w 860" name="T78"/>
                <a:gd fmla="*/ 172 h 858" name="T79"/>
                <a:gd fmla="*/ 34 w 860" name="T80"/>
                <a:gd fmla="*/ 167 h 858" name="T81"/>
                <a:gd fmla="*/ 14 w 860" name="T82"/>
                <a:gd fmla="*/ 147 h 858" name="T83"/>
                <a:gd fmla="*/ 5 w 860" name="T84"/>
                <a:gd fmla="*/ 127 h 858" name="T85"/>
                <a:gd fmla="*/ 7 w 860" name="T86"/>
                <a:gd fmla="*/ 101 h 858" name="T87"/>
                <a:gd fmla="*/ 3 w 860" name="T88"/>
                <a:gd fmla="*/ 79 h 858" name="T89"/>
                <a:gd fmla="*/ 21 w 860" name="T90"/>
                <a:gd fmla="*/ 80 h 858" name="T91"/>
                <a:gd fmla="*/ 43 w 860" name="T92"/>
                <a:gd fmla="*/ 78 h 858" name="T93"/>
                <a:gd fmla="*/ 69 w 860" name="T94"/>
                <a:gd fmla="*/ 53 h 858" name="T95"/>
                <a:gd fmla="*/ 94 w 860" name="T96"/>
                <a:gd fmla="*/ 44 h 858" name="T97"/>
                <a:gd fmla="*/ 108 w 860" name="T98"/>
                <a:gd fmla="*/ 37 h 858" name="T99"/>
                <a:gd fmla="*/ 131 w 860" name="T100"/>
                <a:gd fmla="*/ 12 h 858" name="T101"/>
                <a:gd fmla="*/ 149 w 860" name="T102"/>
                <a:gd fmla="*/ 6 h 858" name="T103"/>
                <a:gd fmla="*/ 182 w 860" name="T104"/>
                <a:gd fmla="*/ 30 h 858" name="T105"/>
                <a:gd fmla="*/ 194 w 860" name="T106"/>
                <a:gd fmla="*/ 60 h 858" name="T107"/>
                <a:gd fmla="*/ 215 w 860" name="T108"/>
                <a:gd fmla="*/ 101 h 858" name="T109"/>
                <a:gd fmla="*/ 183 w 860" name="T110"/>
                <a:gd fmla="*/ 134 h 858"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w 860" name="T168"/>
                <a:gd fmla="*/ 0 h 858" name="T169"/>
                <a:gd fmla="*/ 860 w 860" name="T170"/>
                <a:gd fmla="*/ 858 h 858" name="T171"/>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b="T171" l="T168" r="T170" t="T169"/>
              <a:pathLst>
                <a:path h="858" w="860">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56" name="Freeform 100"/>
            <p:cNvSpPr/>
            <p:nvPr/>
          </p:nvSpPr>
          <p:spPr bwMode="gray">
            <a:xfrm>
              <a:off x="3643" y="1699"/>
              <a:ext cx="430" cy="429"/>
            </a:xfrm>
            <a:custGeom>
              <a:gdLst>
                <a:gd fmla="*/ 182 w 860" name="T0"/>
                <a:gd fmla="*/ 145 h 858" name="T1"/>
                <a:gd fmla="*/ 179 w 860" name="T2"/>
                <a:gd fmla="*/ 149 h 858" name="T3"/>
                <a:gd fmla="*/ 174 w 860" name="T4"/>
                <a:gd fmla="*/ 152 h 858" name="T5"/>
                <a:gd fmla="*/ 166 w 860" name="T6"/>
                <a:gd fmla="*/ 154 h 858" name="T7"/>
                <a:gd fmla="*/ 156 w 860" name="T8"/>
                <a:gd fmla="*/ 157 h 858" name="T9"/>
                <a:gd fmla="*/ 149 w 860" name="T10"/>
                <a:gd fmla="*/ 163 h 858" name="T11"/>
                <a:gd fmla="*/ 140 w 860" name="T12"/>
                <a:gd fmla="*/ 170 h 858" name="T13"/>
                <a:gd fmla="*/ 133 w 860" name="T14"/>
                <a:gd fmla="*/ 176 h 858" name="T15"/>
                <a:gd fmla="*/ 129 w 860" name="T16"/>
                <a:gd fmla="*/ 180 h 858" name="T17"/>
                <a:gd fmla="*/ 123 w 860" name="T18"/>
                <a:gd fmla="*/ 186 h 858" name="T19"/>
                <a:gd fmla="*/ 119 w 860" name="T20"/>
                <a:gd fmla="*/ 194 h 858" name="T21"/>
                <a:gd fmla="*/ 113 w 860" name="T22"/>
                <a:gd fmla="*/ 201 h 858" name="T23"/>
                <a:gd fmla="*/ 107 w 860" name="T24"/>
                <a:gd fmla="*/ 204 h 858" name="T25"/>
                <a:gd fmla="*/ 103 w 860" name="T26"/>
                <a:gd fmla="*/ 208 h 858" name="T27"/>
                <a:gd fmla="*/ 95 w 860" name="T28"/>
                <a:gd fmla="*/ 213 h 858" name="T29"/>
                <a:gd fmla="*/ 89 w 860" name="T30"/>
                <a:gd fmla="*/ 215 h 858" name="T31"/>
                <a:gd fmla="*/ 88 w 860" name="T32"/>
                <a:gd fmla="*/ 210 h 858" name="T33"/>
                <a:gd fmla="*/ 92 w 860" name="T34"/>
                <a:gd fmla="*/ 204 h 858" name="T35"/>
                <a:gd fmla="*/ 98 w 860" name="T36"/>
                <a:gd fmla="*/ 198 h 858" name="T37"/>
                <a:gd fmla="*/ 103 w 860" name="T38"/>
                <a:gd fmla="*/ 191 h 858" name="T39"/>
                <a:gd fmla="*/ 101 w 860" name="T40"/>
                <a:gd fmla="*/ 187 h 858" name="T41"/>
                <a:gd fmla="*/ 95 w 860" name="T42"/>
                <a:gd fmla="*/ 184 h 858" name="T43"/>
                <a:gd fmla="*/ 91 w 860" name="T44"/>
                <a:gd fmla="*/ 179 h 858" name="T45"/>
                <a:gd fmla="*/ 93 w 860" name="T46"/>
                <a:gd fmla="*/ 170 h 858" name="T47"/>
                <a:gd fmla="*/ 100 w 860" name="T48"/>
                <a:gd fmla="*/ 159 h 858" name="T49"/>
                <a:gd fmla="*/ 107 w 860" name="T50"/>
                <a:gd fmla="*/ 148 h 858" name="T51"/>
                <a:gd fmla="*/ 110 w 860" name="T52"/>
                <a:gd fmla="*/ 140 h 858" name="T53"/>
                <a:gd fmla="*/ 110 w 860" name="T54"/>
                <a:gd fmla="*/ 135 h 858" name="T55"/>
                <a:gd fmla="*/ 105 w 860" name="T56"/>
                <a:gd fmla="*/ 129 h 858" name="T57"/>
                <a:gd fmla="*/ 99 w 860" name="T58"/>
                <a:gd fmla="*/ 123 h 858" name="T59"/>
                <a:gd fmla="*/ 94 w 860" name="T60"/>
                <a:gd fmla="*/ 122 h 858" name="T61"/>
                <a:gd fmla="*/ 87 w 860" name="T62"/>
                <a:gd fmla="*/ 123 h 858" name="T63"/>
                <a:gd fmla="*/ 78 w 860" name="T64"/>
                <a:gd fmla="*/ 123 h 858" name="T65"/>
                <a:gd fmla="*/ 74 w 860" name="T66"/>
                <a:gd fmla="*/ 124 h 858" name="T67"/>
                <a:gd fmla="*/ 70 w 860" name="T68"/>
                <a:gd fmla="*/ 134 h 858" name="T69"/>
                <a:gd fmla="*/ 66 w 860" name="T70"/>
                <a:gd fmla="*/ 145 h 858" name="T71"/>
                <a:gd fmla="*/ 60 w 860" name="T72"/>
                <a:gd fmla="*/ 152 h 858" name="T73"/>
                <a:gd fmla="*/ 53 w 860" name="T74"/>
                <a:gd fmla="*/ 163 h 858" name="T75"/>
                <a:gd fmla="*/ 46 w 860" name="T76"/>
                <a:gd fmla="*/ 169 h 858" name="T77"/>
                <a:gd fmla="*/ 41 w 860" name="T78"/>
                <a:gd fmla="*/ 172 h 858" name="T79"/>
                <a:gd fmla="*/ 34 w 860" name="T80"/>
                <a:gd fmla="*/ 167 h 858" name="T81"/>
                <a:gd fmla="*/ 14 w 860" name="T82"/>
                <a:gd fmla="*/ 147 h 858" name="T83"/>
                <a:gd fmla="*/ 5 w 860" name="T84"/>
                <a:gd fmla="*/ 127 h 858" name="T85"/>
                <a:gd fmla="*/ 7 w 860" name="T86"/>
                <a:gd fmla="*/ 101 h 858" name="T87"/>
                <a:gd fmla="*/ 3 w 860" name="T88"/>
                <a:gd fmla="*/ 79 h 858" name="T89"/>
                <a:gd fmla="*/ 21 w 860" name="T90"/>
                <a:gd fmla="*/ 80 h 858" name="T91"/>
                <a:gd fmla="*/ 43 w 860" name="T92"/>
                <a:gd fmla="*/ 78 h 858" name="T93"/>
                <a:gd fmla="*/ 69 w 860" name="T94"/>
                <a:gd fmla="*/ 53 h 858" name="T95"/>
                <a:gd fmla="*/ 94 w 860" name="T96"/>
                <a:gd fmla="*/ 44 h 858" name="T97"/>
                <a:gd fmla="*/ 108 w 860" name="T98"/>
                <a:gd fmla="*/ 37 h 858" name="T99"/>
                <a:gd fmla="*/ 131 w 860" name="T100"/>
                <a:gd fmla="*/ 12 h 858" name="T101"/>
                <a:gd fmla="*/ 149 w 860" name="T102"/>
                <a:gd fmla="*/ 6 h 858" name="T103"/>
                <a:gd fmla="*/ 182 w 860" name="T104"/>
                <a:gd fmla="*/ 30 h 858" name="T105"/>
                <a:gd fmla="*/ 194 w 860" name="T106"/>
                <a:gd fmla="*/ 60 h 858" name="T107"/>
                <a:gd fmla="*/ 215 w 860" name="T108"/>
                <a:gd fmla="*/ 101 h 858" name="T109"/>
                <a:gd fmla="*/ 183 w 860" name="T110"/>
                <a:gd fmla="*/ 134 h 858"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w 860" name="T168"/>
                <a:gd fmla="*/ 0 h 858" name="T169"/>
                <a:gd fmla="*/ 860 w 860" name="T170"/>
                <a:gd fmla="*/ 858 h 858" name="T171"/>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b="T171" l="T168" r="T170" t="T169"/>
              <a:pathLst>
                <a:path h="858" w="860">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altLang="en-US" lang="zh-CN" sz="2400"/>
            </a:p>
          </p:txBody>
        </p:sp>
        <p:sp>
          <p:nvSpPr>
            <p:cNvPr id="57" name="Freeform 101"/>
            <p:cNvSpPr/>
            <p:nvPr/>
          </p:nvSpPr>
          <p:spPr bwMode="gray">
            <a:xfrm>
              <a:off x="3738" y="1458"/>
              <a:ext cx="630" cy="431"/>
            </a:xfrm>
            <a:custGeom>
              <a:gdLst>
                <a:gd fmla="*/ 315 w 1260" name="T0"/>
                <a:gd fmla="*/ 87 h 862" name="T1"/>
                <a:gd fmla="*/ 309 w 1260" name="T2"/>
                <a:gd fmla="*/ 91 h 862" name="T3"/>
                <a:gd fmla="*/ 299 w 1260" name="T4"/>
                <a:gd fmla="*/ 98 h 862" name="T5"/>
                <a:gd fmla="*/ 293 w 1260" name="T6"/>
                <a:gd fmla="*/ 101 h 862" name="T7"/>
                <a:gd fmla="*/ 287 w 1260" name="T8"/>
                <a:gd fmla="*/ 98 h 862" name="T9"/>
                <a:gd fmla="*/ 279 w 1260" name="T10"/>
                <a:gd fmla="*/ 94 h 862" name="T11"/>
                <a:gd fmla="*/ 277 w 1260" name="T12"/>
                <a:gd fmla="*/ 106 h 862" name="T13"/>
                <a:gd fmla="*/ 274 w 1260" name="T14"/>
                <a:gd fmla="*/ 119 h 862" name="T15"/>
                <a:gd fmla="*/ 265 w 1260" name="T16"/>
                <a:gd fmla="*/ 127 h 862" name="T17"/>
                <a:gd fmla="*/ 263 w 1260" name="T18"/>
                <a:gd fmla="*/ 136 h 862" name="T19"/>
                <a:gd fmla="*/ 254 w 1260" name="T20"/>
                <a:gd fmla="*/ 143 h 862" name="T21"/>
                <a:gd fmla="*/ 241 w 1260" name="T22"/>
                <a:gd fmla="*/ 147 h 862" name="T23"/>
                <a:gd fmla="*/ 233 w 1260" name="T24"/>
                <a:gd fmla="*/ 149 h 862" name="T25"/>
                <a:gd fmla="*/ 236 w 1260" name="T26"/>
                <a:gd fmla="*/ 157 h 862" name="T27"/>
                <a:gd fmla="*/ 244 w 1260" name="T28"/>
                <a:gd fmla="*/ 167 h 862" name="T29"/>
                <a:gd fmla="*/ 241 w 1260" name="T30"/>
                <a:gd fmla="*/ 175 h 862" name="T31"/>
                <a:gd fmla="*/ 226 w 1260" name="T32"/>
                <a:gd fmla="*/ 177 h 862" name="T33"/>
                <a:gd fmla="*/ 216 w 1260" name="T34"/>
                <a:gd fmla="*/ 177 h 862" name="T35"/>
                <a:gd fmla="*/ 207 w 1260" name="T36"/>
                <a:gd fmla="*/ 177 h 862" name="T37"/>
                <a:gd fmla="*/ 202 w 1260" name="T38"/>
                <a:gd fmla="*/ 172 h 862" name="T39"/>
                <a:gd fmla="*/ 196 w 1260" name="T40"/>
                <a:gd fmla="*/ 170 h 862" name="T41"/>
                <a:gd fmla="*/ 191 w 1260" name="T42"/>
                <a:gd fmla="*/ 183 h 862" name="T43"/>
                <a:gd fmla="*/ 185 w 1260" name="T44"/>
                <a:gd fmla="*/ 199 h 862" name="T45"/>
                <a:gd fmla="*/ 178 w 1260" name="T46"/>
                <a:gd fmla="*/ 213 h 862" name="T47"/>
                <a:gd fmla="*/ 169 w 1260" name="T48"/>
                <a:gd fmla="*/ 216 h 862" name="T49"/>
                <a:gd fmla="*/ 147 w 1260" name="T50"/>
                <a:gd fmla="*/ 181 h 862" name="T51"/>
                <a:gd fmla="*/ 122 w 1260" name="T52"/>
                <a:gd fmla="*/ 132 h 862" name="T53"/>
                <a:gd fmla="*/ 66 w 1260" name="T54"/>
                <a:gd fmla="*/ 99 h 862" name="T55"/>
                <a:gd fmla="*/ 28 w 1260" name="T56"/>
                <a:gd fmla="*/ 96 h 862" name="T57"/>
                <a:gd fmla="*/ 21 w 1260" name="T58"/>
                <a:gd fmla="*/ 55 h 862" name="T59"/>
                <a:gd fmla="*/ 6 w 1260" name="T60"/>
                <a:gd fmla="*/ 26 h 862" name="T61"/>
                <a:gd fmla="*/ 33 w 1260" name="T62"/>
                <a:gd fmla="*/ 29 h 862" name="T63"/>
                <a:gd fmla="*/ 64 w 1260" name="T64"/>
                <a:gd fmla="*/ 0 h 862" name="T65"/>
                <a:gd fmla="*/ 101 w 1260" name="T66"/>
                <a:gd fmla="*/ 27 h 862" name="T67"/>
                <a:gd fmla="*/ 133 w 1260" name="T68"/>
                <a:gd fmla="*/ 34 h 862" name="T69"/>
                <a:gd fmla="*/ 172 w 1260" name="T70"/>
                <a:gd fmla="*/ 48 h 862" name="T71"/>
                <a:gd fmla="*/ 206 w 1260" name="T72"/>
                <a:gd fmla="*/ 62 h 862" name="T73"/>
                <a:gd fmla="*/ 214 w 1260" name="T74"/>
                <a:gd fmla="*/ 42 h 862" name="T75"/>
                <a:gd fmla="*/ 217 w 1260" name="T76"/>
                <a:gd fmla="*/ 53 h 862" name="T77"/>
                <a:gd fmla="*/ 219 w 1260" name="T78"/>
                <a:gd fmla="*/ 58 h 862" name="T79"/>
                <a:gd fmla="*/ 227 w 1260" name="T80"/>
                <a:gd fmla="*/ 65 h 862" name="T81"/>
                <a:gd fmla="*/ 243 w 1260" name="T82"/>
                <a:gd fmla="*/ 80 h 862" name="T83"/>
                <a:gd fmla="*/ 265 w 1260" name="T84"/>
                <a:gd fmla="*/ 51 h 862" name="T85"/>
                <a:gd fmla="*/ 312 w 1260" name="T86"/>
                <a:gd fmla="*/ 62 h 862"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w 1260" name="T132"/>
                <a:gd fmla="*/ 0 h 862" name="T133"/>
                <a:gd fmla="*/ 1260 w 1260" name="T134"/>
                <a:gd fmla="*/ 862 h 862" name="T13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T135" l="T132" r="T134" t="T133"/>
              <a:pathLst>
                <a:path h="862" w="1260">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58" name="Freeform 102"/>
            <p:cNvSpPr/>
            <p:nvPr/>
          </p:nvSpPr>
          <p:spPr bwMode="gray">
            <a:xfrm>
              <a:off x="3738" y="1458"/>
              <a:ext cx="630" cy="431"/>
            </a:xfrm>
            <a:custGeom>
              <a:gdLst>
                <a:gd fmla="*/ 315 w 1260" name="T0"/>
                <a:gd fmla="*/ 87 h 862" name="T1"/>
                <a:gd fmla="*/ 309 w 1260" name="T2"/>
                <a:gd fmla="*/ 91 h 862" name="T3"/>
                <a:gd fmla="*/ 299 w 1260" name="T4"/>
                <a:gd fmla="*/ 98 h 862" name="T5"/>
                <a:gd fmla="*/ 293 w 1260" name="T6"/>
                <a:gd fmla="*/ 101 h 862" name="T7"/>
                <a:gd fmla="*/ 287 w 1260" name="T8"/>
                <a:gd fmla="*/ 98 h 862" name="T9"/>
                <a:gd fmla="*/ 279 w 1260" name="T10"/>
                <a:gd fmla="*/ 94 h 862" name="T11"/>
                <a:gd fmla="*/ 277 w 1260" name="T12"/>
                <a:gd fmla="*/ 106 h 862" name="T13"/>
                <a:gd fmla="*/ 274 w 1260" name="T14"/>
                <a:gd fmla="*/ 119 h 862" name="T15"/>
                <a:gd fmla="*/ 265 w 1260" name="T16"/>
                <a:gd fmla="*/ 127 h 862" name="T17"/>
                <a:gd fmla="*/ 263 w 1260" name="T18"/>
                <a:gd fmla="*/ 136 h 862" name="T19"/>
                <a:gd fmla="*/ 254 w 1260" name="T20"/>
                <a:gd fmla="*/ 143 h 862" name="T21"/>
                <a:gd fmla="*/ 241 w 1260" name="T22"/>
                <a:gd fmla="*/ 147 h 862" name="T23"/>
                <a:gd fmla="*/ 233 w 1260" name="T24"/>
                <a:gd fmla="*/ 149 h 862" name="T25"/>
                <a:gd fmla="*/ 236 w 1260" name="T26"/>
                <a:gd fmla="*/ 157 h 862" name="T27"/>
                <a:gd fmla="*/ 244 w 1260" name="T28"/>
                <a:gd fmla="*/ 167 h 862" name="T29"/>
                <a:gd fmla="*/ 241 w 1260" name="T30"/>
                <a:gd fmla="*/ 175 h 862" name="T31"/>
                <a:gd fmla="*/ 226 w 1260" name="T32"/>
                <a:gd fmla="*/ 177 h 862" name="T33"/>
                <a:gd fmla="*/ 216 w 1260" name="T34"/>
                <a:gd fmla="*/ 177 h 862" name="T35"/>
                <a:gd fmla="*/ 207 w 1260" name="T36"/>
                <a:gd fmla="*/ 177 h 862" name="T37"/>
                <a:gd fmla="*/ 202 w 1260" name="T38"/>
                <a:gd fmla="*/ 172 h 862" name="T39"/>
                <a:gd fmla="*/ 196 w 1260" name="T40"/>
                <a:gd fmla="*/ 170 h 862" name="T41"/>
                <a:gd fmla="*/ 191 w 1260" name="T42"/>
                <a:gd fmla="*/ 183 h 862" name="T43"/>
                <a:gd fmla="*/ 185 w 1260" name="T44"/>
                <a:gd fmla="*/ 199 h 862" name="T45"/>
                <a:gd fmla="*/ 178 w 1260" name="T46"/>
                <a:gd fmla="*/ 213 h 862" name="T47"/>
                <a:gd fmla="*/ 169 w 1260" name="T48"/>
                <a:gd fmla="*/ 216 h 862" name="T49"/>
                <a:gd fmla="*/ 147 w 1260" name="T50"/>
                <a:gd fmla="*/ 181 h 862" name="T51"/>
                <a:gd fmla="*/ 122 w 1260" name="T52"/>
                <a:gd fmla="*/ 132 h 862" name="T53"/>
                <a:gd fmla="*/ 66 w 1260" name="T54"/>
                <a:gd fmla="*/ 99 h 862" name="T55"/>
                <a:gd fmla="*/ 28 w 1260" name="T56"/>
                <a:gd fmla="*/ 96 h 862" name="T57"/>
                <a:gd fmla="*/ 21 w 1260" name="T58"/>
                <a:gd fmla="*/ 55 h 862" name="T59"/>
                <a:gd fmla="*/ 6 w 1260" name="T60"/>
                <a:gd fmla="*/ 26 h 862" name="T61"/>
                <a:gd fmla="*/ 33 w 1260" name="T62"/>
                <a:gd fmla="*/ 29 h 862" name="T63"/>
                <a:gd fmla="*/ 64 w 1260" name="T64"/>
                <a:gd fmla="*/ 0 h 862" name="T65"/>
                <a:gd fmla="*/ 101 w 1260" name="T66"/>
                <a:gd fmla="*/ 27 h 862" name="T67"/>
                <a:gd fmla="*/ 133 w 1260" name="T68"/>
                <a:gd fmla="*/ 34 h 862" name="T69"/>
                <a:gd fmla="*/ 172 w 1260" name="T70"/>
                <a:gd fmla="*/ 48 h 862" name="T71"/>
                <a:gd fmla="*/ 206 w 1260" name="T72"/>
                <a:gd fmla="*/ 62 h 862" name="T73"/>
                <a:gd fmla="*/ 214 w 1260" name="T74"/>
                <a:gd fmla="*/ 42 h 862" name="T75"/>
                <a:gd fmla="*/ 217 w 1260" name="T76"/>
                <a:gd fmla="*/ 53 h 862" name="T77"/>
                <a:gd fmla="*/ 219 w 1260" name="T78"/>
                <a:gd fmla="*/ 58 h 862" name="T79"/>
                <a:gd fmla="*/ 227 w 1260" name="T80"/>
                <a:gd fmla="*/ 65 h 862" name="T81"/>
                <a:gd fmla="*/ 243 w 1260" name="T82"/>
                <a:gd fmla="*/ 80 h 862" name="T83"/>
                <a:gd fmla="*/ 265 w 1260" name="T84"/>
                <a:gd fmla="*/ 51 h 862" name="T85"/>
                <a:gd fmla="*/ 312 w 1260" name="T86"/>
                <a:gd fmla="*/ 62 h 862"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w 1260" name="T132"/>
                <a:gd fmla="*/ 0 h 862" name="T133"/>
                <a:gd fmla="*/ 1260 w 1260" name="T134"/>
                <a:gd fmla="*/ 862 h 862" name="T13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T135" l="T132" r="T134" t="T133"/>
              <a:pathLst>
                <a:path h="862" w="1260">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altLang="en-US" lang="zh-CN" sz="2400"/>
            </a:p>
          </p:txBody>
        </p:sp>
        <p:sp>
          <p:nvSpPr>
            <p:cNvPr id="59" name="Freeform 103"/>
            <p:cNvSpPr/>
            <p:nvPr/>
          </p:nvSpPr>
          <p:spPr bwMode="gray">
            <a:xfrm>
              <a:off x="3599" y="839"/>
              <a:ext cx="861" cy="778"/>
            </a:xfrm>
            <a:custGeom>
              <a:gdLst>
                <a:gd fmla="*/ 419 w 1722" name="T0"/>
                <a:gd fmla="*/ 147 h 1557" name="T1"/>
                <a:gd fmla="*/ 423 w 1722" name="T2"/>
                <a:gd fmla="*/ 159 h 1557" name="T3"/>
                <a:gd fmla="*/ 428 w 1722" name="T4"/>
                <a:gd fmla="*/ 173 h 1557" name="T5"/>
                <a:gd fmla="*/ 419 w 1722" name="T6"/>
                <a:gd fmla="*/ 185 h 1557" name="T7"/>
                <a:gd fmla="*/ 421 w 1722" name="T8"/>
                <a:gd fmla="*/ 196 h 1557" name="T9"/>
                <a:gd fmla="*/ 431 w 1722" name="T10"/>
                <a:gd fmla="*/ 209 h 1557" name="T11"/>
                <a:gd fmla="*/ 429 w 1722" name="T12"/>
                <a:gd fmla="*/ 233 h 1557" name="T13"/>
                <a:gd fmla="*/ 425 w 1722" name="T14"/>
                <a:gd fmla="*/ 256 h 1557" name="T15"/>
                <a:gd fmla="*/ 417 w 1722" name="T16"/>
                <a:gd fmla="*/ 278 h 1557" name="T17"/>
                <a:gd fmla="*/ 418 w 1722" name="T18"/>
                <a:gd fmla="*/ 290 h 1557" name="T19"/>
                <a:gd fmla="*/ 404 w 1722" name="T20"/>
                <a:gd fmla="*/ 293 h 1557" name="T21"/>
                <a:gd fmla="*/ 383 w 1722" name="T22"/>
                <a:gd fmla="*/ 292 h 1557" name="T23"/>
                <a:gd fmla="*/ 374 w 1722" name="T24"/>
                <a:gd fmla="*/ 295 h 1557" name="T25"/>
                <a:gd fmla="*/ 367 w 1722" name="T26"/>
                <a:gd fmla="*/ 309 h 1557" name="T27"/>
                <a:gd fmla="*/ 358 w 1722" name="T28"/>
                <a:gd fmla="*/ 318 h 1557" name="T29"/>
                <a:gd fmla="*/ 368 w 1722" name="T30"/>
                <a:gd fmla="*/ 333 h 1557" name="T31"/>
                <a:gd fmla="*/ 375 w 1722" name="T32"/>
                <a:gd fmla="*/ 350 h 1557" name="T33"/>
                <a:gd fmla="*/ 380 w 1722" name="T34"/>
                <a:gd fmla="*/ 367 h 1557" name="T35"/>
                <a:gd fmla="*/ 334 w 1722" name="T36"/>
                <a:gd fmla="*/ 359 h 1557" name="T37"/>
                <a:gd fmla="*/ 299 w 1722" name="T38"/>
                <a:gd fmla="*/ 376 h 1557" name="T39"/>
                <a:gd fmla="*/ 275 w 1722" name="T40"/>
                <a:gd fmla="*/ 371 h 1557" name="T41"/>
                <a:gd fmla="*/ 237 w 1722" name="T42"/>
                <a:gd fmla="*/ 345 h 1557" name="T43"/>
                <a:gd fmla="*/ 183 w 1722" name="T44"/>
                <a:gd fmla="*/ 338 h 1557" name="T45"/>
                <a:gd fmla="*/ 134 w 1722" name="T46"/>
                <a:gd fmla="*/ 309 h 1557" name="T47"/>
                <a:gd fmla="*/ 93 w 1722" name="T48"/>
                <a:gd fmla="*/ 288 h 1557" name="T49"/>
                <a:gd fmla="*/ 118 w 1722" name="T50"/>
                <a:gd fmla="*/ 211 h 1557" name="T51"/>
                <a:gd fmla="*/ 133 w 1722" name="T52"/>
                <a:gd fmla="*/ 147 h 1557" name="T53"/>
                <a:gd fmla="*/ 106 w 1722" name="T54"/>
                <a:gd fmla="*/ 89 h 1557" name="T55"/>
                <a:gd fmla="*/ 45 w 1722" name="T56"/>
                <a:gd fmla="*/ 63 h 1557" name="T57"/>
                <a:gd fmla="*/ 12 w 1722" name="T58"/>
                <a:gd fmla="*/ 35 h 1557" name="T59"/>
                <a:gd fmla="*/ 9 w 1722" name="T60"/>
                <a:gd fmla="*/ 18 h 1557" name="T61"/>
                <a:gd fmla="*/ 25 w 1722" name="T62"/>
                <a:gd fmla="*/ 11 h 1557" name="T63"/>
                <a:gd fmla="*/ 45 w 1722" name="T64"/>
                <a:gd fmla="*/ 4 h 1557" name="T65"/>
                <a:gd fmla="*/ 61 w 1722" name="T66"/>
                <a:gd fmla="*/ 1 h 1557" name="T67"/>
                <a:gd fmla="*/ 82 w 1722" name="T68"/>
                <a:gd fmla="*/ 11 h 1557" name="T69"/>
                <a:gd fmla="*/ 94 w 1722" name="T70"/>
                <a:gd fmla="*/ 8 h 1557" name="T71"/>
                <a:gd fmla="*/ 104 w 1722" name="T72"/>
                <a:gd fmla="*/ 6 h 1557" name="T73"/>
                <a:gd fmla="*/ 127 w 1722" name="T74"/>
                <a:gd fmla="*/ 24 h 1557" name="T75"/>
                <a:gd fmla="*/ 146 w 1722" name="T76"/>
                <a:gd fmla="*/ 46 h 1557" name="T77"/>
                <a:gd fmla="*/ 160 w 1722" name="T78"/>
                <a:gd fmla="*/ 69 h 1557" name="T79"/>
                <a:gd fmla="*/ 175 w 1722" name="T80"/>
                <a:gd fmla="*/ 92 h 1557" name="T81"/>
                <a:gd fmla="*/ 184 w 1722" name="T82"/>
                <a:gd fmla="*/ 101 h 1557" name="T83"/>
                <a:gd fmla="*/ 194 w 1722" name="T84"/>
                <a:gd fmla="*/ 123 h 1557" name="T85"/>
                <a:gd fmla="*/ 206 w 1722" name="T86"/>
                <a:gd fmla="*/ 138 h 1557" name="T87"/>
                <a:gd fmla="*/ 225 w 1722" name="T88"/>
                <a:gd fmla="*/ 141 h 1557" name="T89"/>
                <a:gd fmla="*/ 245 w 1722" name="T90"/>
                <a:gd fmla="*/ 137 h 1557" name="T91"/>
                <a:gd fmla="*/ 267 w 1722" name="T92"/>
                <a:gd fmla="*/ 143 h 1557" name="T93"/>
                <a:gd fmla="*/ 281 w 1722" name="T94"/>
                <a:gd fmla="*/ 152 h 1557" name="T95"/>
                <a:gd fmla="*/ 293 w 1722" name="T96"/>
                <a:gd fmla="*/ 154 h 1557" name="T97"/>
                <a:gd fmla="*/ 298 w 1722" name="T98"/>
                <a:gd fmla="*/ 154 h 1557" name="T99"/>
                <a:gd fmla="*/ 300 w 1722" name="T100"/>
                <a:gd fmla="*/ 160 h 1557" name="T101"/>
                <a:gd fmla="*/ 308 w 1722" name="T102"/>
                <a:gd fmla="*/ 175 h 1557" name="T103"/>
                <a:gd fmla="*/ 317 w 1722" name="T104"/>
                <a:gd fmla="*/ 191 h 1557" name="T105"/>
                <a:gd fmla="*/ 329 w 1722" name="T106"/>
                <a:gd fmla="*/ 197 h 1557" name="T107"/>
                <a:gd fmla="*/ 350 w 1722" name="T108"/>
                <a:gd fmla="*/ 191 h 1557" name="T109"/>
                <a:gd fmla="*/ 368 w 1722" name="T110"/>
                <a:gd fmla="*/ 175 h 1557" name="T111"/>
                <a:gd fmla="*/ 382 w 1722" name="T112"/>
                <a:gd fmla="*/ 160 h 1557" name="T113"/>
                <a:gd fmla="*/ 396 w 1722" name="T114"/>
                <a:gd fmla="*/ 148 h 1557" name="T115"/>
                <a:gd fmla="*/ 414 w 1722" name="T116"/>
                <a:gd fmla="*/ 140 h 1557"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1722" name="T177"/>
                <a:gd fmla="*/ 0 h 1557" name="T178"/>
                <a:gd fmla="*/ 1722 w 1722" name="T179"/>
                <a:gd fmla="*/ 1557 h 1557"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1557" w="1722">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60" name="Freeform 104"/>
            <p:cNvSpPr/>
            <p:nvPr/>
          </p:nvSpPr>
          <p:spPr bwMode="gray">
            <a:xfrm>
              <a:off x="3599" y="839"/>
              <a:ext cx="861" cy="778"/>
            </a:xfrm>
            <a:custGeom>
              <a:gdLst>
                <a:gd fmla="*/ 419 w 1722" name="T0"/>
                <a:gd fmla="*/ 147 h 1557" name="T1"/>
                <a:gd fmla="*/ 423 w 1722" name="T2"/>
                <a:gd fmla="*/ 159 h 1557" name="T3"/>
                <a:gd fmla="*/ 428 w 1722" name="T4"/>
                <a:gd fmla="*/ 173 h 1557" name="T5"/>
                <a:gd fmla="*/ 419 w 1722" name="T6"/>
                <a:gd fmla="*/ 185 h 1557" name="T7"/>
                <a:gd fmla="*/ 421 w 1722" name="T8"/>
                <a:gd fmla="*/ 196 h 1557" name="T9"/>
                <a:gd fmla="*/ 431 w 1722" name="T10"/>
                <a:gd fmla="*/ 209 h 1557" name="T11"/>
                <a:gd fmla="*/ 429 w 1722" name="T12"/>
                <a:gd fmla="*/ 233 h 1557" name="T13"/>
                <a:gd fmla="*/ 425 w 1722" name="T14"/>
                <a:gd fmla="*/ 256 h 1557" name="T15"/>
                <a:gd fmla="*/ 417 w 1722" name="T16"/>
                <a:gd fmla="*/ 278 h 1557" name="T17"/>
                <a:gd fmla="*/ 418 w 1722" name="T18"/>
                <a:gd fmla="*/ 290 h 1557" name="T19"/>
                <a:gd fmla="*/ 404 w 1722" name="T20"/>
                <a:gd fmla="*/ 293 h 1557" name="T21"/>
                <a:gd fmla="*/ 383 w 1722" name="T22"/>
                <a:gd fmla="*/ 292 h 1557" name="T23"/>
                <a:gd fmla="*/ 374 w 1722" name="T24"/>
                <a:gd fmla="*/ 295 h 1557" name="T25"/>
                <a:gd fmla="*/ 367 w 1722" name="T26"/>
                <a:gd fmla="*/ 309 h 1557" name="T27"/>
                <a:gd fmla="*/ 358 w 1722" name="T28"/>
                <a:gd fmla="*/ 318 h 1557" name="T29"/>
                <a:gd fmla="*/ 368 w 1722" name="T30"/>
                <a:gd fmla="*/ 333 h 1557" name="T31"/>
                <a:gd fmla="*/ 375 w 1722" name="T32"/>
                <a:gd fmla="*/ 350 h 1557" name="T33"/>
                <a:gd fmla="*/ 380 w 1722" name="T34"/>
                <a:gd fmla="*/ 367 h 1557" name="T35"/>
                <a:gd fmla="*/ 334 w 1722" name="T36"/>
                <a:gd fmla="*/ 359 h 1557" name="T37"/>
                <a:gd fmla="*/ 299 w 1722" name="T38"/>
                <a:gd fmla="*/ 376 h 1557" name="T39"/>
                <a:gd fmla="*/ 275 w 1722" name="T40"/>
                <a:gd fmla="*/ 371 h 1557" name="T41"/>
                <a:gd fmla="*/ 237 w 1722" name="T42"/>
                <a:gd fmla="*/ 345 h 1557" name="T43"/>
                <a:gd fmla="*/ 183 w 1722" name="T44"/>
                <a:gd fmla="*/ 338 h 1557" name="T45"/>
                <a:gd fmla="*/ 134 w 1722" name="T46"/>
                <a:gd fmla="*/ 309 h 1557" name="T47"/>
                <a:gd fmla="*/ 93 w 1722" name="T48"/>
                <a:gd fmla="*/ 288 h 1557" name="T49"/>
                <a:gd fmla="*/ 118 w 1722" name="T50"/>
                <a:gd fmla="*/ 211 h 1557" name="T51"/>
                <a:gd fmla="*/ 133 w 1722" name="T52"/>
                <a:gd fmla="*/ 147 h 1557" name="T53"/>
                <a:gd fmla="*/ 106 w 1722" name="T54"/>
                <a:gd fmla="*/ 89 h 1557" name="T55"/>
                <a:gd fmla="*/ 45 w 1722" name="T56"/>
                <a:gd fmla="*/ 63 h 1557" name="T57"/>
                <a:gd fmla="*/ 12 w 1722" name="T58"/>
                <a:gd fmla="*/ 35 h 1557" name="T59"/>
                <a:gd fmla="*/ 9 w 1722" name="T60"/>
                <a:gd fmla="*/ 18 h 1557" name="T61"/>
                <a:gd fmla="*/ 25 w 1722" name="T62"/>
                <a:gd fmla="*/ 11 h 1557" name="T63"/>
                <a:gd fmla="*/ 45 w 1722" name="T64"/>
                <a:gd fmla="*/ 4 h 1557" name="T65"/>
                <a:gd fmla="*/ 61 w 1722" name="T66"/>
                <a:gd fmla="*/ 1 h 1557" name="T67"/>
                <a:gd fmla="*/ 82 w 1722" name="T68"/>
                <a:gd fmla="*/ 11 h 1557" name="T69"/>
                <a:gd fmla="*/ 94 w 1722" name="T70"/>
                <a:gd fmla="*/ 8 h 1557" name="T71"/>
                <a:gd fmla="*/ 104 w 1722" name="T72"/>
                <a:gd fmla="*/ 6 h 1557" name="T73"/>
                <a:gd fmla="*/ 127 w 1722" name="T74"/>
                <a:gd fmla="*/ 24 h 1557" name="T75"/>
                <a:gd fmla="*/ 146 w 1722" name="T76"/>
                <a:gd fmla="*/ 46 h 1557" name="T77"/>
                <a:gd fmla="*/ 160 w 1722" name="T78"/>
                <a:gd fmla="*/ 69 h 1557" name="T79"/>
                <a:gd fmla="*/ 175 w 1722" name="T80"/>
                <a:gd fmla="*/ 92 h 1557" name="T81"/>
                <a:gd fmla="*/ 184 w 1722" name="T82"/>
                <a:gd fmla="*/ 101 h 1557" name="T83"/>
                <a:gd fmla="*/ 194 w 1722" name="T84"/>
                <a:gd fmla="*/ 123 h 1557" name="T85"/>
                <a:gd fmla="*/ 206 w 1722" name="T86"/>
                <a:gd fmla="*/ 138 h 1557" name="T87"/>
                <a:gd fmla="*/ 225 w 1722" name="T88"/>
                <a:gd fmla="*/ 141 h 1557" name="T89"/>
                <a:gd fmla="*/ 245 w 1722" name="T90"/>
                <a:gd fmla="*/ 137 h 1557" name="T91"/>
                <a:gd fmla="*/ 267 w 1722" name="T92"/>
                <a:gd fmla="*/ 143 h 1557" name="T93"/>
                <a:gd fmla="*/ 281 w 1722" name="T94"/>
                <a:gd fmla="*/ 152 h 1557" name="T95"/>
                <a:gd fmla="*/ 293 w 1722" name="T96"/>
                <a:gd fmla="*/ 154 h 1557" name="T97"/>
                <a:gd fmla="*/ 298 w 1722" name="T98"/>
                <a:gd fmla="*/ 154 h 1557" name="T99"/>
                <a:gd fmla="*/ 300 w 1722" name="T100"/>
                <a:gd fmla="*/ 160 h 1557" name="T101"/>
                <a:gd fmla="*/ 308 w 1722" name="T102"/>
                <a:gd fmla="*/ 175 h 1557" name="T103"/>
                <a:gd fmla="*/ 317 w 1722" name="T104"/>
                <a:gd fmla="*/ 191 h 1557" name="T105"/>
                <a:gd fmla="*/ 329 w 1722" name="T106"/>
                <a:gd fmla="*/ 197 h 1557" name="T107"/>
                <a:gd fmla="*/ 350 w 1722" name="T108"/>
                <a:gd fmla="*/ 191 h 1557" name="T109"/>
                <a:gd fmla="*/ 368 w 1722" name="T110"/>
                <a:gd fmla="*/ 175 h 1557" name="T111"/>
                <a:gd fmla="*/ 382 w 1722" name="T112"/>
                <a:gd fmla="*/ 160 h 1557" name="T113"/>
                <a:gd fmla="*/ 396 w 1722" name="T114"/>
                <a:gd fmla="*/ 148 h 1557" name="T115"/>
                <a:gd fmla="*/ 414 w 1722" name="T116"/>
                <a:gd fmla="*/ 140 h 1557"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1722" name="T177"/>
                <a:gd fmla="*/ 0 h 1557" name="T178"/>
                <a:gd fmla="*/ 1722 w 1722" name="T179"/>
                <a:gd fmla="*/ 1557 h 1557"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1557" w="1722">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altLang="en-US" lang="zh-CN" sz="2400"/>
            </a:p>
          </p:txBody>
        </p:sp>
        <p:sp>
          <p:nvSpPr>
            <p:cNvPr id="61" name="Freeform 105"/>
            <p:cNvSpPr/>
            <p:nvPr/>
          </p:nvSpPr>
          <p:spPr bwMode="gray">
            <a:xfrm>
              <a:off x="2264" y="884"/>
              <a:ext cx="1641" cy="1473"/>
            </a:xfrm>
            <a:custGeom>
              <a:gdLst>
                <a:gd fmla="*/ 651 w 3282" name="T0"/>
                <a:gd fmla="*/ 10 h 2947" name="T1"/>
                <a:gd fmla="*/ 669 w 3282" name="T2"/>
                <a:gd fmla="*/ 0 h 2947" name="T3"/>
                <a:gd fmla="*/ 720 w 3282" name="T4"/>
                <a:gd fmla="*/ 75 h 2947" name="T5"/>
                <a:gd fmla="*/ 808 w 3282" name="T6"/>
                <a:gd fmla="*/ 154 h 2947" name="T7"/>
                <a:gd fmla="*/ 761 w 3282" name="T8"/>
                <a:gd fmla="*/ 265 h 2947" name="T9"/>
                <a:gd fmla="*/ 737 w 3282" name="T10"/>
                <a:gd fmla="*/ 326 h 2947" name="T11"/>
                <a:gd fmla="*/ 793 w 3282" name="T12"/>
                <a:gd fmla="*/ 368 h 2947" name="T13"/>
                <a:gd fmla="*/ 785 w 3282" name="T14"/>
                <a:gd fmla="*/ 441 h 2947" name="T15"/>
                <a:gd fmla="*/ 710 w 3282" name="T16"/>
                <a:gd fmla="*/ 486 h 2947" name="T17"/>
                <a:gd fmla="*/ 693 w 3282" name="T18"/>
                <a:gd fmla="*/ 529 h 2947" name="T19"/>
                <a:gd fmla="*/ 634 w 3282" name="T20"/>
                <a:gd fmla="*/ 485 h 2947" name="T21"/>
                <a:gd fmla="*/ 587 w 3282" name="T22"/>
                <a:gd fmla="*/ 518 h 2947" name="T23"/>
                <a:gd fmla="*/ 530 w 3282" name="T24"/>
                <a:gd fmla="*/ 545 h 2947" name="T25"/>
                <a:gd fmla="*/ 470 w 3282" name="T26"/>
                <a:gd fmla="*/ 631 h 2947" name="T27"/>
                <a:gd fmla="*/ 376 w 3282" name="T28"/>
                <a:gd fmla="*/ 713 h 2947" name="T29"/>
                <a:gd fmla="*/ 309 w 3282" name="T30"/>
                <a:gd fmla="*/ 676 h 2947" name="T31"/>
                <a:gd fmla="*/ 235 w 3282" name="T32"/>
                <a:gd fmla="*/ 736 h 2947" name="T33"/>
                <a:gd fmla="*/ 189 w 3282" name="T34"/>
                <a:gd fmla="*/ 655 h 2947" name="T35"/>
                <a:gd fmla="*/ 88 w 3282" name="T36"/>
                <a:gd fmla="*/ 617 h 2947" name="T37"/>
                <a:gd fmla="*/ 9 w 3282" name="T38"/>
                <a:gd fmla="*/ 583 h 2947" name="T39"/>
                <a:gd fmla="*/ 20 w 3282" name="T40"/>
                <a:gd fmla="*/ 515 h 2947" name="T41"/>
                <a:gd fmla="*/ 70 w 3282" name="T42"/>
                <a:gd fmla="*/ 522 h 2947" name="T43"/>
                <a:gd fmla="*/ 103 w 3282" name="T44"/>
                <a:gd fmla="*/ 518 h 2947" name="T45"/>
                <a:gd fmla="*/ 144 w 3282" name="T46"/>
                <a:gd fmla="*/ 526 h 2947" name="T47"/>
                <a:gd fmla="*/ 178 w 3282" name="T48"/>
                <a:gd fmla="*/ 545 h 2947" name="T49"/>
                <a:gd fmla="*/ 223 w 3282" name="T50"/>
                <a:gd fmla="*/ 550 h 2947" name="T51"/>
                <a:gd fmla="*/ 246 w 3282" name="T52"/>
                <a:gd fmla="*/ 558 h 2947" name="T53"/>
                <a:gd fmla="*/ 291 w 3282" name="T54"/>
                <a:gd fmla="*/ 532 h 2947" name="T55"/>
                <a:gd fmla="*/ 341 w 3282" name="T56"/>
                <a:gd fmla="*/ 519 h 2947" name="T57"/>
                <a:gd fmla="*/ 375 w 3282" name="T58"/>
                <a:gd fmla="*/ 517 h 2947" name="T59"/>
                <a:gd fmla="*/ 398 w 3282" name="T60"/>
                <a:gd fmla="*/ 506 h 2947" name="T61"/>
                <a:gd fmla="*/ 420 w 3282" name="T62"/>
                <a:gd fmla="*/ 485 h 2947" name="T63"/>
                <a:gd fmla="*/ 443 w 3282" name="T64"/>
                <a:gd fmla="*/ 466 h 2947" name="T65"/>
                <a:gd fmla="*/ 459 w 3282" name="T66"/>
                <a:gd fmla="*/ 452 h 2947" name="T67"/>
                <a:gd fmla="*/ 443 w 3282" name="T68"/>
                <a:gd fmla="*/ 419 h 2947" name="T69"/>
                <a:gd fmla="*/ 466 w 3282" name="T70"/>
                <a:gd fmla="*/ 396 h 2947" name="T71"/>
                <a:gd fmla="*/ 505 w 3282" name="T72"/>
                <a:gd fmla="*/ 403 h 2947" name="T73"/>
                <a:gd fmla="*/ 530 w 3282" name="T74"/>
                <a:gd fmla="*/ 375 h 2947" name="T75"/>
                <a:gd fmla="*/ 561 w 3282" name="T76"/>
                <a:gd fmla="*/ 369 h 2947" name="T77"/>
                <a:gd fmla="*/ 579 w 3282" name="T78"/>
                <a:gd fmla="*/ 341 h 2947" name="T79"/>
                <a:gd fmla="*/ 607 w 3282" name="T80"/>
                <a:gd fmla="*/ 315 h 2947" name="T81"/>
                <a:gd fmla="*/ 634 w 3282" name="T82"/>
                <a:gd fmla="*/ 298 h 2947" name="T83"/>
                <a:gd fmla="*/ 672 w 3282" name="T84"/>
                <a:gd fmla="*/ 300 h 2947" name="T85"/>
                <a:gd fmla="*/ 671 w 3282" name="T86"/>
                <a:gd fmla="*/ 277 h 2947" name="T87"/>
                <a:gd fmla="*/ 631 w 3282" name="T88"/>
                <a:gd fmla="*/ 249 h 2947" name="T89"/>
                <a:gd fmla="*/ 607 w 3282" name="T90"/>
                <a:gd fmla="*/ 260 h 2947" name="T91"/>
                <a:gd fmla="*/ 576 w 3282" name="T92"/>
                <a:gd fmla="*/ 258 h 2947" name="T93"/>
                <a:gd fmla="*/ 553 w 3282" name="T94"/>
                <a:gd fmla="*/ 268 h 2947" name="T95"/>
                <a:gd fmla="*/ 549 w 3282" name="T96"/>
                <a:gd fmla="*/ 245 h 2947" name="T97"/>
                <a:gd fmla="*/ 560 w 3282" name="T98"/>
                <a:gd fmla="*/ 195 h 2947" name="T99"/>
                <a:gd fmla="*/ 583 w 3282" name="T100"/>
                <a:gd fmla="*/ 179 h 2947" name="T101"/>
                <a:gd fmla="*/ 611 w 3282" name="T102"/>
                <a:gd fmla="*/ 168 h 2947" name="T103"/>
                <a:gd fmla="*/ 635 w 3282" name="T104"/>
                <a:gd fmla="*/ 152 h 2947" name="T105"/>
                <a:gd fmla="*/ 636 w 3282" name="T106"/>
                <a:gd fmla="*/ 124 h 2947" name="T107"/>
                <a:gd fmla="*/ 647 w 3282" name="T108"/>
                <a:gd fmla="*/ 84 h 2947" name="T109"/>
                <a:gd fmla="*/ 659 w 3282" name="T110"/>
                <a:gd fmla="*/ 61 h 2947" name="T111"/>
                <a:gd fmla="*/ 652 w 3282" name="T112"/>
                <a:gd fmla="*/ 37 h 2947" name="T113"/>
                <a:gd fmla="*/ 637 w 3282" name="T114"/>
                <a:gd fmla="*/ 31 h 2947"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w 3282" name="T174"/>
                <a:gd fmla="*/ 0 h 2947" name="T175"/>
                <a:gd fmla="*/ 3282 w 3282" name="T176"/>
                <a:gd fmla="*/ 2947 h 2947" name="T17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T177" l="T174" r="T176" t="T175"/>
              <a:pathLst>
                <a:path h="2947" w="3282">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62" name="Freeform 106"/>
            <p:cNvSpPr/>
            <p:nvPr/>
          </p:nvSpPr>
          <p:spPr bwMode="gray">
            <a:xfrm>
              <a:off x="2264" y="884"/>
              <a:ext cx="1641" cy="1473"/>
            </a:xfrm>
            <a:custGeom>
              <a:gdLst>
                <a:gd fmla="*/ 651 w 3282" name="T0"/>
                <a:gd fmla="*/ 10 h 2947" name="T1"/>
                <a:gd fmla="*/ 669 w 3282" name="T2"/>
                <a:gd fmla="*/ 0 h 2947" name="T3"/>
                <a:gd fmla="*/ 720 w 3282" name="T4"/>
                <a:gd fmla="*/ 75 h 2947" name="T5"/>
                <a:gd fmla="*/ 808 w 3282" name="T6"/>
                <a:gd fmla="*/ 154 h 2947" name="T7"/>
                <a:gd fmla="*/ 761 w 3282" name="T8"/>
                <a:gd fmla="*/ 265 h 2947" name="T9"/>
                <a:gd fmla="*/ 737 w 3282" name="T10"/>
                <a:gd fmla="*/ 326 h 2947" name="T11"/>
                <a:gd fmla="*/ 793 w 3282" name="T12"/>
                <a:gd fmla="*/ 368 h 2947" name="T13"/>
                <a:gd fmla="*/ 785 w 3282" name="T14"/>
                <a:gd fmla="*/ 441 h 2947" name="T15"/>
                <a:gd fmla="*/ 710 w 3282" name="T16"/>
                <a:gd fmla="*/ 486 h 2947" name="T17"/>
                <a:gd fmla="*/ 693 w 3282" name="T18"/>
                <a:gd fmla="*/ 529 h 2947" name="T19"/>
                <a:gd fmla="*/ 634 w 3282" name="T20"/>
                <a:gd fmla="*/ 485 h 2947" name="T21"/>
                <a:gd fmla="*/ 587 w 3282" name="T22"/>
                <a:gd fmla="*/ 518 h 2947" name="T23"/>
                <a:gd fmla="*/ 530 w 3282" name="T24"/>
                <a:gd fmla="*/ 545 h 2947" name="T25"/>
                <a:gd fmla="*/ 470 w 3282" name="T26"/>
                <a:gd fmla="*/ 631 h 2947" name="T27"/>
                <a:gd fmla="*/ 376 w 3282" name="T28"/>
                <a:gd fmla="*/ 713 h 2947" name="T29"/>
                <a:gd fmla="*/ 309 w 3282" name="T30"/>
                <a:gd fmla="*/ 676 h 2947" name="T31"/>
                <a:gd fmla="*/ 235 w 3282" name="T32"/>
                <a:gd fmla="*/ 736 h 2947" name="T33"/>
                <a:gd fmla="*/ 189 w 3282" name="T34"/>
                <a:gd fmla="*/ 655 h 2947" name="T35"/>
                <a:gd fmla="*/ 88 w 3282" name="T36"/>
                <a:gd fmla="*/ 617 h 2947" name="T37"/>
                <a:gd fmla="*/ 9 w 3282" name="T38"/>
                <a:gd fmla="*/ 583 h 2947" name="T39"/>
                <a:gd fmla="*/ 20 w 3282" name="T40"/>
                <a:gd fmla="*/ 515 h 2947" name="T41"/>
                <a:gd fmla="*/ 70 w 3282" name="T42"/>
                <a:gd fmla="*/ 522 h 2947" name="T43"/>
                <a:gd fmla="*/ 103 w 3282" name="T44"/>
                <a:gd fmla="*/ 518 h 2947" name="T45"/>
                <a:gd fmla="*/ 144 w 3282" name="T46"/>
                <a:gd fmla="*/ 526 h 2947" name="T47"/>
                <a:gd fmla="*/ 178 w 3282" name="T48"/>
                <a:gd fmla="*/ 545 h 2947" name="T49"/>
                <a:gd fmla="*/ 223 w 3282" name="T50"/>
                <a:gd fmla="*/ 550 h 2947" name="T51"/>
                <a:gd fmla="*/ 246 w 3282" name="T52"/>
                <a:gd fmla="*/ 558 h 2947" name="T53"/>
                <a:gd fmla="*/ 291 w 3282" name="T54"/>
                <a:gd fmla="*/ 532 h 2947" name="T55"/>
                <a:gd fmla="*/ 341 w 3282" name="T56"/>
                <a:gd fmla="*/ 519 h 2947" name="T57"/>
                <a:gd fmla="*/ 375 w 3282" name="T58"/>
                <a:gd fmla="*/ 517 h 2947" name="T59"/>
                <a:gd fmla="*/ 398 w 3282" name="T60"/>
                <a:gd fmla="*/ 506 h 2947" name="T61"/>
                <a:gd fmla="*/ 420 w 3282" name="T62"/>
                <a:gd fmla="*/ 485 h 2947" name="T63"/>
                <a:gd fmla="*/ 443 w 3282" name="T64"/>
                <a:gd fmla="*/ 466 h 2947" name="T65"/>
                <a:gd fmla="*/ 459 w 3282" name="T66"/>
                <a:gd fmla="*/ 452 h 2947" name="T67"/>
                <a:gd fmla="*/ 443 w 3282" name="T68"/>
                <a:gd fmla="*/ 419 h 2947" name="T69"/>
                <a:gd fmla="*/ 466 w 3282" name="T70"/>
                <a:gd fmla="*/ 396 h 2947" name="T71"/>
                <a:gd fmla="*/ 505 w 3282" name="T72"/>
                <a:gd fmla="*/ 403 h 2947" name="T73"/>
                <a:gd fmla="*/ 530 w 3282" name="T74"/>
                <a:gd fmla="*/ 375 h 2947" name="T75"/>
                <a:gd fmla="*/ 561 w 3282" name="T76"/>
                <a:gd fmla="*/ 369 h 2947" name="T77"/>
                <a:gd fmla="*/ 579 w 3282" name="T78"/>
                <a:gd fmla="*/ 341 h 2947" name="T79"/>
                <a:gd fmla="*/ 607 w 3282" name="T80"/>
                <a:gd fmla="*/ 315 h 2947" name="T81"/>
                <a:gd fmla="*/ 634 w 3282" name="T82"/>
                <a:gd fmla="*/ 298 h 2947" name="T83"/>
                <a:gd fmla="*/ 672 w 3282" name="T84"/>
                <a:gd fmla="*/ 300 h 2947" name="T85"/>
                <a:gd fmla="*/ 671 w 3282" name="T86"/>
                <a:gd fmla="*/ 277 h 2947" name="T87"/>
                <a:gd fmla="*/ 631 w 3282" name="T88"/>
                <a:gd fmla="*/ 249 h 2947" name="T89"/>
                <a:gd fmla="*/ 607 w 3282" name="T90"/>
                <a:gd fmla="*/ 260 h 2947" name="T91"/>
                <a:gd fmla="*/ 576 w 3282" name="T92"/>
                <a:gd fmla="*/ 258 h 2947" name="T93"/>
                <a:gd fmla="*/ 553 w 3282" name="T94"/>
                <a:gd fmla="*/ 268 h 2947" name="T95"/>
                <a:gd fmla="*/ 549 w 3282" name="T96"/>
                <a:gd fmla="*/ 245 h 2947" name="T97"/>
                <a:gd fmla="*/ 560 w 3282" name="T98"/>
                <a:gd fmla="*/ 195 h 2947" name="T99"/>
                <a:gd fmla="*/ 583 w 3282" name="T100"/>
                <a:gd fmla="*/ 179 h 2947" name="T101"/>
                <a:gd fmla="*/ 611 w 3282" name="T102"/>
                <a:gd fmla="*/ 168 h 2947" name="T103"/>
                <a:gd fmla="*/ 635 w 3282" name="T104"/>
                <a:gd fmla="*/ 152 h 2947" name="T105"/>
                <a:gd fmla="*/ 636 w 3282" name="T106"/>
                <a:gd fmla="*/ 124 h 2947" name="T107"/>
                <a:gd fmla="*/ 647 w 3282" name="T108"/>
                <a:gd fmla="*/ 84 h 2947" name="T109"/>
                <a:gd fmla="*/ 659 w 3282" name="T110"/>
                <a:gd fmla="*/ 61 h 2947" name="T111"/>
                <a:gd fmla="*/ 652 w 3282" name="T112"/>
                <a:gd fmla="*/ 37 h 2947" name="T113"/>
                <a:gd fmla="*/ 637 w 3282" name="T114"/>
                <a:gd fmla="*/ 31 h 2947"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w 3282" name="T174"/>
                <a:gd fmla="*/ 0 h 2947" name="T175"/>
                <a:gd fmla="*/ 3282 w 3282" name="T176"/>
                <a:gd fmla="*/ 2947 h 2947" name="T17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T177" l="T174" r="T176" t="T175"/>
              <a:pathLst>
                <a:path h="2947" w="3282">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altLang="en-US" lang="zh-CN" sz="2400"/>
            </a:p>
          </p:txBody>
        </p:sp>
        <p:sp>
          <p:nvSpPr>
            <p:cNvPr id="63" name="Freeform 107"/>
            <p:cNvSpPr/>
            <p:nvPr/>
          </p:nvSpPr>
          <p:spPr bwMode="gray">
            <a:xfrm>
              <a:off x="2016" y="1899"/>
              <a:ext cx="1007" cy="870"/>
            </a:xfrm>
            <a:custGeom>
              <a:gdLst>
                <a:gd fmla="*/ 92 w 2014" name="T0"/>
                <a:gd fmla="*/ 13 h 1739" name="T1"/>
                <a:gd fmla="*/ 66 w 2014" name="T2"/>
                <a:gd fmla="*/ 38 h 1739" name="T3"/>
                <a:gd fmla="*/ 0 w 2014" name="T4"/>
                <a:gd fmla="*/ 77 h 1739" name="T5"/>
                <a:gd fmla="*/ 45 w 2014" name="T6"/>
                <a:gd fmla="*/ 154 h 1739" name="T7"/>
                <a:gd fmla="*/ 90 w 2014" name="T8"/>
                <a:gd fmla="*/ 171 h 1739" name="T9"/>
                <a:gd fmla="*/ 140 w 2014" name="T10"/>
                <a:gd fmla="*/ 160 h 1739" name="T11"/>
                <a:gd fmla="*/ 188 w 2014" name="T12"/>
                <a:gd fmla="*/ 177 h 1739" name="T13"/>
                <a:gd fmla="*/ 215 w 2014" name="T14"/>
                <a:gd fmla="*/ 193 h 1739" name="T15"/>
                <a:gd fmla="*/ 258 w 2014" name="T16"/>
                <a:gd fmla="*/ 220 h 1739" name="T17"/>
                <a:gd fmla="*/ 284 w 2014" name="T18"/>
                <a:gd fmla="*/ 237 h 1739" name="T19"/>
                <a:gd fmla="*/ 301 w 2014" name="T20"/>
                <a:gd fmla="*/ 275 h 1739" name="T21"/>
                <a:gd fmla="*/ 283 w 2014" name="T22"/>
                <a:gd fmla="*/ 318 h 1739" name="T23"/>
                <a:gd fmla="*/ 270 w 2014" name="T24"/>
                <a:gd fmla="*/ 341 h 1739" name="T25"/>
                <a:gd fmla="*/ 249 w 2014" name="T26"/>
                <a:gd fmla="*/ 367 h 1739" name="T27"/>
                <a:gd fmla="*/ 239 w 2014" name="T28"/>
                <a:gd fmla="*/ 374 h 1739" name="T29"/>
                <a:gd fmla="*/ 281 w 2014" name="T30"/>
                <a:gd fmla="*/ 390 h 1739" name="T31"/>
                <a:gd fmla="*/ 314 w 2014" name="T32"/>
                <a:gd fmla="*/ 373 h 1739" name="T33"/>
                <a:gd fmla="*/ 353 w 2014" name="T34"/>
                <a:gd fmla="*/ 403 h 1739" name="T35"/>
                <a:gd fmla="*/ 385 w 2014" name="T36"/>
                <a:gd fmla="*/ 435 h 1739" name="T37"/>
                <a:gd fmla="*/ 413 w 2014" name="T38"/>
                <a:gd fmla="*/ 401 h 1739" name="T39"/>
                <a:gd fmla="*/ 430 w 2014" name="T40"/>
                <a:gd fmla="*/ 377 h 1739" name="T41"/>
                <a:gd fmla="*/ 425 w 2014" name="T42"/>
                <a:gd fmla="*/ 349 h 1739" name="T43"/>
                <a:gd fmla="*/ 431 w 2014" name="T44"/>
                <a:gd fmla="*/ 341 h 1739" name="T45"/>
                <a:gd fmla="*/ 432 w 2014" name="T46"/>
                <a:gd fmla="*/ 335 h 1739" name="T47"/>
                <a:gd fmla="*/ 432 w 2014" name="T48"/>
                <a:gd fmla="*/ 327 h 1739" name="T49"/>
                <a:gd fmla="*/ 472 w 2014" name="T50"/>
                <a:gd fmla="*/ 329 h 1739" name="T51"/>
                <a:gd fmla="*/ 500 w 2014" name="T52"/>
                <a:gd fmla="*/ 302 h 1739" name="T53"/>
                <a:gd fmla="*/ 501 w 2014" name="T54"/>
                <a:gd fmla="*/ 267 h 1739" name="T55"/>
                <a:gd fmla="*/ 453 w 2014" name="T56"/>
                <a:gd fmla="*/ 241 h 1739" name="T57"/>
                <a:gd fmla="*/ 429 w 2014" name="T58"/>
                <a:gd fmla="*/ 256 h 1739" name="T59"/>
                <a:gd fmla="*/ 444 w 2014" name="T60"/>
                <a:gd fmla="*/ 290 h 1739" name="T61"/>
                <a:gd fmla="*/ 429 w 2014" name="T62"/>
                <a:gd fmla="*/ 315 h 1739" name="T63"/>
                <a:gd fmla="*/ 398 w 2014" name="T64"/>
                <a:gd fmla="*/ 302 h 1739" name="T65"/>
                <a:gd fmla="*/ 391 w 2014" name="T66"/>
                <a:gd fmla="*/ 276 h 1739" name="T67"/>
                <a:gd fmla="*/ 369 w 2014" name="T68"/>
                <a:gd fmla="*/ 243 h 1739" name="T69"/>
                <a:gd fmla="*/ 342 w 2014" name="T70"/>
                <a:gd fmla="*/ 228 h 1739" name="T71"/>
                <a:gd fmla="*/ 343 w 2014" name="T72"/>
                <a:gd fmla="*/ 183 h 1739" name="T73"/>
                <a:gd fmla="*/ 313 w 2014" name="T74"/>
                <a:gd fmla="*/ 148 h 1739" name="T75"/>
                <a:gd fmla="*/ 235 w 2014" name="T76"/>
                <a:gd fmla="*/ 161 h 1739" name="T77"/>
                <a:gd fmla="*/ 200 w 2014" name="T78"/>
                <a:gd fmla="*/ 128 h 1739" name="T79"/>
                <a:gd fmla="*/ 218 w 2014" name="T80"/>
                <a:gd fmla="*/ 91 h 1739" name="T81"/>
                <a:gd fmla="*/ 163 w 2014" name="T82"/>
                <a:gd fmla="*/ 100 h 1739" name="T83"/>
                <a:gd fmla="*/ 124 w 2014" name="T84"/>
                <a:gd fmla="*/ 52 h 1739" name="T85"/>
                <a:gd fmla="*/ 116 w 2014" name="T86"/>
                <a:gd fmla="*/ 3 h 1739"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w 2014" name="T132"/>
                <a:gd fmla="*/ 0 h 1739" name="T133"/>
                <a:gd fmla="*/ 2014 w 2014" name="T134"/>
                <a:gd fmla="*/ 1739 h 1739" name="T13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T135" l="T132" r="T134" t="T133"/>
              <a:pathLst>
                <a:path h="1739" w="2013">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64" name="Freeform 108"/>
            <p:cNvSpPr/>
            <p:nvPr/>
          </p:nvSpPr>
          <p:spPr bwMode="gray">
            <a:xfrm>
              <a:off x="2016" y="1899"/>
              <a:ext cx="1007" cy="870"/>
            </a:xfrm>
            <a:custGeom>
              <a:gdLst>
                <a:gd fmla="*/ 92 w 2014" name="T0"/>
                <a:gd fmla="*/ 13 h 1739" name="T1"/>
                <a:gd fmla="*/ 66 w 2014" name="T2"/>
                <a:gd fmla="*/ 38 h 1739" name="T3"/>
                <a:gd fmla="*/ 0 w 2014" name="T4"/>
                <a:gd fmla="*/ 77 h 1739" name="T5"/>
                <a:gd fmla="*/ 45 w 2014" name="T6"/>
                <a:gd fmla="*/ 154 h 1739" name="T7"/>
                <a:gd fmla="*/ 90 w 2014" name="T8"/>
                <a:gd fmla="*/ 171 h 1739" name="T9"/>
                <a:gd fmla="*/ 140 w 2014" name="T10"/>
                <a:gd fmla="*/ 160 h 1739" name="T11"/>
                <a:gd fmla="*/ 188 w 2014" name="T12"/>
                <a:gd fmla="*/ 177 h 1739" name="T13"/>
                <a:gd fmla="*/ 215 w 2014" name="T14"/>
                <a:gd fmla="*/ 193 h 1739" name="T15"/>
                <a:gd fmla="*/ 258 w 2014" name="T16"/>
                <a:gd fmla="*/ 220 h 1739" name="T17"/>
                <a:gd fmla="*/ 284 w 2014" name="T18"/>
                <a:gd fmla="*/ 237 h 1739" name="T19"/>
                <a:gd fmla="*/ 301 w 2014" name="T20"/>
                <a:gd fmla="*/ 275 h 1739" name="T21"/>
                <a:gd fmla="*/ 283 w 2014" name="T22"/>
                <a:gd fmla="*/ 318 h 1739" name="T23"/>
                <a:gd fmla="*/ 270 w 2014" name="T24"/>
                <a:gd fmla="*/ 341 h 1739" name="T25"/>
                <a:gd fmla="*/ 249 w 2014" name="T26"/>
                <a:gd fmla="*/ 367 h 1739" name="T27"/>
                <a:gd fmla="*/ 239 w 2014" name="T28"/>
                <a:gd fmla="*/ 374 h 1739" name="T29"/>
                <a:gd fmla="*/ 281 w 2014" name="T30"/>
                <a:gd fmla="*/ 390 h 1739" name="T31"/>
                <a:gd fmla="*/ 314 w 2014" name="T32"/>
                <a:gd fmla="*/ 373 h 1739" name="T33"/>
                <a:gd fmla="*/ 353 w 2014" name="T34"/>
                <a:gd fmla="*/ 403 h 1739" name="T35"/>
                <a:gd fmla="*/ 385 w 2014" name="T36"/>
                <a:gd fmla="*/ 435 h 1739" name="T37"/>
                <a:gd fmla="*/ 413 w 2014" name="T38"/>
                <a:gd fmla="*/ 401 h 1739" name="T39"/>
                <a:gd fmla="*/ 430 w 2014" name="T40"/>
                <a:gd fmla="*/ 377 h 1739" name="T41"/>
                <a:gd fmla="*/ 425 w 2014" name="T42"/>
                <a:gd fmla="*/ 349 h 1739" name="T43"/>
                <a:gd fmla="*/ 431 w 2014" name="T44"/>
                <a:gd fmla="*/ 341 h 1739" name="T45"/>
                <a:gd fmla="*/ 432 w 2014" name="T46"/>
                <a:gd fmla="*/ 335 h 1739" name="T47"/>
                <a:gd fmla="*/ 432 w 2014" name="T48"/>
                <a:gd fmla="*/ 327 h 1739" name="T49"/>
                <a:gd fmla="*/ 472 w 2014" name="T50"/>
                <a:gd fmla="*/ 329 h 1739" name="T51"/>
                <a:gd fmla="*/ 500 w 2014" name="T52"/>
                <a:gd fmla="*/ 302 h 1739" name="T53"/>
                <a:gd fmla="*/ 501 w 2014" name="T54"/>
                <a:gd fmla="*/ 267 h 1739" name="T55"/>
                <a:gd fmla="*/ 453 w 2014" name="T56"/>
                <a:gd fmla="*/ 241 h 1739" name="T57"/>
                <a:gd fmla="*/ 429 w 2014" name="T58"/>
                <a:gd fmla="*/ 256 h 1739" name="T59"/>
                <a:gd fmla="*/ 444 w 2014" name="T60"/>
                <a:gd fmla="*/ 290 h 1739" name="T61"/>
                <a:gd fmla="*/ 429 w 2014" name="T62"/>
                <a:gd fmla="*/ 315 h 1739" name="T63"/>
                <a:gd fmla="*/ 398 w 2014" name="T64"/>
                <a:gd fmla="*/ 302 h 1739" name="T65"/>
                <a:gd fmla="*/ 391 w 2014" name="T66"/>
                <a:gd fmla="*/ 276 h 1739" name="T67"/>
                <a:gd fmla="*/ 369 w 2014" name="T68"/>
                <a:gd fmla="*/ 243 h 1739" name="T69"/>
                <a:gd fmla="*/ 342 w 2014" name="T70"/>
                <a:gd fmla="*/ 228 h 1739" name="T71"/>
                <a:gd fmla="*/ 343 w 2014" name="T72"/>
                <a:gd fmla="*/ 183 h 1739" name="T73"/>
                <a:gd fmla="*/ 313 w 2014" name="T74"/>
                <a:gd fmla="*/ 148 h 1739" name="T75"/>
                <a:gd fmla="*/ 235 w 2014" name="T76"/>
                <a:gd fmla="*/ 161 h 1739" name="T77"/>
                <a:gd fmla="*/ 200 w 2014" name="T78"/>
                <a:gd fmla="*/ 128 h 1739" name="T79"/>
                <a:gd fmla="*/ 218 w 2014" name="T80"/>
                <a:gd fmla="*/ 91 h 1739" name="T81"/>
                <a:gd fmla="*/ 163 w 2014" name="T82"/>
                <a:gd fmla="*/ 100 h 1739" name="T83"/>
                <a:gd fmla="*/ 124 w 2014" name="T84"/>
                <a:gd fmla="*/ 52 h 1739" name="T85"/>
                <a:gd fmla="*/ 116 w 2014" name="T86"/>
                <a:gd fmla="*/ 3 h 1739"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w 2014" name="T132"/>
                <a:gd fmla="*/ 0 h 1739" name="T133"/>
                <a:gd fmla="*/ 2014 w 2014" name="T134"/>
                <a:gd fmla="*/ 1739 h 1739" name="T13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T135" l="T132" r="T134" t="T133"/>
              <a:pathLst>
                <a:path h="1739" w="2013">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altLang="en-US" lang="zh-CN" sz="2400"/>
            </a:p>
          </p:txBody>
        </p:sp>
        <p:sp>
          <p:nvSpPr>
            <p:cNvPr id="65" name="Freeform 109"/>
            <p:cNvSpPr/>
            <p:nvPr/>
          </p:nvSpPr>
          <p:spPr bwMode="gray">
            <a:xfrm>
              <a:off x="1694" y="2177"/>
              <a:ext cx="936" cy="666"/>
            </a:xfrm>
            <a:custGeom>
              <a:gdLst>
                <a:gd fmla="*/ 445 w 1872" name="T0"/>
                <a:gd fmla="*/ 276 h 1330" name="T1"/>
                <a:gd fmla="*/ 426 w 1872" name="T2"/>
                <a:gd fmla="*/ 279 h 1330" name="T3"/>
                <a:gd fmla="*/ 397 w 1872" name="T4"/>
                <a:gd fmla="*/ 279 h 1330" name="T5"/>
                <a:gd fmla="*/ 381 w 1872" name="T6"/>
                <a:gd fmla="*/ 296 h 1330" name="T7"/>
                <a:gd fmla="*/ 343 w 1872" name="T8"/>
                <a:gd fmla="*/ 274 h 1330" name="T9"/>
                <a:gd fmla="*/ 308 w 1872" name="T10"/>
                <a:gd fmla="*/ 269 h 1330" name="T11"/>
                <a:gd fmla="*/ 275 w 1872" name="T12"/>
                <a:gd fmla="*/ 273 h 1330" name="T13"/>
                <a:gd fmla="*/ 262 w 1872" name="T14"/>
                <a:gd fmla="*/ 288 h 1330" name="T15"/>
                <a:gd fmla="*/ 260 w 1872" name="T16"/>
                <a:gd fmla="*/ 309 h 1330" name="T17"/>
                <a:gd fmla="*/ 225 w 1872" name="T18"/>
                <a:gd fmla="*/ 329 h 1330" name="T19"/>
                <a:gd fmla="*/ 204 w 1872" name="T20"/>
                <a:gd fmla="*/ 313 h 1330" name="T21"/>
                <a:gd fmla="*/ 155 w 1872" name="T22"/>
                <a:gd fmla="*/ 287 h 1330" name="T23"/>
                <a:gd fmla="*/ 113 w 1872" name="T24"/>
                <a:gd fmla="*/ 280 h 1330" name="T25"/>
                <a:gd fmla="*/ 85 w 1872" name="T26"/>
                <a:gd fmla="*/ 274 h 1330" name="T27"/>
                <a:gd fmla="*/ 64 w 1872" name="T28"/>
                <a:gd fmla="*/ 264 h 1330" name="T29"/>
                <a:gd fmla="*/ 28 w 1872" name="T30"/>
                <a:gd fmla="*/ 256 h 1330" name="T31"/>
                <a:gd fmla="*/ 2 w 1872" name="T32"/>
                <a:gd fmla="*/ 206 h 1330" name="T33"/>
                <a:gd fmla="*/ 12 w 1872" name="T34"/>
                <a:gd fmla="*/ 185 h 1330" name="T35"/>
                <a:gd fmla="*/ 20 w 1872" name="T36"/>
                <a:gd fmla="*/ 149 h 1330" name="T37"/>
                <a:gd fmla="*/ 11 w 1872" name="T38"/>
                <a:gd fmla="*/ 133 h 1330" name="T39"/>
                <a:gd fmla="*/ 20 w 1872" name="T40"/>
                <a:gd fmla="*/ 117 h 1330" name="T41"/>
                <a:gd fmla="*/ 61 w 1872" name="T42"/>
                <a:gd fmla="*/ 117 h 1330" name="T43"/>
                <a:gd fmla="*/ 53 w 1872" name="T44"/>
                <a:gd fmla="*/ 96 h 1330" name="T45"/>
                <a:gd fmla="*/ 74 w 1872" name="T46"/>
                <a:gd fmla="*/ 75 h 1330" name="T47"/>
                <a:gd fmla="*/ 45 w 1872" name="T48"/>
                <a:gd fmla="*/ 32 h 1330" name="T49"/>
                <a:gd fmla="*/ 99 w 1872" name="T50"/>
                <a:gd fmla="*/ 18 h 1330" name="T51"/>
                <a:gd fmla="*/ 134 w 1872" name="T52"/>
                <a:gd fmla="*/ 10 h 1330" name="T53"/>
                <a:gd fmla="*/ 169 w 1872" name="T54"/>
                <a:gd fmla="*/ 4 h 1330" name="T55"/>
                <a:gd fmla="*/ 206 w 1872" name="T56"/>
                <a:gd fmla="*/ 15 h 1330" name="T57"/>
                <a:gd fmla="*/ 235 w 1872" name="T58"/>
                <a:gd fmla="*/ 32 h 1330" name="T59"/>
                <a:gd fmla="*/ 269 w 1872" name="T60"/>
                <a:gd fmla="*/ 20 h 1330" name="T61"/>
                <a:gd fmla="*/ 301 w 1872" name="T62"/>
                <a:gd fmla="*/ 20 h 1330" name="T63"/>
                <a:gd fmla="*/ 330 w 1872" name="T64"/>
                <a:gd fmla="*/ 24 h 1330" name="T65"/>
                <a:gd fmla="*/ 364 w 1872" name="T66"/>
                <a:gd fmla="*/ 28 h 1330" name="T67"/>
                <a:gd fmla="*/ 376 w 1872" name="T68"/>
                <a:gd fmla="*/ 54 h 1330" name="T69"/>
                <a:gd fmla="*/ 411 w 1872" name="T70"/>
                <a:gd fmla="*/ 80 h 1330" name="T71"/>
                <a:gd fmla="*/ 426 w 1872" name="T72"/>
                <a:gd fmla="*/ 75 h 1330" name="T73"/>
                <a:gd fmla="*/ 445 w 1872" name="T74"/>
                <a:gd fmla="*/ 98 h 1330" name="T75"/>
                <a:gd fmla="*/ 456 w 1872" name="T76"/>
                <a:gd fmla="*/ 124 h 1330" name="T77"/>
                <a:gd fmla="*/ 468 w 1872" name="T78"/>
                <a:gd fmla="*/ 143 h 1330" name="T79"/>
                <a:gd fmla="*/ 444 w 1872" name="T80"/>
                <a:gd fmla="*/ 179 h 1330" name="T81"/>
                <a:gd fmla="*/ 437 w 1872" name="T82"/>
                <a:gd fmla="*/ 201 h 1330" name="T83"/>
                <a:gd fmla="*/ 432 w 1872" name="T84"/>
                <a:gd fmla="*/ 223 h 1330" name="T85"/>
                <a:gd fmla="*/ 410 w 1872" name="T86"/>
                <a:gd fmla="*/ 228 h 1330" name="T87"/>
                <a:gd fmla="*/ 397 w 1872" name="T88"/>
                <a:gd fmla="*/ 222 h 1330" name="T89"/>
                <a:gd fmla="*/ 416 w 1872" name="T90"/>
                <a:gd fmla="*/ 237 h 1330" name="T91"/>
                <a:gd fmla="*/ 442 w 1872" name="T92"/>
                <a:gd fmla="*/ 251 h 1330"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w 1872" name="T141"/>
                <a:gd fmla="*/ 0 h 1330" name="T142"/>
                <a:gd fmla="*/ 1872 w 1872" name="T143"/>
                <a:gd fmla="*/ 1330 h 1330" name="T14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b="T144" l="T141" r="T143" t="T142"/>
              <a:pathLst>
                <a:path h="1330" w="1872">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66" name="Freeform 110"/>
            <p:cNvSpPr/>
            <p:nvPr/>
          </p:nvSpPr>
          <p:spPr bwMode="gray">
            <a:xfrm>
              <a:off x="1694" y="2177"/>
              <a:ext cx="936" cy="666"/>
            </a:xfrm>
            <a:custGeom>
              <a:gdLst>
                <a:gd fmla="*/ 445 w 1872" name="T0"/>
                <a:gd fmla="*/ 276 h 1330" name="T1"/>
                <a:gd fmla="*/ 426 w 1872" name="T2"/>
                <a:gd fmla="*/ 279 h 1330" name="T3"/>
                <a:gd fmla="*/ 397 w 1872" name="T4"/>
                <a:gd fmla="*/ 279 h 1330" name="T5"/>
                <a:gd fmla="*/ 381 w 1872" name="T6"/>
                <a:gd fmla="*/ 296 h 1330" name="T7"/>
                <a:gd fmla="*/ 343 w 1872" name="T8"/>
                <a:gd fmla="*/ 274 h 1330" name="T9"/>
                <a:gd fmla="*/ 308 w 1872" name="T10"/>
                <a:gd fmla="*/ 269 h 1330" name="T11"/>
                <a:gd fmla="*/ 275 w 1872" name="T12"/>
                <a:gd fmla="*/ 273 h 1330" name="T13"/>
                <a:gd fmla="*/ 262 w 1872" name="T14"/>
                <a:gd fmla="*/ 288 h 1330" name="T15"/>
                <a:gd fmla="*/ 260 w 1872" name="T16"/>
                <a:gd fmla="*/ 309 h 1330" name="T17"/>
                <a:gd fmla="*/ 225 w 1872" name="T18"/>
                <a:gd fmla="*/ 329 h 1330" name="T19"/>
                <a:gd fmla="*/ 204 w 1872" name="T20"/>
                <a:gd fmla="*/ 313 h 1330" name="T21"/>
                <a:gd fmla="*/ 155 w 1872" name="T22"/>
                <a:gd fmla="*/ 287 h 1330" name="T23"/>
                <a:gd fmla="*/ 113 w 1872" name="T24"/>
                <a:gd fmla="*/ 280 h 1330" name="T25"/>
                <a:gd fmla="*/ 85 w 1872" name="T26"/>
                <a:gd fmla="*/ 274 h 1330" name="T27"/>
                <a:gd fmla="*/ 64 w 1872" name="T28"/>
                <a:gd fmla="*/ 264 h 1330" name="T29"/>
                <a:gd fmla="*/ 28 w 1872" name="T30"/>
                <a:gd fmla="*/ 256 h 1330" name="T31"/>
                <a:gd fmla="*/ 2 w 1872" name="T32"/>
                <a:gd fmla="*/ 206 h 1330" name="T33"/>
                <a:gd fmla="*/ 12 w 1872" name="T34"/>
                <a:gd fmla="*/ 185 h 1330" name="T35"/>
                <a:gd fmla="*/ 20 w 1872" name="T36"/>
                <a:gd fmla="*/ 149 h 1330" name="T37"/>
                <a:gd fmla="*/ 11 w 1872" name="T38"/>
                <a:gd fmla="*/ 133 h 1330" name="T39"/>
                <a:gd fmla="*/ 20 w 1872" name="T40"/>
                <a:gd fmla="*/ 117 h 1330" name="T41"/>
                <a:gd fmla="*/ 61 w 1872" name="T42"/>
                <a:gd fmla="*/ 117 h 1330" name="T43"/>
                <a:gd fmla="*/ 53 w 1872" name="T44"/>
                <a:gd fmla="*/ 96 h 1330" name="T45"/>
                <a:gd fmla="*/ 74 w 1872" name="T46"/>
                <a:gd fmla="*/ 75 h 1330" name="T47"/>
                <a:gd fmla="*/ 45 w 1872" name="T48"/>
                <a:gd fmla="*/ 32 h 1330" name="T49"/>
                <a:gd fmla="*/ 99 w 1872" name="T50"/>
                <a:gd fmla="*/ 18 h 1330" name="T51"/>
                <a:gd fmla="*/ 134 w 1872" name="T52"/>
                <a:gd fmla="*/ 10 h 1330" name="T53"/>
                <a:gd fmla="*/ 169 w 1872" name="T54"/>
                <a:gd fmla="*/ 4 h 1330" name="T55"/>
                <a:gd fmla="*/ 206 w 1872" name="T56"/>
                <a:gd fmla="*/ 15 h 1330" name="T57"/>
                <a:gd fmla="*/ 235 w 1872" name="T58"/>
                <a:gd fmla="*/ 32 h 1330" name="T59"/>
                <a:gd fmla="*/ 269 w 1872" name="T60"/>
                <a:gd fmla="*/ 20 h 1330" name="T61"/>
                <a:gd fmla="*/ 301 w 1872" name="T62"/>
                <a:gd fmla="*/ 20 h 1330" name="T63"/>
                <a:gd fmla="*/ 330 w 1872" name="T64"/>
                <a:gd fmla="*/ 24 h 1330" name="T65"/>
                <a:gd fmla="*/ 364 w 1872" name="T66"/>
                <a:gd fmla="*/ 28 h 1330" name="T67"/>
                <a:gd fmla="*/ 376 w 1872" name="T68"/>
                <a:gd fmla="*/ 54 h 1330" name="T69"/>
                <a:gd fmla="*/ 411 w 1872" name="T70"/>
                <a:gd fmla="*/ 80 h 1330" name="T71"/>
                <a:gd fmla="*/ 426 w 1872" name="T72"/>
                <a:gd fmla="*/ 75 h 1330" name="T73"/>
                <a:gd fmla="*/ 445 w 1872" name="T74"/>
                <a:gd fmla="*/ 98 h 1330" name="T75"/>
                <a:gd fmla="*/ 456 w 1872" name="T76"/>
                <a:gd fmla="*/ 124 h 1330" name="T77"/>
                <a:gd fmla="*/ 468 w 1872" name="T78"/>
                <a:gd fmla="*/ 143 h 1330" name="T79"/>
                <a:gd fmla="*/ 444 w 1872" name="T80"/>
                <a:gd fmla="*/ 179 h 1330" name="T81"/>
                <a:gd fmla="*/ 437 w 1872" name="T82"/>
                <a:gd fmla="*/ 201 h 1330" name="T83"/>
                <a:gd fmla="*/ 432 w 1872" name="T84"/>
                <a:gd fmla="*/ 223 h 1330" name="T85"/>
                <a:gd fmla="*/ 410 w 1872" name="T86"/>
                <a:gd fmla="*/ 228 h 1330" name="T87"/>
                <a:gd fmla="*/ 397 w 1872" name="T88"/>
                <a:gd fmla="*/ 222 h 1330" name="T89"/>
                <a:gd fmla="*/ 416 w 1872" name="T90"/>
                <a:gd fmla="*/ 237 h 1330" name="T91"/>
                <a:gd fmla="*/ 442 w 1872" name="T92"/>
                <a:gd fmla="*/ 251 h 1330"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w 1872" name="T141"/>
                <a:gd fmla="*/ 0 h 1330" name="T142"/>
                <a:gd fmla="*/ 1872 w 1872" name="T143"/>
                <a:gd fmla="*/ 1330 h 1330" name="T144"/>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b="T144" l="T141" r="T143" t="T142"/>
              <a:pathLst>
                <a:path h="1330" w="1872">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altLang="en-US" lang="zh-CN" sz="2400"/>
            </a:p>
          </p:txBody>
        </p:sp>
        <p:sp>
          <p:nvSpPr>
            <p:cNvPr id="67" name="Freeform 111"/>
            <p:cNvSpPr/>
            <p:nvPr/>
          </p:nvSpPr>
          <p:spPr bwMode="gray">
            <a:xfrm>
              <a:off x="2241" y="2635"/>
              <a:ext cx="911" cy="693"/>
            </a:xfrm>
            <a:custGeom>
              <a:gdLst>
                <a:gd fmla="*/ 300 w 1823" name="T0"/>
                <a:gd fmla="*/ 274 h 1385" name="T1"/>
                <a:gd fmla="*/ 284 w 1823" name="T2"/>
                <a:gd fmla="*/ 262 h 1385" name="T3"/>
                <a:gd fmla="*/ 269 w 1823" name="T4"/>
                <a:gd fmla="*/ 266 h 1385" name="T5"/>
                <a:gd fmla="*/ 248 w 1823" name="T6"/>
                <a:gd fmla="*/ 249 h 1385" name="T7"/>
                <a:gd fmla="*/ 236 w 1823" name="T8"/>
                <a:gd fmla="*/ 235 h 1385" name="T9"/>
                <a:gd fmla="*/ 232 w 1823" name="T10"/>
                <a:gd fmla="*/ 246 h 1385" name="T11"/>
                <a:gd fmla="*/ 222 w 1823" name="T12"/>
                <a:gd fmla="*/ 252 h 1385" name="T13"/>
                <a:gd fmla="*/ 218 w 1823" name="T14"/>
                <a:gd fmla="*/ 270 h 1385" name="T15"/>
                <a:gd fmla="*/ 195 w 1823" name="T16"/>
                <a:gd fmla="*/ 293 h 1385" name="T17"/>
                <a:gd fmla="*/ 201 w 1823" name="T18"/>
                <a:gd fmla="*/ 318 h 1385" name="T19"/>
                <a:gd fmla="*/ 188 w 1823" name="T20"/>
                <a:gd fmla="*/ 338 h 1385" name="T21"/>
                <a:gd fmla="*/ 167 w 1823" name="T22"/>
                <a:gd fmla="*/ 345 h 1385" name="T23"/>
                <a:gd fmla="*/ 148 w 1823" name="T24"/>
                <a:gd fmla="*/ 338 h 1385" name="T25"/>
                <a:gd fmla="*/ 132 w 1823" name="T26"/>
                <a:gd fmla="*/ 302 h 1385" name="T27"/>
                <a:gd fmla="*/ 111 w 1823" name="T28"/>
                <a:gd fmla="*/ 270 h 1385" name="T29"/>
                <a:gd fmla="*/ 90 w 1823" name="T30"/>
                <a:gd fmla="*/ 257 h 1385" name="T31"/>
                <a:gd fmla="*/ 87 w 1823" name="T32"/>
                <a:gd fmla="*/ 239 h 1385" name="T33"/>
                <a:gd fmla="*/ 65 w 1823" name="T34"/>
                <a:gd fmla="*/ 253 h 1385" name="T35"/>
                <a:gd fmla="*/ 53 w 1823" name="T36"/>
                <a:gd fmla="*/ 209 h 1385" name="T37"/>
                <a:gd fmla="*/ 51 w 1823" name="T38"/>
                <a:gd fmla="*/ 156 h 1385" name="T39"/>
                <a:gd fmla="*/ 40 w 1823" name="T40"/>
                <a:gd fmla="*/ 128 h 1385" name="T41"/>
                <a:gd fmla="*/ 49 w 1823" name="T42"/>
                <a:gd fmla="*/ 117 h 1385" name="T43"/>
                <a:gd fmla="*/ 26 w 1823" name="T44"/>
                <a:gd fmla="*/ 77 h 1385" name="T45"/>
                <a:gd fmla="*/ 2 w 1823" name="T46"/>
                <a:gd fmla="*/ 45 h 1385" name="T47"/>
                <a:gd fmla="*/ 35 w 1823" name="T48"/>
                <a:gd fmla="*/ 40 h 1385" name="T49"/>
                <a:gd fmla="*/ 70 w 1823" name="T50"/>
                <a:gd fmla="*/ 45 h 1385" name="T51"/>
                <a:gd fmla="*/ 107 w 1823" name="T52"/>
                <a:gd fmla="*/ 67 h 1385" name="T53"/>
                <a:gd fmla="*/ 124 w 1823" name="T54"/>
                <a:gd fmla="*/ 50 h 1385" name="T55"/>
                <a:gd fmla="*/ 152 w 1823" name="T56"/>
                <a:gd fmla="*/ 50 h 1385" name="T57"/>
                <a:gd fmla="*/ 171 w 1823" name="T58"/>
                <a:gd fmla="*/ 47 h 1385" name="T59"/>
                <a:gd fmla="*/ 168 w 1823" name="T60"/>
                <a:gd fmla="*/ 22 h 1385" name="T61"/>
                <a:gd fmla="*/ 193 w 1823" name="T62"/>
                <a:gd fmla="*/ 0 h 1385" name="T63"/>
                <a:gd fmla="*/ 208 w 1823" name="T64"/>
                <a:gd fmla="*/ 22 h 1385" name="T65"/>
                <a:gd fmla="*/ 240 w 1823" name="T66"/>
                <a:gd fmla="*/ 35 h 1385" name="T67"/>
                <a:gd fmla="*/ 261 w 1823" name="T68"/>
                <a:gd fmla="*/ 65 h 1385" name="T69"/>
                <a:gd fmla="*/ 284 w 1823" name="T70"/>
                <a:gd fmla="*/ 54 h 1385" name="T71"/>
                <a:gd fmla="*/ 310 w 1823" name="T72"/>
                <a:gd fmla="*/ 64 h 1385" name="T73"/>
                <a:gd fmla="*/ 358 w 1823" name="T74"/>
                <a:gd fmla="*/ 68 h 1385" name="T75"/>
                <a:gd fmla="*/ 390 w 1823" name="T76"/>
                <a:gd fmla="*/ 73 h 1385" name="T77"/>
                <a:gd fmla="*/ 419 w 1823" name="T78"/>
                <a:gd fmla="*/ 84 h 1385" name="T79"/>
                <a:gd fmla="*/ 448 w 1823" name="T80"/>
                <a:gd fmla="*/ 89 h 1385" name="T81"/>
                <a:gd fmla="*/ 455 w 1823" name="T82"/>
                <a:gd fmla="*/ 130 h 1385" name="T83"/>
                <a:gd fmla="*/ 431 w 1823" name="T84"/>
                <a:gd fmla="*/ 144 h 1385" name="T85"/>
                <a:gd fmla="*/ 396 w 1823" name="T86"/>
                <a:gd fmla="*/ 155 h 1385" name="T87"/>
                <a:gd fmla="*/ 417 w 1823" name="T88"/>
                <a:gd fmla="*/ 193 h 1385" name="T89"/>
                <a:gd fmla="*/ 433 w 1823" name="T90"/>
                <a:gd fmla="*/ 227 h 1385" name="T91"/>
                <a:gd fmla="*/ 417 w 1823" name="T92"/>
                <a:gd fmla="*/ 246 h 1385" name="T93"/>
                <a:gd fmla="*/ 397 w 1823" name="T94"/>
                <a:gd fmla="*/ 227 h 1385" name="T95"/>
                <a:gd fmla="*/ 379 w 1823" name="T96"/>
                <a:gd fmla="*/ 214 h 1385" name="T97"/>
                <a:gd fmla="*/ 361 w 1823" name="T98"/>
                <a:gd fmla="*/ 210 h 1385" name="T99"/>
                <a:gd fmla="*/ 355 w 1823" name="T100"/>
                <a:gd fmla="*/ 224 h 1385" name="T101"/>
                <a:gd fmla="*/ 344 w 1823" name="T102"/>
                <a:gd fmla="*/ 240 h 1385" name="T103"/>
                <a:gd fmla="*/ 312 w 1823" name="T104"/>
                <a:gd fmla="*/ 227 h 1385" name="T105"/>
                <a:gd fmla="*/ 300 w 1823" name="T106"/>
                <a:gd fmla="*/ 247 h 1385" name="T107"/>
                <a:gd fmla="*/ 320 w 1823" name="T108"/>
                <a:gd fmla="*/ 253 h 1385"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w 1823" name="T165"/>
                <a:gd fmla="*/ 0 h 1385" name="T166"/>
                <a:gd fmla="*/ 1823 w 1823" name="T167"/>
                <a:gd fmla="*/ 1385 h 1385" name="T168"/>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b="T168" l="T165" r="T167" t="T166"/>
              <a:pathLst>
                <a:path h="1385" w="1823">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68" name="Freeform 112"/>
            <p:cNvSpPr/>
            <p:nvPr/>
          </p:nvSpPr>
          <p:spPr bwMode="gray">
            <a:xfrm>
              <a:off x="2241" y="2635"/>
              <a:ext cx="911" cy="693"/>
            </a:xfrm>
            <a:custGeom>
              <a:gdLst>
                <a:gd fmla="*/ 300 w 1823" name="T0"/>
                <a:gd fmla="*/ 274 h 1385" name="T1"/>
                <a:gd fmla="*/ 284 w 1823" name="T2"/>
                <a:gd fmla="*/ 262 h 1385" name="T3"/>
                <a:gd fmla="*/ 269 w 1823" name="T4"/>
                <a:gd fmla="*/ 266 h 1385" name="T5"/>
                <a:gd fmla="*/ 248 w 1823" name="T6"/>
                <a:gd fmla="*/ 249 h 1385" name="T7"/>
                <a:gd fmla="*/ 236 w 1823" name="T8"/>
                <a:gd fmla="*/ 235 h 1385" name="T9"/>
                <a:gd fmla="*/ 232 w 1823" name="T10"/>
                <a:gd fmla="*/ 246 h 1385" name="T11"/>
                <a:gd fmla="*/ 222 w 1823" name="T12"/>
                <a:gd fmla="*/ 252 h 1385" name="T13"/>
                <a:gd fmla="*/ 218 w 1823" name="T14"/>
                <a:gd fmla="*/ 270 h 1385" name="T15"/>
                <a:gd fmla="*/ 195 w 1823" name="T16"/>
                <a:gd fmla="*/ 293 h 1385" name="T17"/>
                <a:gd fmla="*/ 201 w 1823" name="T18"/>
                <a:gd fmla="*/ 318 h 1385" name="T19"/>
                <a:gd fmla="*/ 188 w 1823" name="T20"/>
                <a:gd fmla="*/ 338 h 1385" name="T21"/>
                <a:gd fmla="*/ 167 w 1823" name="T22"/>
                <a:gd fmla="*/ 345 h 1385" name="T23"/>
                <a:gd fmla="*/ 148 w 1823" name="T24"/>
                <a:gd fmla="*/ 338 h 1385" name="T25"/>
                <a:gd fmla="*/ 132 w 1823" name="T26"/>
                <a:gd fmla="*/ 302 h 1385" name="T27"/>
                <a:gd fmla="*/ 111 w 1823" name="T28"/>
                <a:gd fmla="*/ 270 h 1385" name="T29"/>
                <a:gd fmla="*/ 90 w 1823" name="T30"/>
                <a:gd fmla="*/ 257 h 1385" name="T31"/>
                <a:gd fmla="*/ 87 w 1823" name="T32"/>
                <a:gd fmla="*/ 239 h 1385" name="T33"/>
                <a:gd fmla="*/ 65 w 1823" name="T34"/>
                <a:gd fmla="*/ 253 h 1385" name="T35"/>
                <a:gd fmla="*/ 53 w 1823" name="T36"/>
                <a:gd fmla="*/ 209 h 1385" name="T37"/>
                <a:gd fmla="*/ 51 w 1823" name="T38"/>
                <a:gd fmla="*/ 156 h 1385" name="T39"/>
                <a:gd fmla="*/ 40 w 1823" name="T40"/>
                <a:gd fmla="*/ 128 h 1385" name="T41"/>
                <a:gd fmla="*/ 49 w 1823" name="T42"/>
                <a:gd fmla="*/ 117 h 1385" name="T43"/>
                <a:gd fmla="*/ 26 w 1823" name="T44"/>
                <a:gd fmla="*/ 77 h 1385" name="T45"/>
                <a:gd fmla="*/ 2 w 1823" name="T46"/>
                <a:gd fmla="*/ 45 h 1385" name="T47"/>
                <a:gd fmla="*/ 35 w 1823" name="T48"/>
                <a:gd fmla="*/ 40 h 1385" name="T49"/>
                <a:gd fmla="*/ 70 w 1823" name="T50"/>
                <a:gd fmla="*/ 45 h 1385" name="T51"/>
                <a:gd fmla="*/ 107 w 1823" name="T52"/>
                <a:gd fmla="*/ 67 h 1385" name="T53"/>
                <a:gd fmla="*/ 124 w 1823" name="T54"/>
                <a:gd fmla="*/ 50 h 1385" name="T55"/>
                <a:gd fmla="*/ 152 w 1823" name="T56"/>
                <a:gd fmla="*/ 50 h 1385" name="T57"/>
                <a:gd fmla="*/ 171 w 1823" name="T58"/>
                <a:gd fmla="*/ 47 h 1385" name="T59"/>
                <a:gd fmla="*/ 168 w 1823" name="T60"/>
                <a:gd fmla="*/ 22 h 1385" name="T61"/>
                <a:gd fmla="*/ 193 w 1823" name="T62"/>
                <a:gd fmla="*/ 0 h 1385" name="T63"/>
                <a:gd fmla="*/ 208 w 1823" name="T64"/>
                <a:gd fmla="*/ 22 h 1385" name="T65"/>
                <a:gd fmla="*/ 240 w 1823" name="T66"/>
                <a:gd fmla="*/ 35 h 1385" name="T67"/>
                <a:gd fmla="*/ 261 w 1823" name="T68"/>
                <a:gd fmla="*/ 65 h 1385" name="T69"/>
                <a:gd fmla="*/ 284 w 1823" name="T70"/>
                <a:gd fmla="*/ 54 h 1385" name="T71"/>
                <a:gd fmla="*/ 310 w 1823" name="T72"/>
                <a:gd fmla="*/ 64 h 1385" name="T73"/>
                <a:gd fmla="*/ 358 w 1823" name="T74"/>
                <a:gd fmla="*/ 68 h 1385" name="T75"/>
                <a:gd fmla="*/ 390 w 1823" name="T76"/>
                <a:gd fmla="*/ 73 h 1385" name="T77"/>
                <a:gd fmla="*/ 419 w 1823" name="T78"/>
                <a:gd fmla="*/ 84 h 1385" name="T79"/>
                <a:gd fmla="*/ 448 w 1823" name="T80"/>
                <a:gd fmla="*/ 89 h 1385" name="T81"/>
                <a:gd fmla="*/ 455 w 1823" name="T82"/>
                <a:gd fmla="*/ 130 h 1385" name="T83"/>
                <a:gd fmla="*/ 431 w 1823" name="T84"/>
                <a:gd fmla="*/ 144 h 1385" name="T85"/>
                <a:gd fmla="*/ 396 w 1823" name="T86"/>
                <a:gd fmla="*/ 155 h 1385" name="T87"/>
                <a:gd fmla="*/ 417 w 1823" name="T88"/>
                <a:gd fmla="*/ 193 h 1385" name="T89"/>
                <a:gd fmla="*/ 433 w 1823" name="T90"/>
                <a:gd fmla="*/ 227 h 1385" name="T91"/>
                <a:gd fmla="*/ 417 w 1823" name="T92"/>
                <a:gd fmla="*/ 246 h 1385" name="T93"/>
                <a:gd fmla="*/ 397 w 1823" name="T94"/>
                <a:gd fmla="*/ 227 h 1385" name="T95"/>
                <a:gd fmla="*/ 379 w 1823" name="T96"/>
                <a:gd fmla="*/ 214 h 1385" name="T97"/>
                <a:gd fmla="*/ 361 w 1823" name="T98"/>
                <a:gd fmla="*/ 210 h 1385" name="T99"/>
                <a:gd fmla="*/ 355 w 1823" name="T100"/>
                <a:gd fmla="*/ 224 h 1385" name="T101"/>
                <a:gd fmla="*/ 344 w 1823" name="T102"/>
                <a:gd fmla="*/ 240 h 1385" name="T103"/>
                <a:gd fmla="*/ 312 w 1823" name="T104"/>
                <a:gd fmla="*/ 227 h 1385" name="T105"/>
                <a:gd fmla="*/ 300 w 1823" name="T106"/>
                <a:gd fmla="*/ 247 h 1385" name="T107"/>
                <a:gd fmla="*/ 320 w 1823" name="T108"/>
                <a:gd fmla="*/ 253 h 1385"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w 1823" name="T165"/>
                <a:gd fmla="*/ 0 h 1385" name="T166"/>
                <a:gd fmla="*/ 1823 w 1823" name="T167"/>
                <a:gd fmla="*/ 1385 h 1385" name="T168"/>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b="T168" l="T165" r="T167" t="T166"/>
              <a:pathLst>
                <a:path h="1385" w="1823">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altLang="en-US" lang="zh-CN" sz="2400"/>
            </a:p>
          </p:txBody>
        </p:sp>
        <p:sp>
          <p:nvSpPr>
            <p:cNvPr id="69" name="Freeform 113"/>
            <p:cNvSpPr/>
            <p:nvPr/>
          </p:nvSpPr>
          <p:spPr bwMode="gray">
            <a:xfrm>
              <a:off x="2685" y="3045"/>
              <a:ext cx="453" cy="398"/>
            </a:xfrm>
            <a:custGeom>
              <a:gdLst>
                <a:gd fmla="*/ 221 w 907" name="T0"/>
                <a:gd fmla="*/ 85 h 796" name="T1"/>
                <a:gd fmla="*/ 221 w 907" name="T2"/>
                <a:gd fmla="*/ 106 h 796" name="T3"/>
                <a:gd fmla="*/ 226 w 907" name="T4"/>
                <a:gd fmla="*/ 130 h 796" name="T5"/>
                <a:gd fmla="*/ 217 w 907" name="T6"/>
                <a:gd fmla="*/ 139 h 796" name="T7"/>
                <a:gd fmla="*/ 209 w 907" name="T8"/>
                <a:gd fmla="*/ 152 h 796" name="T9"/>
                <a:gd fmla="*/ 195 w 907" name="T10"/>
                <a:gd fmla="*/ 160 h 796" name="T11"/>
                <a:gd fmla="*/ 179 w 907" name="T12"/>
                <a:gd fmla="*/ 159 h 796" name="T13"/>
                <a:gd fmla="*/ 165 w 907" name="T14"/>
                <a:gd fmla="*/ 174 h 796" name="T15"/>
                <a:gd fmla="*/ 150 w 907" name="T16"/>
                <a:gd fmla="*/ 168 h 796" name="T17"/>
                <a:gd fmla="*/ 134 w 907" name="T18"/>
                <a:gd fmla="*/ 164 h 796" name="T19"/>
                <a:gd fmla="*/ 120 w 907" name="T20"/>
                <a:gd fmla="*/ 174 h 796" name="T21"/>
                <a:gd fmla="*/ 105 w 907" name="T22"/>
                <a:gd fmla="*/ 184 h 796" name="T23"/>
                <a:gd fmla="*/ 98 w 907" name="T24"/>
                <a:gd fmla="*/ 196 h 796" name="T25"/>
                <a:gd fmla="*/ 70 w 907" name="T26"/>
                <a:gd fmla="*/ 185 h 796" name="T27"/>
                <a:gd fmla="*/ 48 w 907" name="T28"/>
                <a:gd fmla="*/ 199 h 796" name="T29"/>
                <a:gd fmla="*/ 44 w 907" name="T30"/>
                <a:gd fmla="*/ 187 h 796" name="T31"/>
                <a:gd fmla="*/ 34 w 907" name="T32"/>
                <a:gd fmla="*/ 168 h 796" name="T33"/>
                <a:gd fmla="*/ 41 w 907" name="T34"/>
                <a:gd fmla="*/ 126 h 796" name="T35"/>
                <a:gd fmla="*/ 27 w 907" name="T36"/>
                <a:gd fmla="*/ 116 h 796" name="T37"/>
                <a:gd fmla="*/ 6 w 907" name="T38"/>
                <a:gd fmla="*/ 118 h 796" name="T39"/>
                <a:gd fmla="*/ 0 w 907" name="T40"/>
                <a:gd fmla="*/ 98 h 796" name="T41"/>
                <a:gd fmla="*/ 21 w 907" name="T42"/>
                <a:gd fmla="*/ 88 h 796" name="T43"/>
                <a:gd fmla="*/ 30 w 907" name="T44"/>
                <a:gd fmla="*/ 86 h 796" name="T45"/>
                <a:gd fmla="*/ 59 w 907" name="T46"/>
                <a:gd fmla="*/ 83 h 796" name="T47"/>
                <a:gd fmla="*/ 78 w 907" name="T48"/>
                <a:gd fmla="*/ 69 h 796" name="T49"/>
                <a:gd fmla="*/ 98 w 907" name="T50"/>
                <a:gd fmla="*/ 48 h 796" name="T51"/>
                <a:gd fmla="*/ 78 w 907" name="T52"/>
                <a:gd fmla="*/ 42 h 796" name="T53"/>
                <a:gd fmla="*/ 90 w 907" name="T54"/>
                <a:gd fmla="*/ 22 h 796" name="T55"/>
                <a:gd fmla="*/ 122 w 907" name="T56"/>
                <a:gd fmla="*/ 35 h 796" name="T57"/>
                <a:gd fmla="*/ 132 w 907" name="T58"/>
                <a:gd fmla="*/ 19 h 796" name="T59"/>
                <a:gd fmla="*/ 139 w 907" name="T60"/>
                <a:gd fmla="*/ 5 h 796" name="T61"/>
                <a:gd fmla="*/ 157 w 907" name="T62"/>
                <a:gd fmla="*/ 9 h 796" name="T63"/>
                <a:gd fmla="*/ 175 w 907" name="T64"/>
                <a:gd fmla="*/ 22 h 796" name="T65"/>
                <a:gd fmla="*/ 195 w 907" name="T66"/>
                <a:gd fmla="*/ 41 h 796" name="T67"/>
                <a:gd fmla="*/ 216 w 907" name="T68"/>
                <a:gd fmla="*/ 52 h 796" name="T69"/>
                <a:gd fmla="*/ 208 w 907" name="T70"/>
                <a:gd fmla="*/ 78 h 79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w 907" name="T108"/>
                <a:gd fmla="*/ 0 h 796" name="T109"/>
                <a:gd fmla="*/ 907 w 907" name="T110"/>
                <a:gd fmla="*/ 796 h 796" name="T111"/>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b="T111" l="T108" r="T110" t="T109"/>
              <a:pathLst>
                <a:path h="796" w="90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70" name="Freeform 114"/>
            <p:cNvSpPr/>
            <p:nvPr/>
          </p:nvSpPr>
          <p:spPr bwMode="gray">
            <a:xfrm>
              <a:off x="2685" y="3045"/>
              <a:ext cx="453" cy="398"/>
            </a:xfrm>
            <a:custGeom>
              <a:gdLst>
                <a:gd fmla="*/ 221 w 907" name="T0"/>
                <a:gd fmla="*/ 85 h 796" name="T1"/>
                <a:gd fmla="*/ 221 w 907" name="T2"/>
                <a:gd fmla="*/ 106 h 796" name="T3"/>
                <a:gd fmla="*/ 226 w 907" name="T4"/>
                <a:gd fmla="*/ 130 h 796" name="T5"/>
                <a:gd fmla="*/ 217 w 907" name="T6"/>
                <a:gd fmla="*/ 139 h 796" name="T7"/>
                <a:gd fmla="*/ 209 w 907" name="T8"/>
                <a:gd fmla="*/ 152 h 796" name="T9"/>
                <a:gd fmla="*/ 195 w 907" name="T10"/>
                <a:gd fmla="*/ 160 h 796" name="T11"/>
                <a:gd fmla="*/ 179 w 907" name="T12"/>
                <a:gd fmla="*/ 159 h 796" name="T13"/>
                <a:gd fmla="*/ 165 w 907" name="T14"/>
                <a:gd fmla="*/ 174 h 796" name="T15"/>
                <a:gd fmla="*/ 150 w 907" name="T16"/>
                <a:gd fmla="*/ 168 h 796" name="T17"/>
                <a:gd fmla="*/ 134 w 907" name="T18"/>
                <a:gd fmla="*/ 164 h 796" name="T19"/>
                <a:gd fmla="*/ 120 w 907" name="T20"/>
                <a:gd fmla="*/ 174 h 796" name="T21"/>
                <a:gd fmla="*/ 105 w 907" name="T22"/>
                <a:gd fmla="*/ 184 h 796" name="T23"/>
                <a:gd fmla="*/ 98 w 907" name="T24"/>
                <a:gd fmla="*/ 196 h 796" name="T25"/>
                <a:gd fmla="*/ 70 w 907" name="T26"/>
                <a:gd fmla="*/ 185 h 796" name="T27"/>
                <a:gd fmla="*/ 48 w 907" name="T28"/>
                <a:gd fmla="*/ 199 h 796" name="T29"/>
                <a:gd fmla="*/ 44 w 907" name="T30"/>
                <a:gd fmla="*/ 187 h 796" name="T31"/>
                <a:gd fmla="*/ 34 w 907" name="T32"/>
                <a:gd fmla="*/ 168 h 796" name="T33"/>
                <a:gd fmla="*/ 41 w 907" name="T34"/>
                <a:gd fmla="*/ 126 h 796" name="T35"/>
                <a:gd fmla="*/ 27 w 907" name="T36"/>
                <a:gd fmla="*/ 116 h 796" name="T37"/>
                <a:gd fmla="*/ 6 w 907" name="T38"/>
                <a:gd fmla="*/ 118 h 796" name="T39"/>
                <a:gd fmla="*/ 0 w 907" name="T40"/>
                <a:gd fmla="*/ 98 h 796" name="T41"/>
                <a:gd fmla="*/ 21 w 907" name="T42"/>
                <a:gd fmla="*/ 88 h 796" name="T43"/>
                <a:gd fmla="*/ 30 w 907" name="T44"/>
                <a:gd fmla="*/ 86 h 796" name="T45"/>
                <a:gd fmla="*/ 59 w 907" name="T46"/>
                <a:gd fmla="*/ 83 h 796" name="T47"/>
                <a:gd fmla="*/ 78 w 907" name="T48"/>
                <a:gd fmla="*/ 69 h 796" name="T49"/>
                <a:gd fmla="*/ 98 w 907" name="T50"/>
                <a:gd fmla="*/ 48 h 796" name="T51"/>
                <a:gd fmla="*/ 78 w 907" name="T52"/>
                <a:gd fmla="*/ 42 h 796" name="T53"/>
                <a:gd fmla="*/ 90 w 907" name="T54"/>
                <a:gd fmla="*/ 22 h 796" name="T55"/>
                <a:gd fmla="*/ 122 w 907" name="T56"/>
                <a:gd fmla="*/ 35 h 796" name="T57"/>
                <a:gd fmla="*/ 132 w 907" name="T58"/>
                <a:gd fmla="*/ 19 h 796" name="T59"/>
                <a:gd fmla="*/ 139 w 907" name="T60"/>
                <a:gd fmla="*/ 5 h 796" name="T61"/>
                <a:gd fmla="*/ 157 w 907" name="T62"/>
                <a:gd fmla="*/ 9 h 796" name="T63"/>
                <a:gd fmla="*/ 175 w 907" name="T64"/>
                <a:gd fmla="*/ 22 h 796" name="T65"/>
                <a:gd fmla="*/ 195 w 907" name="T66"/>
                <a:gd fmla="*/ 41 h 796" name="T67"/>
                <a:gd fmla="*/ 216 w 907" name="T68"/>
                <a:gd fmla="*/ 52 h 796" name="T69"/>
                <a:gd fmla="*/ 208 w 907" name="T70"/>
                <a:gd fmla="*/ 78 h 79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w 907" name="T108"/>
                <a:gd fmla="*/ 0 h 796" name="T109"/>
                <a:gd fmla="*/ 907 w 907" name="T110"/>
                <a:gd fmla="*/ 796 h 796" name="T111"/>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b="T111" l="T108" r="T110" t="T109"/>
              <a:pathLst>
                <a:path h="796" w="90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altLang="en-US" lang="zh-CN" sz="2400"/>
            </a:p>
          </p:txBody>
        </p:sp>
        <p:sp>
          <p:nvSpPr>
            <p:cNvPr id="71" name="Freeform 115"/>
            <p:cNvSpPr/>
            <p:nvPr/>
          </p:nvSpPr>
          <p:spPr bwMode="gray">
            <a:xfrm>
              <a:off x="3094" y="2950"/>
              <a:ext cx="402" cy="458"/>
            </a:xfrm>
            <a:custGeom>
              <a:gdLst>
                <a:gd fmla="*/ 186 w 805" name="T0"/>
                <a:gd fmla="*/ 44 h 917" name="T1"/>
                <a:gd fmla="*/ 191 w 805" name="T2"/>
                <a:gd fmla="*/ 62 h 917" name="T3"/>
                <a:gd fmla="*/ 185 w 805" name="T4"/>
                <a:gd fmla="*/ 74 h 917" name="T5"/>
                <a:gd fmla="*/ 176 w 805" name="T6"/>
                <a:gd fmla="*/ 80 h 917" name="T7"/>
                <a:gd fmla="*/ 171 w 805" name="T8"/>
                <a:gd fmla="*/ 98 h 917" name="T9"/>
                <a:gd fmla="*/ 184 w 805" name="T10"/>
                <a:gd fmla="*/ 111 h 917" name="T11"/>
                <a:gd fmla="*/ 186 w 805" name="T12"/>
                <a:gd fmla="*/ 132 h 917" name="T13"/>
                <a:gd fmla="*/ 196 w 805" name="T14"/>
                <a:gd fmla="*/ 139 h 917" name="T15"/>
                <a:gd fmla="*/ 201 w 805" name="T16"/>
                <a:gd fmla="*/ 156 h 917" name="T17"/>
                <a:gd fmla="*/ 194 w 805" name="T18"/>
                <a:gd fmla="*/ 172 h 917" name="T19"/>
                <a:gd fmla="*/ 195 w 805" name="T20"/>
                <a:gd fmla="*/ 186 h 917" name="T21"/>
                <a:gd fmla="*/ 181 w 805" name="T22"/>
                <a:gd fmla="*/ 194 h 917" name="T23"/>
                <a:gd fmla="*/ 168 w 805" name="T24"/>
                <a:gd fmla="*/ 186 h 917" name="T25"/>
                <a:gd fmla="*/ 143 w 805" name="T26"/>
                <a:gd fmla="*/ 204 h 917" name="T27"/>
                <a:gd fmla="*/ 129 w 805" name="T28"/>
                <a:gd fmla="*/ 206 h 917" name="T29"/>
                <a:gd fmla="*/ 129 w 805" name="T30"/>
                <a:gd fmla="*/ 220 h 917" name="T31"/>
                <a:gd fmla="*/ 123 w 805" name="T32"/>
                <a:gd fmla="*/ 223 h 917" name="T33"/>
                <a:gd fmla="*/ 114 w 805" name="T34"/>
                <a:gd fmla="*/ 223 h 917" name="T35"/>
                <a:gd fmla="*/ 104 w 805" name="T36"/>
                <a:gd fmla="*/ 229 h 917" name="T37"/>
                <a:gd fmla="*/ 104 w 805" name="T38"/>
                <a:gd fmla="*/ 218 h 917" name="T39"/>
                <a:gd fmla="*/ 100 w 805" name="T40"/>
                <a:gd fmla="*/ 212 h 917" name="T41"/>
                <a:gd fmla="*/ 83 w 805" name="T42"/>
                <a:gd fmla="*/ 212 h 917" name="T43"/>
                <a:gd fmla="*/ 96 w 805" name="T44"/>
                <a:gd fmla="*/ 196 h 917" name="T45"/>
                <a:gd fmla="*/ 97 w 805" name="T46"/>
                <a:gd fmla="*/ 181 h 917" name="T47"/>
                <a:gd fmla="*/ 90 w 805" name="T48"/>
                <a:gd fmla="*/ 176 h 917" name="T49"/>
                <a:gd fmla="*/ 90 w 805" name="T50"/>
                <a:gd fmla="*/ 161 h 917" name="T51"/>
                <a:gd fmla="*/ 82 w 805" name="T52"/>
                <a:gd fmla="*/ 159 h 917" name="T53"/>
                <a:gd fmla="*/ 74 w 805" name="T54"/>
                <a:gd fmla="*/ 163 h 917" name="T55"/>
                <a:gd fmla="*/ 64 w 805" name="T56"/>
                <a:gd fmla="*/ 160 h 917" name="T57"/>
                <a:gd fmla="*/ 53 w 805" name="T58"/>
                <a:gd fmla="*/ 175 h 917" name="T59"/>
                <a:gd fmla="*/ 47 w 805" name="T60"/>
                <a:gd fmla="*/ 168 h 917" name="T61"/>
                <a:gd fmla="*/ 40 w 805" name="T62"/>
                <a:gd fmla="*/ 166 h 917" name="T63"/>
                <a:gd fmla="*/ 37 w 805" name="T64"/>
                <a:gd fmla="*/ 178 h 917" name="T65"/>
                <a:gd fmla="*/ 22 w 805" name="T66"/>
                <a:gd fmla="*/ 177 h 917" name="T67"/>
                <a:gd fmla="*/ 15 w 805" name="T68"/>
                <a:gd fmla="*/ 166 h 917" name="T69"/>
                <a:gd fmla="*/ 16 w 805" name="T70"/>
                <a:gd fmla="*/ 153 h 917" name="T71"/>
                <a:gd fmla="*/ 21 w 805" name="T72"/>
                <a:gd fmla="*/ 140 h 917" name="T73"/>
                <a:gd fmla="*/ 16 w 805" name="T74"/>
                <a:gd fmla="*/ 132 h 917" name="T75"/>
                <a:gd fmla="*/ 0 w 805" name="T76"/>
                <a:gd fmla="*/ 130 h 917" name="T77"/>
                <a:gd fmla="*/ 3 w 805" name="T78"/>
                <a:gd fmla="*/ 124 h 917" name="T79"/>
                <a:gd fmla="*/ 15 w 805" name="T80"/>
                <a:gd fmla="*/ 117 h 917" name="T81"/>
                <a:gd fmla="*/ 6 w 805" name="T82"/>
                <a:gd fmla="*/ 81 h 917" name="T83"/>
                <a:gd fmla="*/ 6 w 805" name="T84"/>
                <a:gd fmla="*/ 68 h 917" name="T85"/>
                <a:gd fmla="*/ 3 w 805" name="T86"/>
                <a:gd fmla="*/ 46 h 917" name="T87"/>
                <a:gd fmla="*/ 10 w 805" name="T88"/>
                <a:gd fmla="*/ 30 h 917" name="T89"/>
                <a:gd fmla="*/ 25 w 805" name="T90"/>
                <a:gd fmla="*/ 17 h 917" name="T91"/>
                <a:gd fmla="*/ 49 w 805" name="T92"/>
                <a:gd fmla="*/ 21 h 917" name="T93"/>
                <a:gd fmla="*/ 53 w 805" name="T94"/>
                <a:gd fmla="*/ 14 h 917" name="T95"/>
                <a:gd fmla="*/ 45 w 805" name="T96"/>
                <a:gd fmla="*/ 4 h 917" name="T97"/>
                <a:gd fmla="*/ 63 w 805" name="T98"/>
                <a:gd fmla="*/ 0 h 917" name="T99"/>
                <a:gd fmla="*/ 85 w 805" name="T100"/>
                <a:gd fmla="*/ 6 h 917" name="T101"/>
                <a:gd fmla="*/ 102 w 805" name="T102"/>
                <a:gd fmla="*/ 7 h 917" name="T103"/>
                <a:gd fmla="*/ 117 w 805" name="T104"/>
                <a:gd fmla="*/ 17 h 917" name="T105"/>
                <a:gd fmla="*/ 132 w 805" name="T106"/>
                <a:gd fmla="*/ 8 h 917" name="T107"/>
                <a:gd fmla="*/ 140 w 805" name="T108"/>
                <a:gd fmla="*/ 10 h 917" name="T109"/>
                <a:gd fmla="*/ 141 w 805" name="T110"/>
                <a:gd fmla="*/ 18 h 917" name="T111"/>
                <a:gd fmla="*/ 159 w 805" name="T112"/>
                <a:gd fmla="*/ 6 h 917" name="T113"/>
                <a:gd fmla="*/ 167 w 805" name="T114"/>
                <a:gd fmla="*/ 14 h 917" name="T115"/>
                <a:gd fmla="*/ 166 w 805" name="T116"/>
                <a:gd fmla="*/ 28 h 917" name="T117"/>
                <a:gd fmla="*/ 178 w 805" name="T118"/>
                <a:gd fmla="*/ 31 h 917" name="T119"/>
                <a:gd fmla="*/ 186 w 805" name="T120"/>
                <a:gd fmla="*/ 44 h 917"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w 805" name="T183"/>
                <a:gd fmla="*/ 0 h 917" name="T184"/>
                <a:gd fmla="*/ 805 w 805" name="T185"/>
                <a:gd fmla="*/ 917 h 917" name="T186"/>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b="T186" l="T183" r="T185" t="T184"/>
              <a:pathLst>
                <a:path h="917" w="805">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72" name="Freeform 116"/>
            <p:cNvSpPr/>
            <p:nvPr/>
          </p:nvSpPr>
          <p:spPr bwMode="gray">
            <a:xfrm>
              <a:off x="3094" y="2950"/>
              <a:ext cx="402" cy="458"/>
            </a:xfrm>
            <a:custGeom>
              <a:gdLst>
                <a:gd fmla="*/ 186 w 805" name="T0"/>
                <a:gd fmla="*/ 44 h 917" name="T1"/>
                <a:gd fmla="*/ 191 w 805" name="T2"/>
                <a:gd fmla="*/ 62 h 917" name="T3"/>
                <a:gd fmla="*/ 185 w 805" name="T4"/>
                <a:gd fmla="*/ 74 h 917" name="T5"/>
                <a:gd fmla="*/ 176 w 805" name="T6"/>
                <a:gd fmla="*/ 80 h 917" name="T7"/>
                <a:gd fmla="*/ 171 w 805" name="T8"/>
                <a:gd fmla="*/ 98 h 917" name="T9"/>
                <a:gd fmla="*/ 184 w 805" name="T10"/>
                <a:gd fmla="*/ 111 h 917" name="T11"/>
                <a:gd fmla="*/ 186 w 805" name="T12"/>
                <a:gd fmla="*/ 132 h 917" name="T13"/>
                <a:gd fmla="*/ 196 w 805" name="T14"/>
                <a:gd fmla="*/ 139 h 917" name="T15"/>
                <a:gd fmla="*/ 201 w 805" name="T16"/>
                <a:gd fmla="*/ 156 h 917" name="T17"/>
                <a:gd fmla="*/ 194 w 805" name="T18"/>
                <a:gd fmla="*/ 172 h 917" name="T19"/>
                <a:gd fmla="*/ 195 w 805" name="T20"/>
                <a:gd fmla="*/ 186 h 917" name="T21"/>
                <a:gd fmla="*/ 181 w 805" name="T22"/>
                <a:gd fmla="*/ 194 h 917" name="T23"/>
                <a:gd fmla="*/ 168 w 805" name="T24"/>
                <a:gd fmla="*/ 186 h 917" name="T25"/>
                <a:gd fmla="*/ 143 w 805" name="T26"/>
                <a:gd fmla="*/ 204 h 917" name="T27"/>
                <a:gd fmla="*/ 129 w 805" name="T28"/>
                <a:gd fmla="*/ 206 h 917" name="T29"/>
                <a:gd fmla="*/ 129 w 805" name="T30"/>
                <a:gd fmla="*/ 220 h 917" name="T31"/>
                <a:gd fmla="*/ 123 w 805" name="T32"/>
                <a:gd fmla="*/ 223 h 917" name="T33"/>
                <a:gd fmla="*/ 114 w 805" name="T34"/>
                <a:gd fmla="*/ 223 h 917" name="T35"/>
                <a:gd fmla="*/ 104 w 805" name="T36"/>
                <a:gd fmla="*/ 229 h 917" name="T37"/>
                <a:gd fmla="*/ 104 w 805" name="T38"/>
                <a:gd fmla="*/ 218 h 917" name="T39"/>
                <a:gd fmla="*/ 100 w 805" name="T40"/>
                <a:gd fmla="*/ 212 h 917" name="T41"/>
                <a:gd fmla="*/ 83 w 805" name="T42"/>
                <a:gd fmla="*/ 212 h 917" name="T43"/>
                <a:gd fmla="*/ 96 w 805" name="T44"/>
                <a:gd fmla="*/ 196 h 917" name="T45"/>
                <a:gd fmla="*/ 97 w 805" name="T46"/>
                <a:gd fmla="*/ 181 h 917" name="T47"/>
                <a:gd fmla="*/ 90 w 805" name="T48"/>
                <a:gd fmla="*/ 176 h 917" name="T49"/>
                <a:gd fmla="*/ 90 w 805" name="T50"/>
                <a:gd fmla="*/ 161 h 917" name="T51"/>
                <a:gd fmla="*/ 82 w 805" name="T52"/>
                <a:gd fmla="*/ 159 h 917" name="T53"/>
                <a:gd fmla="*/ 74 w 805" name="T54"/>
                <a:gd fmla="*/ 163 h 917" name="T55"/>
                <a:gd fmla="*/ 64 w 805" name="T56"/>
                <a:gd fmla="*/ 160 h 917" name="T57"/>
                <a:gd fmla="*/ 53 w 805" name="T58"/>
                <a:gd fmla="*/ 175 h 917" name="T59"/>
                <a:gd fmla="*/ 47 w 805" name="T60"/>
                <a:gd fmla="*/ 168 h 917" name="T61"/>
                <a:gd fmla="*/ 40 w 805" name="T62"/>
                <a:gd fmla="*/ 166 h 917" name="T63"/>
                <a:gd fmla="*/ 37 w 805" name="T64"/>
                <a:gd fmla="*/ 178 h 917" name="T65"/>
                <a:gd fmla="*/ 22 w 805" name="T66"/>
                <a:gd fmla="*/ 177 h 917" name="T67"/>
                <a:gd fmla="*/ 15 w 805" name="T68"/>
                <a:gd fmla="*/ 166 h 917" name="T69"/>
                <a:gd fmla="*/ 16 w 805" name="T70"/>
                <a:gd fmla="*/ 153 h 917" name="T71"/>
                <a:gd fmla="*/ 21 w 805" name="T72"/>
                <a:gd fmla="*/ 140 h 917" name="T73"/>
                <a:gd fmla="*/ 16 w 805" name="T74"/>
                <a:gd fmla="*/ 132 h 917" name="T75"/>
                <a:gd fmla="*/ 0 w 805" name="T76"/>
                <a:gd fmla="*/ 130 h 917" name="T77"/>
                <a:gd fmla="*/ 3 w 805" name="T78"/>
                <a:gd fmla="*/ 124 h 917" name="T79"/>
                <a:gd fmla="*/ 15 w 805" name="T80"/>
                <a:gd fmla="*/ 117 h 917" name="T81"/>
                <a:gd fmla="*/ 6 w 805" name="T82"/>
                <a:gd fmla="*/ 81 h 917" name="T83"/>
                <a:gd fmla="*/ 6 w 805" name="T84"/>
                <a:gd fmla="*/ 68 h 917" name="T85"/>
                <a:gd fmla="*/ 3 w 805" name="T86"/>
                <a:gd fmla="*/ 46 h 917" name="T87"/>
                <a:gd fmla="*/ 10 w 805" name="T88"/>
                <a:gd fmla="*/ 30 h 917" name="T89"/>
                <a:gd fmla="*/ 25 w 805" name="T90"/>
                <a:gd fmla="*/ 17 h 917" name="T91"/>
                <a:gd fmla="*/ 49 w 805" name="T92"/>
                <a:gd fmla="*/ 21 h 917" name="T93"/>
                <a:gd fmla="*/ 53 w 805" name="T94"/>
                <a:gd fmla="*/ 14 h 917" name="T95"/>
                <a:gd fmla="*/ 45 w 805" name="T96"/>
                <a:gd fmla="*/ 4 h 917" name="T97"/>
                <a:gd fmla="*/ 63 w 805" name="T98"/>
                <a:gd fmla="*/ 0 h 917" name="T99"/>
                <a:gd fmla="*/ 85 w 805" name="T100"/>
                <a:gd fmla="*/ 6 h 917" name="T101"/>
                <a:gd fmla="*/ 102 w 805" name="T102"/>
                <a:gd fmla="*/ 7 h 917" name="T103"/>
                <a:gd fmla="*/ 117 w 805" name="T104"/>
                <a:gd fmla="*/ 17 h 917" name="T105"/>
                <a:gd fmla="*/ 132 w 805" name="T106"/>
                <a:gd fmla="*/ 8 h 917" name="T107"/>
                <a:gd fmla="*/ 140 w 805" name="T108"/>
                <a:gd fmla="*/ 10 h 917" name="T109"/>
                <a:gd fmla="*/ 141 w 805" name="T110"/>
                <a:gd fmla="*/ 18 h 917" name="T111"/>
                <a:gd fmla="*/ 159 w 805" name="T112"/>
                <a:gd fmla="*/ 6 h 917" name="T113"/>
                <a:gd fmla="*/ 167 w 805" name="T114"/>
                <a:gd fmla="*/ 14 h 917" name="T115"/>
                <a:gd fmla="*/ 166 w 805" name="T116"/>
                <a:gd fmla="*/ 28 h 917" name="T117"/>
                <a:gd fmla="*/ 178 w 805" name="T118"/>
                <a:gd fmla="*/ 31 h 917" name="T119"/>
                <a:gd fmla="*/ 186 w 805" name="T120"/>
                <a:gd fmla="*/ 44 h 917"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w 805" name="T183"/>
                <a:gd fmla="*/ 0 h 917" name="T184"/>
                <a:gd fmla="*/ 805 w 805" name="T185"/>
                <a:gd fmla="*/ 917 h 917" name="T186"/>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b="T186" l="T183" r="T185" t="T184"/>
              <a:pathLst>
                <a:path h="917" w="805">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altLang="en-US" lang="zh-CN" sz="2400"/>
            </a:p>
          </p:txBody>
        </p:sp>
        <p:sp>
          <p:nvSpPr>
            <p:cNvPr id="73" name="Freeform 117"/>
            <p:cNvSpPr/>
            <p:nvPr/>
          </p:nvSpPr>
          <p:spPr bwMode="gray">
            <a:xfrm>
              <a:off x="3436" y="2904"/>
              <a:ext cx="356" cy="491"/>
            </a:xfrm>
            <a:custGeom>
              <a:gdLst>
                <a:gd fmla="*/ 20 w 711" name="T0"/>
                <a:gd fmla="*/ 44 h 982" name="T1"/>
                <a:gd fmla="*/ 7 w 711" name="T2"/>
                <a:gd fmla="*/ 55 h 982" name="T3"/>
                <a:gd fmla="*/ 16 w 711" name="T4"/>
                <a:gd fmla="*/ 68 h 982" name="T5"/>
                <a:gd fmla="*/ 21 w 711" name="T6"/>
                <a:gd fmla="*/ 86 h 982" name="T7"/>
                <a:gd fmla="*/ 14 w 711" name="T8"/>
                <a:gd fmla="*/ 98 h 982" name="T9"/>
                <a:gd fmla="*/ 6 w 711" name="T10"/>
                <a:gd fmla="*/ 104 h 982" name="T11"/>
                <a:gd fmla="*/ 0 w 711" name="T12"/>
                <a:gd fmla="*/ 122 h 982" name="T13"/>
                <a:gd fmla="*/ 13 w 711" name="T14"/>
                <a:gd fmla="*/ 135 h 982" name="T15"/>
                <a:gd fmla="*/ 16 w 711" name="T16"/>
                <a:gd fmla="*/ 156 h 982" name="T17"/>
                <a:gd fmla="*/ 26 w 711" name="T18"/>
                <a:gd fmla="*/ 163 h 982" name="T19"/>
                <a:gd fmla="*/ 30 w 711" name="T20"/>
                <a:gd fmla="*/ 179 h 982" name="T21"/>
                <a:gd fmla="*/ 23 w 711" name="T22"/>
                <a:gd fmla="*/ 196 h 982" name="T23"/>
                <a:gd fmla="*/ 24 w 711" name="T24"/>
                <a:gd fmla="*/ 210 h 982" name="T25"/>
                <a:gd fmla="*/ 32 w 711" name="T26"/>
                <a:gd fmla="*/ 215 h 982" name="T27"/>
                <a:gd fmla="*/ 50 w 711" name="T28"/>
                <a:gd fmla="*/ 209 h 982" name="T29"/>
                <a:gd fmla="*/ 56 w 711" name="T30"/>
                <a:gd fmla="*/ 215 h 982" name="T31"/>
                <a:gd fmla="*/ 47 w 711" name="T32"/>
                <a:gd fmla="*/ 232 h 982" name="T33"/>
                <a:gd fmla="*/ 39 w 711" name="T34"/>
                <a:gd fmla="*/ 241 h 982" name="T35"/>
                <a:gd fmla="*/ 46 w 711" name="T36"/>
                <a:gd fmla="*/ 246 h 982" name="T37"/>
                <a:gd fmla="*/ 82 w 711" name="T38"/>
                <a:gd fmla="*/ 231 h 982" name="T39"/>
                <a:gd fmla="*/ 96 w 711" name="T40"/>
                <a:gd fmla="*/ 238 h 982" name="T41"/>
                <a:gd fmla="*/ 101 w 711" name="T42"/>
                <a:gd fmla="*/ 222 h 982" name="T43"/>
                <a:gd fmla="*/ 100 w 711" name="T44"/>
                <a:gd fmla="*/ 209 h 982" name="T45"/>
                <a:gd fmla="*/ 107 w 711" name="T46"/>
                <a:gd fmla="*/ 182 h 982" name="T47"/>
                <a:gd fmla="*/ 115 w 711" name="T48"/>
                <a:gd fmla="*/ 170 h 982" name="T49"/>
                <a:gd fmla="*/ 115 w 711" name="T50"/>
                <a:gd fmla="*/ 157 h 982" name="T51"/>
                <a:gd fmla="*/ 119 w 711" name="T52"/>
                <a:gd fmla="*/ 151 h 982" name="T53"/>
                <a:gd fmla="*/ 116 w 711" name="T54"/>
                <a:gd fmla="*/ 143 h 982" name="T55"/>
                <a:gd fmla="*/ 117 w 711" name="T56"/>
                <a:gd fmla="*/ 130 h 982" name="T57"/>
                <a:gd fmla="*/ 132 w 711" name="T58"/>
                <a:gd fmla="*/ 124 h 982" name="T59"/>
                <a:gd fmla="*/ 134 w 711" name="T60"/>
                <a:gd fmla="*/ 106 h 982" name="T61"/>
                <a:gd fmla="*/ 135 w 711" name="T62"/>
                <a:gd fmla="*/ 92 h 982" name="T63"/>
                <a:gd fmla="*/ 143 w 711" name="T64"/>
                <a:gd fmla="*/ 87 h 982" name="T65"/>
                <a:gd fmla="*/ 151 w 711" name="T66"/>
                <a:gd fmla="*/ 87 h 982" name="T67"/>
                <a:gd fmla="*/ 164 w 711" name="T68"/>
                <a:gd fmla="*/ 80 h 982" name="T69"/>
                <a:gd fmla="*/ 175 w 711" name="T70"/>
                <a:gd fmla="*/ 75 h 982" name="T71"/>
                <a:gd fmla="*/ 175 w 711" name="T72"/>
                <a:gd fmla="*/ 64 h 982" name="T73"/>
                <a:gd fmla="*/ 178 w 711" name="T74"/>
                <a:gd fmla="*/ 63 h 982" name="T75"/>
                <a:gd fmla="*/ 175 w 711" name="T76"/>
                <a:gd fmla="*/ 49 h 982" name="T77"/>
                <a:gd fmla="*/ 155 w 711" name="T78"/>
                <a:gd fmla="*/ 34 h 982" name="T79"/>
                <a:gd fmla="*/ 160 w 711" name="T80"/>
                <a:gd fmla="*/ 19 h 982" name="T81"/>
                <a:gd fmla="*/ 153 w 711" name="T82"/>
                <a:gd fmla="*/ 15 h 982" name="T83"/>
                <a:gd fmla="*/ 134 w 711" name="T84"/>
                <a:gd fmla="*/ 14 h 982" name="T85"/>
                <a:gd fmla="*/ 127 w 711" name="T86"/>
                <a:gd fmla="*/ 5 h 982" name="T87"/>
                <a:gd fmla="*/ 112 w 711" name="T88"/>
                <a:gd fmla="*/ 21 h 982" name="T89"/>
                <a:gd fmla="*/ 102 w 711" name="T90"/>
                <a:gd fmla="*/ 17 h 982" name="T91"/>
                <a:gd fmla="*/ 110 w 711" name="T92"/>
                <a:gd fmla="*/ 7 h 982" name="T93"/>
                <a:gd fmla="*/ 105 w 711" name="T94"/>
                <a:gd fmla="*/ 0 h 982" name="T95"/>
                <a:gd fmla="*/ 96 w 711" name="T96"/>
                <a:gd fmla="*/ 4 h 982" name="T97"/>
                <a:gd fmla="*/ 87 w 711" name="T98"/>
                <a:gd fmla="*/ 15 h 982" name="T99"/>
                <a:gd fmla="*/ 83 w 711" name="T100"/>
                <a:gd fmla="*/ 14 h 982" name="T101"/>
                <a:gd fmla="*/ 76 w 711" name="T102"/>
                <a:gd fmla="*/ 21 h 982" name="T103"/>
                <a:gd fmla="*/ 63 w 711" name="T104"/>
                <a:gd fmla="*/ 15 h 982" name="T105"/>
                <a:gd fmla="*/ 54 w 711" name="T106"/>
                <a:gd fmla="*/ 25 h 982" name="T107"/>
                <a:gd fmla="*/ 46 w 711" name="T108"/>
                <a:gd fmla="*/ 27 h 982" name="T109"/>
                <a:gd fmla="*/ 35 w 711" name="T110"/>
                <a:gd fmla="*/ 40 h 982" name="T111"/>
                <a:gd fmla="*/ 20 w 711" name="T112"/>
                <a:gd fmla="*/ 44 h 982"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w 711" name="T171"/>
                <a:gd fmla="*/ 0 h 982" name="T172"/>
                <a:gd fmla="*/ 711 w 711" name="T173"/>
                <a:gd fmla="*/ 982 h 982" name="T174"/>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b="T174" l="T171" r="T173" t="T172"/>
              <a:pathLst>
                <a:path h="982" w="711">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74" name="Freeform 118"/>
            <p:cNvSpPr/>
            <p:nvPr/>
          </p:nvSpPr>
          <p:spPr bwMode="gray">
            <a:xfrm>
              <a:off x="3436" y="2904"/>
              <a:ext cx="356" cy="491"/>
            </a:xfrm>
            <a:custGeom>
              <a:gdLst>
                <a:gd fmla="*/ 20 w 711" name="T0"/>
                <a:gd fmla="*/ 44 h 982" name="T1"/>
                <a:gd fmla="*/ 7 w 711" name="T2"/>
                <a:gd fmla="*/ 55 h 982" name="T3"/>
                <a:gd fmla="*/ 16 w 711" name="T4"/>
                <a:gd fmla="*/ 68 h 982" name="T5"/>
                <a:gd fmla="*/ 21 w 711" name="T6"/>
                <a:gd fmla="*/ 86 h 982" name="T7"/>
                <a:gd fmla="*/ 14 w 711" name="T8"/>
                <a:gd fmla="*/ 98 h 982" name="T9"/>
                <a:gd fmla="*/ 6 w 711" name="T10"/>
                <a:gd fmla="*/ 104 h 982" name="T11"/>
                <a:gd fmla="*/ 0 w 711" name="T12"/>
                <a:gd fmla="*/ 122 h 982" name="T13"/>
                <a:gd fmla="*/ 13 w 711" name="T14"/>
                <a:gd fmla="*/ 135 h 982" name="T15"/>
                <a:gd fmla="*/ 16 w 711" name="T16"/>
                <a:gd fmla="*/ 156 h 982" name="T17"/>
                <a:gd fmla="*/ 26 w 711" name="T18"/>
                <a:gd fmla="*/ 163 h 982" name="T19"/>
                <a:gd fmla="*/ 30 w 711" name="T20"/>
                <a:gd fmla="*/ 179 h 982" name="T21"/>
                <a:gd fmla="*/ 23 w 711" name="T22"/>
                <a:gd fmla="*/ 196 h 982" name="T23"/>
                <a:gd fmla="*/ 24 w 711" name="T24"/>
                <a:gd fmla="*/ 210 h 982" name="T25"/>
                <a:gd fmla="*/ 32 w 711" name="T26"/>
                <a:gd fmla="*/ 215 h 982" name="T27"/>
                <a:gd fmla="*/ 50 w 711" name="T28"/>
                <a:gd fmla="*/ 209 h 982" name="T29"/>
                <a:gd fmla="*/ 56 w 711" name="T30"/>
                <a:gd fmla="*/ 215 h 982" name="T31"/>
                <a:gd fmla="*/ 47 w 711" name="T32"/>
                <a:gd fmla="*/ 232 h 982" name="T33"/>
                <a:gd fmla="*/ 39 w 711" name="T34"/>
                <a:gd fmla="*/ 241 h 982" name="T35"/>
                <a:gd fmla="*/ 46 w 711" name="T36"/>
                <a:gd fmla="*/ 246 h 982" name="T37"/>
                <a:gd fmla="*/ 82 w 711" name="T38"/>
                <a:gd fmla="*/ 231 h 982" name="T39"/>
                <a:gd fmla="*/ 96 w 711" name="T40"/>
                <a:gd fmla="*/ 238 h 982" name="T41"/>
                <a:gd fmla="*/ 101 w 711" name="T42"/>
                <a:gd fmla="*/ 222 h 982" name="T43"/>
                <a:gd fmla="*/ 100 w 711" name="T44"/>
                <a:gd fmla="*/ 209 h 982" name="T45"/>
                <a:gd fmla="*/ 107 w 711" name="T46"/>
                <a:gd fmla="*/ 182 h 982" name="T47"/>
                <a:gd fmla="*/ 115 w 711" name="T48"/>
                <a:gd fmla="*/ 170 h 982" name="T49"/>
                <a:gd fmla="*/ 115 w 711" name="T50"/>
                <a:gd fmla="*/ 157 h 982" name="T51"/>
                <a:gd fmla="*/ 119 w 711" name="T52"/>
                <a:gd fmla="*/ 151 h 982" name="T53"/>
                <a:gd fmla="*/ 116 w 711" name="T54"/>
                <a:gd fmla="*/ 143 h 982" name="T55"/>
                <a:gd fmla="*/ 117 w 711" name="T56"/>
                <a:gd fmla="*/ 130 h 982" name="T57"/>
                <a:gd fmla="*/ 132 w 711" name="T58"/>
                <a:gd fmla="*/ 124 h 982" name="T59"/>
                <a:gd fmla="*/ 134 w 711" name="T60"/>
                <a:gd fmla="*/ 106 h 982" name="T61"/>
                <a:gd fmla="*/ 135 w 711" name="T62"/>
                <a:gd fmla="*/ 92 h 982" name="T63"/>
                <a:gd fmla="*/ 143 w 711" name="T64"/>
                <a:gd fmla="*/ 87 h 982" name="T65"/>
                <a:gd fmla="*/ 151 w 711" name="T66"/>
                <a:gd fmla="*/ 87 h 982" name="T67"/>
                <a:gd fmla="*/ 164 w 711" name="T68"/>
                <a:gd fmla="*/ 80 h 982" name="T69"/>
                <a:gd fmla="*/ 175 w 711" name="T70"/>
                <a:gd fmla="*/ 75 h 982" name="T71"/>
                <a:gd fmla="*/ 175 w 711" name="T72"/>
                <a:gd fmla="*/ 64 h 982" name="T73"/>
                <a:gd fmla="*/ 178 w 711" name="T74"/>
                <a:gd fmla="*/ 63 h 982" name="T75"/>
                <a:gd fmla="*/ 175 w 711" name="T76"/>
                <a:gd fmla="*/ 49 h 982" name="T77"/>
                <a:gd fmla="*/ 155 w 711" name="T78"/>
                <a:gd fmla="*/ 34 h 982" name="T79"/>
                <a:gd fmla="*/ 160 w 711" name="T80"/>
                <a:gd fmla="*/ 19 h 982" name="T81"/>
                <a:gd fmla="*/ 153 w 711" name="T82"/>
                <a:gd fmla="*/ 15 h 982" name="T83"/>
                <a:gd fmla="*/ 134 w 711" name="T84"/>
                <a:gd fmla="*/ 14 h 982" name="T85"/>
                <a:gd fmla="*/ 127 w 711" name="T86"/>
                <a:gd fmla="*/ 5 h 982" name="T87"/>
                <a:gd fmla="*/ 112 w 711" name="T88"/>
                <a:gd fmla="*/ 21 h 982" name="T89"/>
                <a:gd fmla="*/ 102 w 711" name="T90"/>
                <a:gd fmla="*/ 17 h 982" name="T91"/>
                <a:gd fmla="*/ 110 w 711" name="T92"/>
                <a:gd fmla="*/ 7 h 982" name="T93"/>
                <a:gd fmla="*/ 105 w 711" name="T94"/>
                <a:gd fmla="*/ 0 h 982" name="T95"/>
                <a:gd fmla="*/ 96 w 711" name="T96"/>
                <a:gd fmla="*/ 4 h 982" name="T97"/>
                <a:gd fmla="*/ 87 w 711" name="T98"/>
                <a:gd fmla="*/ 15 h 982" name="T99"/>
                <a:gd fmla="*/ 83 w 711" name="T100"/>
                <a:gd fmla="*/ 14 h 982" name="T101"/>
                <a:gd fmla="*/ 76 w 711" name="T102"/>
                <a:gd fmla="*/ 21 h 982" name="T103"/>
                <a:gd fmla="*/ 63 w 711" name="T104"/>
                <a:gd fmla="*/ 15 h 982" name="T105"/>
                <a:gd fmla="*/ 54 w 711" name="T106"/>
                <a:gd fmla="*/ 25 h 982" name="T107"/>
                <a:gd fmla="*/ 46 w 711" name="T108"/>
                <a:gd fmla="*/ 27 h 982" name="T109"/>
                <a:gd fmla="*/ 35 w 711" name="T110"/>
                <a:gd fmla="*/ 40 h 982" name="T111"/>
                <a:gd fmla="*/ 20 w 711" name="T112"/>
                <a:gd fmla="*/ 44 h 982"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w 711" name="T171"/>
                <a:gd fmla="*/ 0 h 982" name="T172"/>
                <a:gd fmla="*/ 711 w 711" name="T173"/>
                <a:gd fmla="*/ 982 h 982" name="T174"/>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b="T174" l="T171" r="T173" t="T172"/>
              <a:pathLst>
                <a:path h="982" w="711">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altLang="en-US" lang="zh-CN" sz="2400"/>
            </a:p>
          </p:txBody>
        </p:sp>
        <p:sp>
          <p:nvSpPr>
            <p:cNvPr id="75" name="Freeform 119"/>
            <p:cNvSpPr/>
            <p:nvPr/>
          </p:nvSpPr>
          <p:spPr bwMode="gray">
            <a:xfrm>
              <a:off x="3477" y="2497"/>
              <a:ext cx="361" cy="447"/>
            </a:xfrm>
            <a:custGeom>
              <a:gdLst>
                <a:gd fmla="*/ 19 w 722" name="T0"/>
                <a:gd fmla="*/ 148 h 894" name="T1"/>
                <a:gd fmla="*/ 23 w 722" name="T2"/>
                <a:gd fmla="*/ 155 h 894" name="T3"/>
                <a:gd fmla="*/ 34 w 722" name="T4"/>
                <a:gd fmla="*/ 163 h 894" name="T5"/>
                <a:gd fmla="*/ 42 w 722" name="T6"/>
                <a:gd fmla="*/ 163 h 894" name="T7"/>
                <a:gd fmla="*/ 50 w 722" name="T8"/>
                <a:gd fmla="*/ 168 h 894" name="T9"/>
                <a:gd fmla="*/ 50 w 722" name="T10"/>
                <a:gd fmla="*/ 192 h 894" name="T11"/>
                <a:gd fmla="*/ 58 w 722" name="T12"/>
                <a:gd fmla="*/ 202 h 894" name="T13"/>
                <a:gd fmla="*/ 62 w 722" name="T14"/>
                <a:gd fmla="*/ 217 h 894" name="T15"/>
                <a:gd fmla="*/ 67 w 722" name="T16"/>
                <a:gd fmla="*/ 218 h 894" name="T17"/>
                <a:gd fmla="*/ 76 w 722" name="T18"/>
                <a:gd fmla="*/ 207 h 894" name="T19"/>
                <a:gd fmla="*/ 85 w 722" name="T20"/>
                <a:gd fmla="*/ 204 h 894" name="T21"/>
                <a:gd fmla="*/ 90 w 722" name="T22"/>
                <a:gd fmla="*/ 211 h 894" name="T23"/>
                <a:gd fmla="*/ 82 w 722" name="T24"/>
                <a:gd fmla="*/ 220 h 894" name="T25"/>
                <a:gd fmla="*/ 91 w 722" name="T26"/>
                <a:gd fmla="*/ 224 h 894" name="T27"/>
                <a:gd fmla="*/ 106 w 722" name="T28"/>
                <a:gd fmla="*/ 209 h 894" name="T29"/>
                <a:gd fmla="*/ 113 w 722" name="T30"/>
                <a:gd fmla="*/ 217 h 894" name="T31"/>
                <a:gd fmla="*/ 133 w 722" name="T32"/>
                <a:gd fmla="*/ 218 h 894" name="T33"/>
                <a:gd fmla="*/ 140 w 722" name="T34"/>
                <a:gd fmla="*/ 222 h 894" name="T35"/>
                <a:gd fmla="*/ 154 w 722" name="T36"/>
                <a:gd fmla="*/ 207 h 894" name="T37"/>
                <a:gd fmla="*/ 162 w 722" name="T38"/>
                <a:gd fmla="*/ 188 h 894" name="T39"/>
                <a:gd fmla="*/ 169 w 722" name="T40"/>
                <a:gd fmla="*/ 178 h 894" name="T41"/>
                <a:gd fmla="*/ 176 w 722" name="T42"/>
                <a:gd fmla="*/ 175 h 894" name="T43"/>
                <a:gd fmla="*/ 171 w 722" name="T44"/>
                <a:gd fmla="*/ 164 h 894" name="T45"/>
                <a:gd fmla="*/ 181 w 722" name="T46"/>
                <a:gd fmla="*/ 151 h 894" name="T47"/>
                <a:gd fmla="*/ 180 w 722" name="T48"/>
                <a:gd fmla="*/ 141 h 894" name="T49"/>
                <a:gd fmla="*/ 173 w 722" name="T50"/>
                <a:gd fmla="*/ 142 h 894" name="T51"/>
                <a:gd fmla="*/ 162 w 722" name="T52"/>
                <a:gd fmla="*/ 138 h 894" name="T53"/>
                <a:gd fmla="*/ 150 w 722" name="T54"/>
                <a:gd fmla="*/ 142 h 894" name="T55"/>
                <a:gd fmla="*/ 147 w 722" name="T56"/>
                <a:gd fmla="*/ 127 h 894" name="T57"/>
                <a:gd fmla="*/ 134 w 722" name="T58"/>
                <a:gd fmla="*/ 120 h 894" name="T59"/>
                <a:gd fmla="*/ 131 w 722" name="T60"/>
                <a:gd fmla="*/ 108 h 894" name="T61"/>
                <a:gd fmla="*/ 138 w 722" name="T62"/>
                <a:gd fmla="*/ 97 h 894" name="T63"/>
                <a:gd fmla="*/ 124 w 722" name="T64"/>
                <a:gd fmla="*/ 83 h 894" name="T65"/>
                <a:gd fmla="*/ 108 w 722" name="T66"/>
                <a:gd fmla="*/ 63 h 894" name="T67"/>
                <a:gd fmla="*/ 109 w 722" name="T68"/>
                <a:gd fmla="*/ 47 h 894" name="T69"/>
                <a:gd fmla="*/ 101 w 722" name="T70"/>
                <a:gd fmla="*/ 42 h 894" name="T71"/>
                <a:gd fmla="*/ 93 w 722" name="T72"/>
                <a:gd fmla="*/ 44 h 894" name="T73"/>
                <a:gd fmla="*/ 90 w 722" name="T74"/>
                <a:gd fmla="*/ 35 h 894" name="T75"/>
                <a:gd fmla="*/ 73 w 722" name="T76"/>
                <a:gd fmla="*/ 34 h 894" name="T77"/>
                <a:gd fmla="*/ 77 w 722" name="T78"/>
                <a:gd fmla="*/ 12 h 894" name="T79"/>
                <a:gd fmla="*/ 69 w 722" name="T80"/>
                <a:gd fmla="*/ 15 h 894" name="T81"/>
                <a:gd fmla="*/ 53 w 722" name="T82"/>
                <a:gd fmla="*/ 0 h 894" name="T83"/>
                <a:gd fmla="*/ 45 w 722" name="T84"/>
                <a:gd fmla="*/ 4 h 894" name="T85"/>
                <a:gd fmla="*/ 40 w 722" name="T86"/>
                <a:gd fmla="*/ 16 h 894" name="T87"/>
                <a:gd fmla="*/ 35 w 722" name="T88"/>
                <a:gd fmla="*/ 17 h 894" name="T89"/>
                <a:gd fmla="*/ 38 w 722" name="T90"/>
                <a:gd fmla="*/ 26 h 894" name="T91"/>
                <a:gd fmla="*/ 51 w 722" name="T92"/>
                <a:gd fmla="*/ 30 h 894" name="T93"/>
                <a:gd fmla="*/ 55 w 722" name="T94"/>
                <a:gd fmla="*/ 46 h 894" name="T95"/>
                <a:gd fmla="*/ 42 w 722" name="T96"/>
                <a:gd fmla="*/ 54 h 894" name="T97"/>
                <a:gd fmla="*/ 28 w 722" name="T98"/>
                <a:gd fmla="*/ 42 h 894" name="T99"/>
                <a:gd fmla="*/ 17 w 722" name="T100"/>
                <a:gd fmla="*/ 49 h 894" name="T101"/>
                <a:gd fmla="*/ 22 w 722" name="T102"/>
                <a:gd fmla="*/ 62 h 894" name="T103"/>
                <a:gd fmla="*/ 12 w 722" name="T104"/>
                <a:gd fmla="*/ 71 h 894" name="T105"/>
                <a:gd fmla="*/ 13 w 722" name="T106"/>
                <a:gd fmla="*/ 84 h 894" name="T107"/>
                <a:gd fmla="*/ 0 w 722" name="T108"/>
                <a:gd fmla="*/ 88 h 894" name="T109"/>
                <a:gd fmla="*/ 11 w 722" name="T110"/>
                <a:gd fmla="*/ 96 h 894" name="T111"/>
                <a:gd fmla="*/ 24 w 722" name="T112"/>
                <a:gd fmla="*/ 112 h 894" name="T113"/>
                <a:gd fmla="*/ 40 w 722" name="T114"/>
                <a:gd fmla="*/ 103 h 894" name="T115"/>
                <a:gd fmla="*/ 44 w 722" name="T116"/>
                <a:gd fmla="*/ 118 h 894" name="T117"/>
                <a:gd fmla="*/ 43 w 722" name="T118"/>
                <a:gd fmla="*/ 134 h 894" name="T119"/>
                <a:gd fmla="*/ 24 w 722" name="T120"/>
                <a:gd fmla="*/ 144 h 894" name="T121"/>
                <a:gd fmla="*/ 19 w 722" name="T122"/>
                <a:gd fmla="*/ 148 h 894"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 fmla="*/ 0 w 722" name="T186"/>
                <a:gd fmla="*/ 0 h 894" name="T187"/>
                <a:gd fmla="*/ 722 w 722" name="T188"/>
                <a:gd fmla="*/ 894 h 894" name="T189"/>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b="T189" l="T186" r="T188" t="T187"/>
              <a:pathLst>
                <a:path h="894" w="722">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76" name="Freeform 120"/>
            <p:cNvSpPr/>
            <p:nvPr/>
          </p:nvSpPr>
          <p:spPr bwMode="gray">
            <a:xfrm>
              <a:off x="3477" y="2497"/>
              <a:ext cx="361" cy="447"/>
            </a:xfrm>
            <a:custGeom>
              <a:gdLst>
                <a:gd fmla="*/ 19 w 722" name="T0"/>
                <a:gd fmla="*/ 148 h 894" name="T1"/>
                <a:gd fmla="*/ 23 w 722" name="T2"/>
                <a:gd fmla="*/ 155 h 894" name="T3"/>
                <a:gd fmla="*/ 34 w 722" name="T4"/>
                <a:gd fmla="*/ 163 h 894" name="T5"/>
                <a:gd fmla="*/ 42 w 722" name="T6"/>
                <a:gd fmla="*/ 163 h 894" name="T7"/>
                <a:gd fmla="*/ 50 w 722" name="T8"/>
                <a:gd fmla="*/ 168 h 894" name="T9"/>
                <a:gd fmla="*/ 50 w 722" name="T10"/>
                <a:gd fmla="*/ 192 h 894" name="T11"/>
                <a:gd fmla="*/ 58 w 722" name="T12"/>
                <a:gd fmla="*/ 202 h 894" name="T13"/>
                <a:gd fmla="*/ 62 w 722" name="T14"/>
                <a:gd fmla="*/ 217 h 894" name="T15"/>
                <a:gd fmla="*/ 67 w 722" name="T16"/>
                <a:gd fmla="*/ 218 h 894" name="T17"/>
                <a:gd fmla="*/ 76 w 722" name="T18"/>
                <a:gd fmla="*/ 207 h 894" name="T19"/>
                <a:gd fmla="*/ 85 w 722" name="T20"/>
                <a:gd fmla="*/ 204 h 894" name="T21"/>
                <a:gd fmla="*/ 90 w 722" name="T22"/>
                <a:gd fmla="*/ 211 h 894" name="T23"/>
                <a:gd fmla="*/ 82 w 722" name="T24"/>
                <a:gd fmla="*/ 220 h 894" name="T25"/>
                <a:gd fmla="*/ 91 w 722" name="T26"/>
                <a:gd fmla="*/ 224 h 894" name="T27"/>
                <a:gd fmla="*/ 106 w 722" name="T28"/>
                <a:gd fmla="*/ 209 h 894" name="T29"/>
                <a:gd fmla="*/ 113 w 722" name="T30"/>
                <a:gd fmla="*/ 217 h 894" name="T31"/>
                <a:gd fmla="*/ 133 w 722" name="T32"/>
                <a:gd fmla="*/ 218 h 894" name="T33"/>
                <a:gd fmla="*/ 140 w 722" name="T34"/>
                <a:gd fmla="*/ 222 h 894" name="T35"/>
                <a:gd fmla="*/ 154 w 722" name="T36"/>
                <a:gd fmla="*/ 207 h 894" name="T37"/>
                <a:gd fmla="*/ 162 w 722" name="T38"/>
                <a:gd fmla="*/ 188 h 894" name="T39"/>
                <a:gd fmla="*/ 169 w 722" name="T40"/>
                <a:gd fmla="*/ 178 h 894" name="T41"/>
                <a:gd fmla="*/ 176 w 722" name="T42"/>
                <a:gd fmla="*/ 175 h 894" name="T43"/>
                <a:gd fmla="*/ 171 w 722" name="T44"/>
                <a:gd fmla="*/ 164 h 894" name="T45"/>
                <a:gd fmla="*/ 181 w 722" name="T46"/>
                <a:gd fmla="*/ 151 h 894" name="T47"/>
                <a:gd fmla="*/ 180 w 722" name="T48"/>
                <a:gd fmla="*/ 141 h 894" name="T49"/>
                <a:gd fmla="*/ 173 w 722" name="T50"/>
                <a:gd fmla="*/ 142 h 894" name="T51"/>
                <a:gd fmla="*/ 162 w 722" name="T52"/>
                <a:gd fmla="*/ 138 h 894" name="T53"/>
                <a:gd fmla="*/ 150 w 722" name="T54"/>
                <a:gd fmla="*/ 142 h 894" name="T55"/>
                <a:gd fmla="*/ 147 w 722" name="T56"/>
                <a:gd fmla="*/ 127 h 894" name="T57"/>
                <a:gd fmla="*/ 134 w 722" name="T58"/>
                <a:gd fmla="*/ 120 h 894" name="T59"/>
                <a:gd fmla="*/ 131 w 722" name="T60"/>
                <a:gd fmla="*/ 108 h 894" name="T61"/>
                <a:gd fmla="*/ 138 w 722" name="T62"/>
                <a:gd fmla="*/ 97 h 894" name="T63"/>
                <a:gd fmla="*/ 124 w 722" name="T64"/>
                <a:gd fmla="*/ 83 h 894" name="T65"/>
                <a:gd fmla="*/ 108 w 722" name="T66"/>
                <a:gd fmla="*/ 63 h 894" name="T67"/>
                <a:gd fmla="*/ 109 w 722" name="T68"/>
                <a:gd fmla="*/ 47 h 894" name="T69"/>
                <a:gd fmla="*/ 101 w 722" name="T70"/>
                <a:gd fmla="*/ 42 h 894" name="T71"/>
                <a:gd fmla="*/ 93 w 722" name="T72"/>
                <a:gd fmla="*/ 44 h 894" name="T73"/>
                <a:gd fmla="*/ 90 w 722" name="T74"/>
                <a:gd fmla="*/ 35 h 894" name="T75"/>
                <a:gd fmla="*/ 73 w 722" name="T76"/>
                <a:gd fmla="*/ 34 h 894" name="T77"/>
                <a:gd fmla="*/ 77 w 722" name="T78"/>
                <a:gd fmla="*/ 12 h 894" name="T79"/>
                <a:gd fmla="*/ 69 w 722" name="T80"/>
                <a:gd fmla="*/ 15 h 894" name="T81"/>
                <a:gd fmla="*/ 53 w 722" name="T82"/>
                <a:gd fmla="*/ 0 h 894" name="T83"/>
                <a:gd fmla="*/ 45 w 722" name="T84"/>
                <a:gd fmla="*/ 4 h 894" name="T85"/>
                <a:gd fmla="*/ 40 w 722" name="T86"/>
                <a:gd fmla="*/ 16 h 894" name="T87"/>
                <a:gd fmla="*/ 35 w 722" name="T88"/>
                <a:gd fmla="*/ 17 h 894" name="T89"/>
                <a:gd fmla="*/ 38 w 722" name="T90"/>
                <a:gd fmla="*/ 26 h 894" name="T91"/>
                <a:gd fmla="*/ 51 w 722" name="T92"/>
                <a:gd fmla="*/ 30 h 894" name="T93"/>
                <a:gd fmla="*/ 55 w 722" name="T94"/>
                <a:gd fmla="*/ 46 h 894" name="T95"/>
                <a:gd fmla="*/ 42 w 722" name="T96"/>
                <a:gd fmla="*/ 54 h 894" name="T97"/>
                <a:gd fmla="*/ 28 w 722" name="T98"/>
                <a:gd fmla="*/ 42 h 894" name="T99"/>
                <a:gd fmla="*/ 17 w 722" name="T100"/>
                <a:gd fmla="*/ 49 h 894" name="T101"/>
                <a:gd fmla="*/ 22 w 722" name="T102"/>
                <a:gd fmla="*/ 62 h 894" name="T103"/>
                <a:gd fmla="*/ 12 w 722" name="T104"/>
                <a:gd fmla="*/ 71 h 894" name="T105"/>
                <a:gd fmla="*/ 13 w 722" name="T106"/>
                <a:gd fmla="*/ 84 h 894" name="T107"/>
                <a:gd fmla="*/ 0 w 722" name="T108"/>
                <a:gd fmla="*/ 88 h 894" name="T109"/>
                <a:gd fmla="*/ 11 w 722" name="T110"/>
                <a:gd fmla="*/ 96 h 894" name="T111"/>
                <a:gd fmla="*/ 24 w 722" name="T112"/>
                <a:gd fmla="*/ 112 h 894" name="T113"/>
                <a:gd fmla="*/ 40 w 722" name="T114"/>
                <a:gd fmla="*/ 103 h 894" name="T115"/>
                <a:gd fmla="*/ 44 w 722" name="T116"/>
                <a:gd fmla="*/ 118 h 894" name="T117"/>
                <a:gd fmla="*/ 43 w 722" name="T118"/>
                <a:gd fmla="*/ 134 h 894" name="T119"/>
                <a:gd fmla="*/ 24 w 722" name="T120"/>
                <a:gd fmla="*/ 144 h 894" name="T121"/>
                <a:gd fmla="*/ 19 w 722" name="T122"/>
                <a:gd fmla="*/ 148 h 894"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 fmla="*/ 0 w 722" name="T186"/>
                <a:gd fmla="*/ 0 h 894" name="T187"/>
                <a:gd fmla="*/ 722 w 722" name="T188"/>
                <a:gd fmla="*/ 894 h 894" name="T189"/>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b="T189" l="T186" r="T188" t="T187"/>
              <a:pathLst>
                <a:path h="894" w="722">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altLang="en-US" lang="zh-CN" sz="2400"/>
            </a:p>
          </p:txBody>
        </p:sp>
        <p:sp>
          <p:nvSpPr>
            <p:cNvPr id="77" name="Freeform 121"/>
            <p:cNvSpPr/>
            <p:nvPr/>
          </p:nvSpPr>
          <p:spPr bwMode="gray">
            <a:xfrm>
              <a:off x="3034" y="2686"/>
              <a:ext cx="568" cy="356"/>
            </a:xfrm>
            <a:custGeom>
              <a:gdLst>
                <a:gd fmla="*/ 40 w 1136" name="T0"/>
                <a:gd fmla="*/ 51 h 713" name="T1"/>
                <a:gd fmla="*/ 52 w 1136" name="T2"/>
                <a:gd fmla="*/ 64 h 713" name="T3"/>
                <a:gd fmla="*/ 58 w 1136" name="T4"/>
                <a:gd fmla="*/ 104 h 713" name="T5"/>
                <a:gd fmla="*/ 35 w 1136" name="T6"/>
                <a:gd fmla="*/ 118 h 713" name="T7"/>
                <a:gd fmla="*/ 0 w 1136" name="T8"/>
                <a:gd fmla="*/ 129 h 713" name="T9"/>
                <a:gd fmla="*/ 20 w 1136" name="T10"/>
                <a:gd fmla="*/ 167 h 713" name="T11"/>
                <a:gd fmla="*/ 40 w 1136" name="T12"/>
                <a:gd fmla="*/ 162 h 713" name="T13"/>
                <a:gd fmla="*/ 80 w 1136" name="T14"/>
                <a:gd fmla="*/ 153 h 713" name="T15"/>
                <a:gd fmla="*/ 76 w 1136" name="T16"/>
                <a:gd fmla="*/ 136 h 713" name="T17"/>
                <a:gd fmla="*/ 115 w 1136" name="T18"/>
                <a:gd fmla="*/ 138 h 713" name="T19"/>
                <a:gd fmla="*/ 147 w 1136" name="T20"/>
                <a:gd fmla="*/ 149 h 713" name="T21"/>
                <a:gd fmla="*/ 170 w 1136" name="T22"/>
                <a:gd fmla="*/ 142 h 713" name="T23"/>
                <a:gd fmla="*/ 189 w 1136" name="T24"/>
                <a:gd fmla="*/ 138 h 713" name="T25"/>
                <a:gd fmla="*/ 196 w 1136" name="T26"/>
                <a:gd fmla="*/ 160 h 713" name="T27"/>
                <a:gd fmla="*/ 221 w 1136" name="T28"/>
                <a:gd fmla="*/ 152 h 713" name="T29"/>
                <a:gd fmla="*/ 247 w 1136" name="T30"/>
                <a:gd fmla="*/ 135 h 713" name="T31"/>
                <a:gd fmla="*/ 264 w 1136" name="T32"/>
                <a:gd fmla="*/ 124 h 713" name="T33"/>
                <a:gd fmla="*/ 284 w 1136" name="T34"/>
                <a:gd fmla="*/ 122 h 713" name="T35"/>
                <a:gd fmla="*/ 272 w 1136" name="T36"/>
                <a:gd fmla="*/ 97 h 713" name="T37"/>
                <a:gd fmla="*/ 263 w 1136" name="T38"/>
                <a:gd fmla="*/ 68 h 713" name="T39"/>
                <a:gd fmla="*/ 245 w 1136" name="T40"/>
                <a:gd fmla="*/ 60 h 713" name="T41"/>
                <a:gd fmla="*/ 225 w 1136" name="T42"/>
                <a:gd fmla="*/ 59 h 713" name="T43"/>
                <a:gd fmla="*/ 196 w 1136" name="T44"/>
                <a:gd fmla="*/ 50 h 713" name="T45"/>
                <a:gd fmla="*/ 186 w 1136" name="T46"/>
                <a:gd fmla="*/ 24 h 713" name="T47"/>
                <a:gd fmla="*/ 157 w 1136" name="T48"/>
                <a:gd fmla="*/ 26 h 713" name="T49"/>
                <a:gd fmla="*/ 107 w 1136" name="T50"/>
                <a:gd fmla="*/ 21 h 713" name="T51"/>
                <a:gd fmla="*/ 71 w 1136" name="T52"/>
                <a:gd fmla="*/ 6 h 713" name="T53"/>
                <a:gd fmla="*/ 50 w 1136" name="T54"/>
                <a:gd fmla="*/ 4 h 713" name="T55"/>
                <a:gd fmla="*/ 43 w 1136" name="T56"/>
                <a:gd fmla="*/ 2 h 713" name="T57"/>
                <a:gd fmla="*/ 35 w 1136" name="T58"/>
                <a:gd fmla="*/ 1 h 713" name="T59"/>
                <a:gd fmla="*/ 34 w 1136" name="T60"/>
                <a:gd fmla="*/ 2 h 713" name="T61"/>
                <a:gd fmla="*/ 31 w 1136" name="T62"/>
                <a:gd fmla="*/ 7 h 713" name="T63"/>
                <a:gd fmla="*/ 29 w 1136" name="T64"/>
                <a:gd fmla="*/ 9 h 713" name="T65"/>
                <a:gd fmla="*/ 54 w 1136" name="T66"/>
                <a:gd fmla="*/ 24 h 713" name="T67"/>
                <a:gd fmla="*/ 33 w 1136" name="T68"/>
                <a:gd fmla="*/ 42 h 713"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w 1136" name="T105"/>
                <a:gd fmla="*/ 0 h 713" name="T106"/>
                <a:gd fmla="*/ 1136 w 1136" name="T107"/>
                <a:gd fmla="*/ 713 h 713" name="T108"/>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b="T108" l="T105" r="T107" t="T106"/>
              <a:pathLst>
                <a:path h="713" w="1136">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78" name="Freeform 122"/>
            <p:cNvSpPr/>
            <p:nvPr/>
          </p:nvSpPr>
          <p:spPr bwMode="gray">
            <a:xfrm>
              <a:off x="3034" y="2686"/>
              <a:ext cx="568" cy="356"/>
            </a:xfrm>
            <a:custGeom>
              <a:gdLst>
                <a:gd fmla="*/ 40 w 1136" name="T0"/>
                <a:gd fmla="*/ 51 h 713" name="T1"/>
                <a:gd fmla="*/ 52 w 1136" name="T2"/>
                <a:gd fmla="*/ 64 h 713" name="T3"/>
                <a:gd fmla="*/ 58 w 1136" name="T4"/>
                <a:gd fmla="*/ 104 h 713" name="T5"/>
                <a:gd fmla="*/ 35 w 1136" name="T6"/>
                <a:gd fmla="*/ 118 h 713" name="T7"/>
                <a:gd fmla="*/ 0 w 1136" name="T8"/>
                <a:gd fmla="*/ 129 h 713" name="T9"/>
                <a:gd fmla="*/ 20 w 1136" name="T10"/>
                <a:gd fmla="*/ 167 h 713" name="T11"/>
                <a:gd fmla="*/ 40 w 1136" name="T12"/>
                <a:gd fmla="*/ 162 h 713" name="T13"/>
                <a:gd fmla="*/ 80 w 1136" name="T14"/>
                <a:gd fmla="*/ 153 h 713" name="T15"/>
                <a:gd fmla="*/ 76 w 1136" name="T16"/>
                <a:gd fmla="*/ 136 h 713" name="T17"/>
                <a:gd fmla="*/ 115 w 1136" name="T18"/>
                <a:gd fmla="*/ 138 h 713" name="T19"/>
                <a:gd fmla="*/ 147 w 1136" name="T20"/>
                <a:gd fmla="*/ 149 h 713" name="T21"/>
                <a:gd fmla="*/ 170 w 1136" name="T22"/>
                <a:gd fmla="*/ 142 h 713" name="T23"/>
                <a:gd fmla="*/ 189 w 1136" name="T24"/>
                <a:gd fmla="*/ 138 h 713" name="T25"/>
                <a:gd fmla="*/ 196 w 1136" name="T26"/>
                <a:gd fmla="*/ 160 h 713" name="T27"/>
                <a:gd fmla="*/ 221 w 1136" name="T28"/>
                <a:gd fmla="*/ 152 h 713" name="T29"/>
                <a:gd fmla="*/ 247 w 1136" name="T30"/>
                <a:gd fmla="*/ 135 h 713" name="T31"/>
                <a:gd fmla="*/ 264 w 1136" name="T32"/>
                <a:gd fmla="*/ 124 h 713" name="T33"/>
                <a:gd fmla="*/ 284 w 1136" name="T34"/>
                <a:gd fmla="*/ 122 h 713" name="T35"/>
                <a:gd fmla="*/ 272 w 1136" name="T36"/>
                <a:gd fmla="*/ 97 h 713" name="T37"/>
                <a:gd fmla="*/ 263 w 1136" name="T38"/>
                <a:gd fmla="*/ 68 h 713" name="T39"/>
                <a:gd fmla="*/ 245 w 1136" name="T40"/>
                <a:gd fmla="*/ 60 h 713" name="T41"/>
                <a:gd fmla="*/ 225 w 1136" name="T42"/>
                <a:gd fmla="*/ 59 h 713" name="T43"/>
                <a:gd fmla="*/ 196 w 1136" name="T44"/>
                <a:gd fmla="*/ 50 h 713" name="T45"/>
                <a:gd fmla="*/ 186 w 1136" name="T46"/>
                <a:gd fmla="*/ 24 h 713" name="T47"/>
                <a:gd fmla="*/ 157 w 1136" name="T48"/>
                <a:gd fmla="*/ 26 h 713" name="T49"/>
                <a:gd fmla="*/ 107 w 1136" name="T50"/>
                <a:gd fmla="*/ 21 h 713" name="T51"/>
                <a:gd fmla="*/ 71 w 1136" name="T52"/>
                <a:gd fmla="*/ 6 h 713" name="T53"/>
                <a:gd fmla="*/ 50 w 1136" name="T54"/>
                <a:gd fmla="*/ 4 h 713" name="T55"/>
                <a:gd fmla="*/ 43 w 1136" name="T56"/>
                <a:gd fmla="*/ 2 h 713" name="T57"/>
                <a:gd fmla="*/ 35 w 1136" name="T58"/>
                <a:gd fmla="*/ 1 h 713" name="T59"/>
                <a:gd fmla="*/ 34 w 1136" name="T60"/>
                <a:gd fmla="*/ 2 h 713" name="T61"/>
                <a:gd fmla="*/ 31 w 1136" name="T62"/>
                <a:gd fmla="*/ 7 h 713" name="T63"/>
                <a:gd fmla="*/ 29 w 1136" name="T64"/>
                <a:gd fmla="*/ 9 h 713" name="T65"/>
                <a:gd fmla="*/ 54 w 1136" name="T66"/>
                <a:gd fmla="*/ 24 h 713" name="T67"/>
                <a:gd fmla="*/ 33 w 1136" name="T68"/>
                <a:gd fmla="*/ 42 h 713"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w 1136" name="T105"/>
                <a:gd fmla="*/ 0 h 713" name="T106"/>
                <a:gd fmla="*/ 1136 w 1136" name="T107"/>
                <a:gd fmla="*/ 713 h 713" name="T108"/>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b="T108" l="T105" r="T107" t="T106"/>
              <a:pathLst>
                <a:path h="713" w="1136">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altLang="en-US" lang="zh-CN" sz="2400"/>
            </a:p>
          </p:txBody>
        </p:sp>
        <p:sp>
          <p:nvSpPr>
            <p:cNvPr id="79" name="Freeform 123"/>
            <p:cNvSpPr/>
            <p:nvPr/>
          </p:nvSpPr>
          <p:spPr bwMode="gray">
            <a:xfrm>
              <a:off x="3140" y="2406"/>
              <a:ext cx="448" cy="398"/>
            </a:xfrm>
            <a:custGeom>
              <a:gdLst>
                <a:gd fmla="*/ 0 w 896" name="T0"/>
                <a:gd fmla="*/ 84 h 797" name="T1"/>
                <a:gd fmla="*/ 7 w 896" name="T2"/>
                <a:gd fmla="*/ 100 h 797" name="T3"/>
                <a:gd fmla="*/ 17 w 896" name="T4"/>
                <a:gd fmla="*/ 115 h 797" name="T5"/>
                <a:gd fmla="*/ 30 w 896" name="T6"/>
                <a:gd fmla="*/ 127 h 797" name="T7"/>
                <a:gd fmla="*/ 29 w 896" name="T8"/>
                <a:gd fmla="*/ 140 h 797" name="T9"/>
                <a:gd fmla="*/ 53 w 896" name="T10"/>
                <a:gd fmla="*/ 162 h 797" name="T11"/>
                <a:gd fmla="*/ 76 w 896" name="T12"/>
                <a:gd fmla="*/ 171 h 797" name="T13"/>
                <a:gd fmla="*/ 104 w 896" name="T14"/>
                <a:gd fmla="*/ 166 h 797" name="T15"/>
                <a:gd fmla="*/ 116 w 896" name="T16"/>
                <a:gd fmla="*/ 171 h 797" name="T17"/>
                <a:gd fmla="*/ 133 w 896" name="T18"/>
                <a:gd fmla="*/ 164 h 797" name="T19"/>
                <a:gd fmla="*/ 134 w 896" name="T20"/>
                <a:gd fmla="*/ 180 h 797" name="T21"/>
                <a:gd fmla="*/ 143 w 896" name="T22"/>
                <a:gd fmla="*/ 191 h 797" name="T23"/>
                <a:gd fmla="*/ 156 w 896" name="T24"/>
                <a:gd fmla="*/ 187 h 797" name="T25"/>
                <a:gd fmla="*/ 173 w 896" name="T26"/>
                <a:gd fmla="*/ 199 h 797" name="T27"/>
                <a:gd fmla="*/ 188 w 896" name="T28"/>
                <a:gd fmla="*/ 194 h 797" name="T29"/>
                <a:gd fmla="*/ 193 w 896" name="T30"/>
                <a:gd fmla="*/ 189 h 797" name="T31"/>
                <a:gd fmla="*/ 212 w 896" name="T32"/>
                <a:gd fmla="*/ 179 h 797" name="T33"/>
                <a:gd fmla="*/ 213 w 896" name="T34"/>
                <a:gd fmla="*/ 163 h 797" name="T35"/>
                <a:gd fmla="*/ 208 w 896" name="T36"/>
                <a:gd fmla="*/ 148 h 797" name="T37"/>
                <a:gd fmla="*/ 194 w 896" name="T38"/>
                <a:gd fmla="*/ 157 h 797" name="T39"/>
                <a:gd fmla="*/ 180 w 896" name="T40"/>
                <a:gd fmla="*/ 141 h 797" name="T41"/>
                <a:gd fmla="*/ 170 w 896" name="T42"/>
                <a:gd fmla="*/ 133 h 797" name="T43"/>
                <a:gd fmla="*/ 182 w 896" name="T44"/>
                <a:gd fmla="*/ 129 h 797" name="T45"/>
                <a:gd fmla="*/ 181 w 896" name="T46"/>
                <a:gd fmla="*/ 116 h 797" name="T47"/>
                <a:gd fmla="*/ 190 w 896" name="T48"/>
                <a:gd fmla="*/ 108 h 797" name="T49"/>
                <a:gd fmla="*/ 186 w 896" name="T50"/>
                <a:gd fmla="*/ 94 h 797" name="T51"/>
                <a:gd fmla="*/ 197 w 896" name="T52"/>
                <a:gd fmla="*/ 87 h 797" name="T53"/>
                <a:gd fmla="*/ 211 w 896" name="T54"/>
                <a:gd fmla="*/ 99 h 797" name="T55"/>
                <a:gd fmla="*/ 224 w 896" name="T56"/>
                <a:gd fmla="*/ 91 h 797" name="T57"/>
                <a:gd fmla="*/ 219 w 896" name="T58"/>
                <a:gd fmla="*/ 75 h 797" name="T59"/>
                <a:gd fmla="*/ 206 w 896" name="T60"/>
                <a:gd fmla="*/ 71 h 797" name="T61"/>
                <a:gd fmla="*/ 203 w 896" name="T62"/>
                <a:gd fmla="*/ 62 h 797" name="T63"/>
                <a:gd fmla="*/ 182 w 896" name="T64"/>
                <a:gd fmla="*/ 66 h 797" name="T65"/>
                <a:gd fmla="*/ 169 w 896" name="T66"/>
                <a:gd fmla="*/ 53 h 797" name="T67"/>
                <a:gd fmla="*/ 157 w 896" name="T68"/>
                <a:gd fmla="*/ 53 h 797" name="T69"/>
                <a:gd fmla="*/ 156 w 896" name="T70"/>
                <a:gd fmla="*/ 41 h 797" name="T71"/>
                <a:gd fmla="*/ 173 w 896" name="T72"/>
                <a:gd fmla="*/ 20 h 797" name="T73"/>
                <a:gd fmla="*/ 171 w 896" name="T74"/>
                <a:gd fmla="*/ 3 h 797" name="T75"/>
                <a:gd fmla="*/ 153 w 896" name="T76"/>
                <a:gd fmla="*/ 6 h 797" name="T77"/>
                <a:gd fmla="*/ 112 w 896" name="T78"/>
                <a:gd fmla="*/ 0 h 797" name="T79"/>
                <a:gd fmla="*/ 110 w 896" name="T80"/>
                <a:gd fmla="*/ 32 h 797" name="T81"/>
                <a:gd fmla="*/ 89 w 896" name="T82"/>
                <a:gd fmla="*/ 49 h 797" name="T83"/>
                <a:gd fmla="*/ 72 w 896" name="T84"/>
                <a:gd fmla="*/ 52 h 797" name="T85"/>
                <a:gd fmla="*/ 42 w 896" name="T86"/>
                <a:gd fmla="*/ 71 h 797" name="T87"/>
                <a:gd fmla="*/ 25 w 896" name="T88"/>
                <a:gd fmla="*/ 79 h 797" name="T89"/>
                <a:gd fmla="*/ 0 w 896" name="T90"/>
                <a:gd fmla="*/ 84 h 797"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w 896" name="T138"/>
                <a:gd fmla="*/ 0 h 797" name="T139"/>
                <a:gd fmla="*/ 896 w 896" name="T140"/>
                <a:gd fmla="*/ 797 h 797" name="T141"/>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b="T141" l="T138" r="T140" t="T139"/>
              <a:pathLst>
                <a:path h="797" w="896">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80" name="Freeform 124"/>
            <p:cNvSpPr/>
            <p:nvPr/>
          </p:nvSpPr>
          <p:spPr bwMode="gray">
            <a:xfrm>
              <a:off x="3140" y="2406"/>
              <a:ext cx="448" cy="398"/>
            </a:xfrm>
            <a:custGeom>
              <a:gdLst>
                <a:gd fmla="*/ 0 w 896" name="T0"/>
                <a:gd fmla="*/ 84 h 797" name="T1"/>
                <a:gd fmla="*/ 7 w 896" name="T2"/>
                <a:gd fmla="*/ 100 h 797" name="T3"/>
                <a:gd fmla="*/ 17 w 896" name="T4"/>
                <a:gd fmla="*/ 115 h 797" name="T5"/>
                <a:gd fmla="*/ 30 w 896" name="T6"/>
                <a:gd fmla="*/ 127 h 797" name="T7"/>
                <a:gd fmla="*/ 29 w 896" name="T8"/>
                <a:gd fmla="*/ 140 h 797" name="T9"/>
                <a:gd fmla="*/ 53 w 896" name="T10"/>
                <a:gd fmla="*/ 162 h 797" name="T11"/>
                <a:gd fmla="*/ 76 w 896" name="T12"/>
                <a:gd fmla="*/ 171 h 797" name="T13"/>
                <a:gd fmla="*/ 104 w 896" name="T14"/>
                <a:gd fmla="*/ 166 h 797" name="T15"/>
                <a:gd fmla="*/ 116 w 896" name="T16"/>
                <a:gd fmla="*/ 171 h 797" name="T17"/>
                <a:gd fmla="*/ 133 w 896" name="T18"/>
                <a:gd fmla="*/ 164 h 797" name="T19"/>
                <a:gd fmla="*/ 134 w 896" name="T20"/>
                <a:gd fmla="*/ 180 h 797" name="T21"/>
                <a:gd fmla="*/ 143 w 896" name="T22"/>
                <a:gd fmla="*/ 191 h 797" name="T23"/>
                <a:gd fmla="*/ 156 w 896" name="T24"/>
                <a:gd fmla="*/ 187 h 797" name="T25"/>
                <a:gd fmla="*/ 173 w 896" name="T26"/>
                <a:gd fmla="*/ 199 h 797" name="T27"/>
                <a:gd fmla="*/ 188 w 896" name="T28"/>
                <a:gd fmla="*/ 194 h 797" name="T29"/>
                <a:gd fmla="*/ 193 w 896" name="T30"/>
                <a:gd fmla="*/ 189 h 797" name="T31"/>
                <a:gd fmla="*/ 212 w 896" name="T32"/>
                <a:gd fmla="*/ 179 h 797" name="T33"/>
                <a:gd fmla="*/ 213 w 896" name="T34"/>
                <a:gd fmla="*/ 163 h 797" name="T35"/>
                <a:gd fmla="*/ 208 w 896" name="T36"/>
                <a:gd fmla="*/ 148 h 797" name="T37"/>
                <a:gd fmla="*/ 194 w 896" name="T38"/>
                <a:gd fmla="*/ 157 h 797" name="T39"/>
                <a:gd fmla="*/ 180 w 896" name="T40"/>
                <a:gd fmla="*/ 141 h 797" name="T41"/>
                <a:gd fmla="*/ 170 w 896" name="T42"/>
                <a:gd fmla="*/ 133 h 797" name="T43"/>
                <a:gd fmla="*/ 182 w 896" name="T44"/>
                <a:gd fmla="*/ 129 h 797" name="T45"/>
                <a:gd fmla="*/ 181 w 896" name="T46"/>
                <a:gd fmla="*/ 116 h 797" name="T47"/>
                <a:gd fmla="*/ 190 w 896" name="T48"/>
                <a:gd fmla="*/ 108 h 797" name="T49"/>
                <a:gd fmla="*/ 186 w 896" name="T50"/>
                <a:gd fmla="*/ 94 h 797" name="T51"/>
                <a:gd fmla="*/ 197 w 896" name="T52"/>
                <a:gd fmla="*/ 87 h 797" name="T53"/>
                <a:gd fmla="*/ 211 w 896" name="T54"/>
                <a:gd fmla="*/ 99 h 797" name="T55"/>
                <a:gd fmla="*/ 224 w 896" name="T56"/>
                <a:gd fmla="*/ 91 h 797" name="T57"/>
                <a:gd fmla="*/ 219 w 896" name="T58"/>
                <a:gd fmla="*/ 75 h 797" name="T59"/>
                <a:gd fmla="*/ 206 w 896" name="T60"/>
                <a:gd fmla="*/ 71 h 797" name="T61"/>
                <a:gd fmla="*/ 203 w 896" name="T62"/>
                <a:gd fmla="*/ 62 h 797" name="T63"/>
                <a:gd fmla="*/ 182 w 896" name="T64"/>
                <a:gd fmla="*/ 66 h 797" name="T65"/>
                <a:gd fmla="*/ 169 w 896" name="T66"/>
                <a:gd fmla="*/ 53 h 797" name="T67"/>
                <a:gd fmla="*/ 157 w 896" name="T68"/>
                <a:gd fmla="*/ 53 h 797" name="T69"/>
                <a:gd fmla="*/ 156 w 896" name="T70"/>
                <a:gd fmla="*/ 41 h 797" name="T71"/>
                <a:gd fmla="*/ 173 w 896" name="T72"/>
                <a:gd fmla="*/ 20 h 797" name="T73"/>
                <a:gd fmla="*/ 171 w 896" name="T74"/>
                <a:gd fmla="*/ 3 h 797" name="T75"/>
                <a:gd fmla="*/ 153 w 896" name="T76"/>
                <a:gd fmla="*/ 6 h 797" name="T77"/>
                <a:gd fmla="*/ 112 w 896" name="T78"/>
                <a:gd fmla="*/ 0 h 797" name="T79"/>
                <a:gd fmla="*/ 110 w 896" name="T80"/>
                <a:gd fmla="*/ 32 h 797" name="T81"/>
                <a:gd fmla="*/ 89 w 896" name="T82"/>
                <a:gd fmla="*/ 49 h 797" name="T83"/>
                <a:gd fmla="*/ 72 w 896" name="T84"/>
                <a:gd fmla="*/ 52 h 797" name="T85"/>
                <a:gd fmla="*/ 42 w 896" name="T86"/>
                <a:gd fmla="*/ 71 h 797" name="T87"/>
                <a:gd fmla="*/ 25 w 896" name="T88"/>
                <a:gd fmla="*/ 79 h 797" name="T89"/>
                <a:gd fmla="*/ 0 w 896" name="T90"/>
                <a:gd fmla="*/ 84 h 797"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w 896" name="T138"/>
                <a:gd fmla="*/ 0 h 797" name="T139"/>
                <a:gd fmla="*/ 896 w 896" name="T140"/>
                <a:gd fmla="*/ 797 h 797" name="T141"/>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b="T141" l="T138" r="T140" t="T139"/>
              <a:pathLst>
                <a:path h="797" w="896">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altLang="en-US" lang="zh-CN" sz="2400"/>
            </a:p>
          </p:txBody>
        </p:sp>
        <p:sp>
          <p:nvSpPr>
            <p:cNvPr id="81" name="Freeform 125"/>
            <p:cNvSpPr/>
            <p:nvPr/>
          </p:nvSpPr>
          <p:spPr bwMode="gray">
            <a:xfrm>
              <a:off x="3128" y="2050"/>
              <a:ext cx="251" cy="526"/>
            </a:xfrm>
            <a:custGeom>
              <a:gdLst>
                <a:gd fmla="*/ 7 w 502" name="T0"/>
                <a:gd fmla="*/ 236 h 1051" name="T1"/>
                <a:gd fmla="*/ 6 w 502" name="T2"/>
                <a:gd fmla="*/ 263 h 1051" name="T3"/>
                <a:gd fmla="*/ 30 w 502" name="T4"/>
                <a:gd fmla="*/ 257 h 1051" name="T5"/>
                <a:gd fmla="*/ 48 w 502" name="T6"/>
                <a:gd fmla="*/ 250 h 1051" name="T7"/>
                <a:gd fmla="*/ 78 w 502" name="T8"/>
                <a:gd fmla="*/ 230 h 1051" name="T9"/>
                <a:gd fmla="*/ 94 w 502" name="T10"/>
                <a:gd fmla="*/ 228 h 1051" name="T11"/>
                <a:gd fmla="*/ 115 w 502" name="T12"/>
                <a:gd fmla="*/ 210 h 1051" name="T13"/>
                <a:gd fmla="*/ 117 w 502" name="T14"/>
                <a:gd fmla="*/ 178 h 1051" name="T15"/>
                <a:gd fmla="*/ 108 w 502" name="T16"/>
                <a:gd fmla="*/ 169 h 1051" name="T17"/>
                <a:gd fmla="*/ 109 w 502" name="T18"/>
                <a:gd fmla="*/ 159 h 1051" name="T19"/>
                <a:gd fmla="*/ 115 w 502" name="T20"/>
                <a:gd fmla="*/ 150 h 1051" name="T21"/>
                <a:gd fmla="*/ 114 w 502" name="T22"/>
                <a:gd fmla="*/ 142 h 1051" name="T23"/>
                <a:gd fmla="*/ 121 w 502" name="T24"/>
                <a:gd fmla="*/ 126 h 1051" name="T25"/>
                <a:gd fmla="*/ 118 w 502" name="T26"/>
                <a:gd fmla="*/ 109 h 1051" name="T27"/>
                <a:gd fmla="*/ 99 w 502" name="T28"/>
                <a:gd fmla="*/ 99 h 1051" name="T29"/>
                <a:gd fmla="*/ 100 w 502" name="T30"/>
                <a:gd fmla="*/ 81 h 1051" name="T31"/>
                <a:gd fmla="*/ 108 w 502" name="T32"/>
                <a:gd fmla="*/ 74 h 1051" name="T33"/>
                <a:gd fmla="*/ 109 w 502" name="T34"/>
                <a:gd fmla="*/ 64 h 1051" name="T35"/>
                <a:gd fmla="*/ 119 w 502" name="T36"/>
                <a:gd fmla="*/ 60 h 1051" name="T37"/>
                <a:gd fmla="*/ 126 w 502" name="T38"/>
                <a:gd fmla="*/ 43 h 1051" name="T39"/>
                <a:gd fmla="*/ 119 w 502" name="T40"/>
                <a:gd fmla="*/ 31 h 1051" name="T41"/>
                <a:gd fmla="*/ 110 w 502" name="T42"/>
                <a:gd fmla="*/ 26 h 1051" name="T43"/>
                <a:gd fmla="*/ 111 w 502" name="T44"/>
                <a:gd fmla="*/ 16 h 1051" name="T45"/>
                <a:gd fmla="*/ 121 w 502" name="T46"/>
                <a:gd fmla="*/ 11 h 1051" name="T47"/>
                <a:gd fmla="*/ 114 w 502" name="T48"/>
                <a:gd fmla="*/ 0 h 1051" name="T49"/>
                <a:gd fmla="*/ 87 w 502" name="T50"/>
                <a:gd fmla="*/ 11 h 1051" name="T51"/>
                <a:gd fmla="*/ 72 w 502" name="T52"/>
                <a:gd fmla="*/ 11 h 1051" name="T53"/>
                <a:gd fmla="*/ 50 w 502" name="T54"/>
                <a:gd fmla="*/ 19 h 1051" name="T55"/>
                <a:gd fmla="*/ 38 w 502" name="T56"/>
                <a:gd fmla="*/ 49 h 1051" name="T57"/>
                <a:gd fmla="*/ 19 w 502" name="T58"/>
                <a:gd fmla="*/ 56 h 1051" name="T59"/>
                <a:gd fmla="*/ 19 w 502" name="T60"/>
                <a:gd fmla="*/ 73 h 1051" name="T61"/>
                <a:gd fmla="*/ 12 w 502" name="T62"/>
                <a:gd fmla="*/ 104 h 1051" name="T63"/>
                <a:gd fmla="*/ 0 w 502" name="T64"/>
                <a:gd fmla="*/ 117 h 1051" name="T65"/>
                <a:gd fmla="*/ 13 w 502" name="T66"/>
                <a:gd fmla="*/ 139 h 1051" name="T67"/>
                <a:gd fmla="*/ 4 w 502" name="T68"/>
                <a:gd fmla="*/ 164 h 1051" name="T69"/>
                <a:gd fmla="*/ 9 w 502" name="T70"/>
                <a:gd fmla="*/ 198 h 1051" name="T71"/>
                <a:gd fmla="*/ 15 w 502" name="T72"/>
                <a:gd fmla="*/ 220 h 1051" name="T73"/>
                <a:gd fmla="*/ 7 w 502" name="T74"/>
                <a:gd fmla="*/ 236 h 1051"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w 502" name="T114"/>
                <a:gd fmla="*/ 0 h 1051" name="T115"/>
                <a:gd fmla="*/ 502 w 502" name="T116"/>
                <a:gd fmla="*/ 1051 h 1051" name="T117"/>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T117" l="T114" r="T116" t="T115"/>
              <a:pathLst>
                <a:path h="1051" w="502">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altLang="en-US" lang="zh-CN" sz="2400"/>
            </a:p>
          </p:txBody>
        </p:sp>
        <p:sp>
          <p:nvSpPr>
            <p:cNvPr id="82" name="Freeform 126"/>
            <p:cNvSpPr/>
            <p:nvPr/>
          </p:nvSpPr>
          <p:spPr bwMode="gray">
            <a:xfrm>
              <a:off x="3128" y="2050"/>
              <a:ext cx="251" cy="526"/>
            </a:xfrm>
            <a:custGeom>
              <a:gdLst>
                <a:gd fmla="*/ 7 w 502" name="T0"/>
                <a:gd fmla="*/ 236 h 1051" name="T1"/>
                <a:gd fmla="*/ 6 w 502" name="T2"/>
                <a:gd fmla="*/ 263 h 1051" name="T3"/>
                <a:gd fmla="*/ 30 w 502" name="T4"/>
                <a:gd fmla="*/ 257 h 1051" name="T5"/>
                <a:gd fmla="*/ 48 w 502" name="T6"/>
                <a:gd fmla="*/ 250 h 1051" name="T7"/>
                <a:gd fmla="*/ 78 w 502" name="T8"/>
                <a:gd fmla="*/ 230 h 1051" name="T9"/>
                <a:gd fmla="*/ 94 w 502" name="T10"/>
                <a:gd fmla="*/ 228 h 1051" name="T11"/>
                <a:gd fmla="*/ 115 w 502" name="T12"/>
                <a:gd fmla="*/ 210 h 1051" name="T13"/>
                <a:gd fmla="*/ 117 w 502" name="T14"/>
                <a:gd fmla="*/ 178 h 1051" name="T15"/>
                <a:gd fmla="*/ 108 w 502" name="T16"/>
                <a:gd fmla="*/ 169 h 1051" name="T17"/>
                <a:gd fmla="*/ 109 w 502" name="T18"/>
                <a:gd fmla="*/ 159 h 1051" name="T19"/>
                <a:gd fmla="*/ 115 w 502" name="T20"/>
                <a:gd fmla="*/ 150 h 1051" name="T21"/>
                <a:gd fmla="*/ 114 w 502" name="T22"/>
                <a:gd fmla="*/ 142 h 1051" name="T23"/>
                <a:gd fmla="*/ 121 w 502" name="T24"/>
                <a:gd fmla="*/ 126 h 1051" name="T25"/>
                <a:gd fmla="*/ 118 w 502" name="T26"/>
                <a:gd fmla="*/ 109 h 1051" name="T27"/>
                <a:gd fmla="*/ 99 w 502" name="T28"/>
                <a:gd fmla="*/ 99 h 1051" name="T29"/>
                <a:gd fmla="*/ 100 w 502" name="T30"/>
                <a:gd fmla="*/ 81 h 1051" name="T31"/>
                <a:gd fmla="*/ 108 w 502" name="T32"/>
                <a:gd fmla="*/ 74 h 1051" name="T33"/>
                <a:gd fmla="*/ 109 w 502" name="T34"/>
                <a:gd fmla="*/ 64 h 1051" name="T35"/>
                <a:gd fmla="*/ 119 w 502" name="T36"/>
                <a:gd fmla="*/ 60 h 1051" name="T37"/>
                <a:gd fmla="*/ 126 w 502" name="T38"/>
                <a:gd fmla="*/ 43 h 1051" name="T39"/>
                <a:gd fmla="*/ 119 w 502" name="T40"/>
                <a:gd fmla="*/ 31 h 1051" name="T41"/>
                <a:gd fmla="*/ 110 w 502" name="T42"/>
                <a:gd fmla="*/ 26 h 1051" name="T43"/>
                <a:gd fmla="*/ 111 w 502" name="T44"/>
                <a:gd fmla="*/ 16 h 1051" name="T45"/>
                <a:gd fmla="*/ 121 w 502" name="T46"/>
                <a:gd fmla="*/ 11 h 1051" name="T47"/>
                <a:gd fmla="*/ 114 w 502" name="T48"/>
                <a:gd fmla="*/ 0 h 1051" name="T49"/>
                <a:gd fmla="*/ 87 w 502" name="T50"/>
                <a:gd fmla="*/ 11 h 1051" name="T51"/>
                <a:gd fmla="*/ 72 w 502" name="T52"/>
                <a:gd fmla="*/ 11 h 1051" name="T53"/>
                <a:gd fmla="*/ 50 w 502" name="T54"/>
                <a:gd fmla="*/ 19 h 1051" name="T55"/>
                <a:gd fmla="*/ 38 w 502" name="T56"/>
                <a:gd fmla="*/ 49 h 1051" name="T57"/>
                <a:gd fmla="*/ 19 w 502" name="T58"/>
                <a:gd fmla="*/ 56 h 1051" name="T59"/>
                <a:gd fmla="*/ 19 w 502" name="T60"/>
                <a:gd fmla="*/ 73 h 1051" name="T61"/>
                <a:gd fmla="*/ 12 w 502" name="T62"/>
                <a:gd fmla="*/ 104 h 1051" name="T63"/>
                <a:gd fmla="*/ 0 w 502" name="T64"/>
                <a:gd fmla="*/ 117 h 1051" name="T65"/>
                <a:gd fmla="*/ 13 w 502" name="T66"/>
                <a:gd fmla="*/ 139 h 1051" name="T67"/>
                <a:gd fmla="*/ 4 w 502" name="T68"/>
                <a:gd fmla="*/ 164 h 1051" name="T69"/>
                <a:gd fmla="*/ 9 w 502" name="T70"/>
                <a:gd fmla="*/ 198 h 1051" name="T71"/>
                <a:gd fmla="*/ 15 w 502" name="T72"/>
                <a:gd fmla="*/ 220 h 1051" name="T73"/>
                <a:gd fmla="*/ 7 w 502" name="T74"/>
                <a:gd fmla="*/ 236 h 1051"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w 502" name="T114"/>
                <a:gd fmla="*/ 0 h 1051" name="T115"/>
                <a:gd fmla="*/ 502 w 502" name="T116"/>
                <a:gd fmla="*/ 1051 h 1051" name="T117"/>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T117" l="T114" r="T116" t="T115"/>
              <a:pathLst>
                <a:path h="1051" w="502">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altLang="en-US" lang="zh-CN" sz="2400"/>
            </a:p>
          </p:txBody>
        </p:sp>
        <p:sp>
          <p:nvSpPr>
            <p:cNvPr id="83" name="Freeform 127"/>
            <p:cNvSpPr/>
            <p:nvPr/>
          </p:nvSpPr>
          <p:spPr bwMode="gray">
            <a:xfrm>
              <a:off x="2736" y="2154"/>
              <a:ext cx="464" cy="664"/>
            </a:xfrm>
            <a:custGeom>
              <a:gdLst>
                <a:gd fmla="*/ 2 w 929" name="T0"/>
                <a:gd fmla="*/ 106 h 1329" name="T1"/>
                <a:gd fmla="*/ 21 w 929" name="T2"/>
                <a:gd fmla="*/ 126 h 1329" name="T3"/>
                <a:gd fmla="*/ 31 w 929" name="T4"/>
                <a:gd fmla="*/ 148 h 1329" name="T5"/>
                <a:gd fmla="*/ 26 w 929" name="T6"/>
                <a:gd fmla="*/ 170 h 1329" name="T7"/>
                <a:gd fmla="*/ 43 w 929" name="T8"/>
                <a:gd fmla="*/ 183 h 1329" name="T9"/>
                <a:gd fmla="*/ 68 w 929" name="T10"/>
                <a:gd fmla="*/ 187 h 1329" name="T11"/>
                <a:gd fmla="*/ 79 w 929" name="T12"/>
                <a:gd fmla="*/ 172 h 1329" name="T13"/>
                <a:gd fmla="*/ 78 w 929" name="T14"/>
                <a:gd fmla="*/ 153 h 1329" name="T15"/>
                <a:gd fmla="*/ 72 w 929" name="T16"/>
                <a:gd fmla="*/ 108 h 1329" name="T17"/>
                <a:gd fmla="*/ 92 w 929" name="T18"/>
                <a:gd fmla="*/ 113 h 1329" name="T19"/>
                <a:gd fmla="*/ 109 w 929" name="T20"/>
                <a:gd fmla="*/ 126 h 1329" name="T21"/>
                <a:gd fmla="*/ 143 w 929" name="T22"/>
                <a:gd fmla="*/ 150 h 1329" name="T23"/>
                <a:gd fmla="*/ 140 w 929" name="T24"/>
                <a:gd fmla="*/ 174 h 1329" name="T25"/>
                <a:gd fmla="*/ 112 w 929" name="T26"/>
                <a:gd fmla="*/ 189 h 1329" name="T27"/>
                <a:gd fmla="*/ 99 w 929" name="T28"/>
                <a:gd fmla="*/ 204 h 1329" name="T29"/>
                <a:gd fmla="*/ 71 w 929" name="T30"/>
                <a:gd fmla="*/ 199 h 1329" name="T31"/>
                <a:gd fmla="*/ 65 w 929" name="T32"/>
                <a:gd fmla="*/ 222 h 1329" name="T33"/>
                <a:gd fmla="*/ 70 w 929" name="T34"/>
                <a:gd fmla="*/ 249 h 1329" name="T35"/>
                <a:gd fmla="*/ 48 w 929" name="T36"/>
                <a:gd fmla="*/ 267 h 1329" name="T37"/>
                <a:gd fmla="*/ 53 w 929" name="T38"/>
                <a:gd fmla="*/ 285 h 1329" name="T39"/>
                <a:gd fmla="*/ 63 w 929" name="T40"/>
                <a:gd fmla="*/ 304 h 1329" name="T41"/>
                <a:gd fmla="*/ 110 w 929" name="T42"/>
                <a:gd fmla="*/ 308 h 1329" name="T43"/>
                <a:gd fmla="*/ 142 w 929" name="T44"/>
                <a:gd fmla="*/ 313 h 1329" name="T45"/>
                <a:gd fmla="*/ 172 w 929" name="T46"/>
                <a:gd fmla="*/ 324 h 1329" name="T47"/>
                <a:gd fmla="*/ 188 w 929" name="T48"/>
                <a:gd fmla="*/ 330 h 1329" name="T49"/>
                <a:gd fmla="*/ 181 w 929" name="T50"/>
                <a:gd fmla="*/ 308 h 1329" name="T51"/>
                <a:gd fmla="*/ 202 w 929" name="T52"/>
                <a:gd fmla="*/ 290 h 1329" name="T53"/>
                <a:gd fmla="*/ 178 w 929" name="T54"/>
                <a:gd fmla="*/ 276 h 1329" name="T55"/>
                <a:gd fmla="*/ 200 w 929" name="T56"/>
                <a:gd fmla="*/ 270 h 1329" name="T57"/>
                <a:gd fmla="*/ 231 w 929" name="T58"/>
                <a:gd fmla="*/ 266 h 1329" name="T59"/>
                <a:gd fmla="*/ 218 w 929" name="T60"/>
                <a:gd fmla="*/ 241 h 1329" name="T61"/>
                <a:gd fmla="*/ 202 w 929" name="T62"/>
                <a:gd fmla="*/ 211 h 1329" name="T63"/>
                <a:gd fmla="*/ 210 w 929" name="T64"/>
                <a:gd fmla="*/ 167 h 1329" name="T65"/>
                <a:gd fmla="*/ 200 w 929" name="T66"/>
                <a:gd fmla="*/ 112 h 1329" name="T67"/>
                <a:gd fmla="*/ 196 w 929" name="T68"/>
                <a:gd fmla="*/ 65 h 1329" name="T69"/>
                <a:gd fmla="*/ 214 w 929" name="T70"/>
                <a:gd fmla="*/ 21 h 1329" name="T71"/>
                <a:gd fmla="*/ 206 w 929" name="T72"/>
                <a:gd fmla="*/ 0 h 1329" name="T73"/>
                <a:gd fmla="*/ 182 w 929" name="T74"/>
                <a:gd fmla="*/ 10 h 1329" name="T75"/>
                <a:gd fmla="*/ 164 w 929" name="T76"/>
                <a:gd fmla="*/ 44 h 1329" name="T77"/>
                <a:gd fmla="*/ 129 w 929" name="T78"/>
                <a:gd fmla="*/ 87 h 1329" name="T79"/>
                <a:gd fmla="*/ 99 w 929" name="T80"/>
                <a:gd fmla="*/ 84 h 1329" name="T81"/>
                <a:gd fmla="*/ 74 w 929" name="T82"/>
                <a:gd fmla="*/ 70 h 1329" name="T83"/>
                <a:gd fmla="*/ 72 w 929" name="T84"/>
                <a:gd fmla="*/ 42 h 1329" name="T85"/>
                <a:gd fmla="*/ 68 w 929" name="T86"/>
                <a:gd fmla="*/ 18 h 1329" name="T87"/>
                <a:gd fmla="*/ 43 w 929" name="T88"/>
                <a:gd fmla="*/ 42 h 1329" name="T89"/>
                <a:gd fmla="*/ 26 w 929" name="T90"/>
                <a:gd fmla="*/ 90 h 1329"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w 929" name="T138"/>
                <a:gd fmla="*/ 0 h 1329" name="T139"/>
                <a:gd fmla="*/ 929 w 929" name="T140"/>
                <a:gd fmla="*/ 1329 h 1329" name="T141"/>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b="T141" l="T138" r="T140" t="T139"/>
              <a:pathLst>
                <a:path h="1329" w="9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altLang="en-US" lang="zh-CN" sz="2400"/>
            </a:p>
          </p:txBody>
        </p:sp>
        <p:sp>
          <p:nvSpPr>
            <p:cNvPr id="84" name="Freeform 128"/>
            <p:cNvSpPr/>
            <p:nvPr/>
          </p:nvSpPr>
          <p:spPr bwMode="gray">
            <a:xfrm>
              <a:off x="3987" y="3238"/>
              <a:ext cx="121" cy="305"/>
            </a:xfrm>
            <a:custGeom>
              <a:gdLst>
                <a:gd fmla="*/ 43 w 242" name="T0"/>
                <a:gd fmla="*/ 1 h 610" name="T1"/>
                <a:gd fmla="*/ 39 w 242" name="T2"/>
                <a:gd fmla="*/ 6 h 610" name="T3"/>
                <a:gd fmla="*/ 33 w 242" name="T4"/>
                <a:gd fmla="*/ 11 h 610" name="T5"/>
                <a:gd fmla="*/ 28 w 242" name="T6"/>
                <a:gd fmla="*/ 16 h 610" name="T7"/>
                <a:gd fmla="*/ 22 w 242" name="T8"/>
                <a:gd fmla="*/ 24 h 610" name="T9"/>
                <a:gd fmla="*/ 19 w 242" name="T10"/>
                <a:gd fmla="*/ 30 h 610" name="T11"/>
                <a:gd fmla="*/ 16 w 242" name="T12"/>
                <a:gd fmla="*/ 37 h 610" name="T13"/>
                <a:gd fmla="*/ 11 w 242" name="T14"/>
                <a:gd fmla="*/ 47 h 610" name="T15"/>
                <a:gd fmla="*/ 5 w 242" name="T16"/>
                <a:gd fmla="*/ 58 h 610" name="T17"/>
                <a:gd fmla="*/ 1 w 242" name="T18"/>
                <a:gd fmla="*/ 67 h 610" name="T19"/>
                <a:gd fmla="*/ 1 w 242" name="T20"/>
                <a:gd fmla="*/ 77 h 610" name="T21"/>
                <a:gd fmla="*/ 4 w 242" name="T22"/>
                <a:gd fmla="*/ 88 h 610" name="T23"/>
                <a:gd fmla="*/ 5 w 242" name="T24"/>
                <a:gd fmla="*/ 99 h 610" name="T25"/>
                <a:gd fmla="*/ 3 w 242" name="T26"/>
                <a:gd fmla="*/ 108 h 610" name="T27"/>
                <a:gd fmla="*/ 6 w 242" name="T28"/>
                <a:gd fmla="*/ 114 h 610" name="T29"/>
                <a:gd fmla="*/ 15 w 242" name="T30"/>
                <a:gd fmla="*/ 119 h 610" name="T31"/>
                <a:gd fmla="*/ 22 w 242" name="T32"/>
                <a:gd fmla="*/ 129 h 610" name="T33"/>
                <a:gd fmla="*/ 28 w 242" name="T34"/>
                <a:gd fmla="*/ 135 h 610" name="T35"/>
                <a:gd fmla="*/ 33 w 242" name="T36"/>
                <a:gd fmla="*/ 139 h 610" name="T37"/>
                <a:gd fmla="*/ 35 w 242" name="T38"/>
                <a:gd fmla="*/ 146 h 610" name="T39"/>
                <a:gd fmla="*/ 37 w 242" name="T40"/>
                <a:gd fmla="*/ 152 h 610" name="T41"/>
                <a:gd fmla="*/ 41 w 242" name="T42"/>
                <a:gd fmla="*/ 152 h 610" name="T43"/>
                <a:gd fmla="*/ 42 w 242" name="T44"/>
                <a:gd fmla="*/ 146 h 610" name="T45"/>
                <a:gd fmla="*/ 42 w 242" name="T46"/>
                <a:gd fmla="*/ 135 h 610" name="T47"/>
                <a:gd fmla="*/ 45 w 242" name="T48"/>
                <a:gd fmla="*/ 123 h 610" name="T49"/>
                <a:gd fmla="*/ 51 w 242" name="T50"/>
                <a:gd fmla="*/ 114 h 610" name="T51"/>
                <a:gd fmla="*/ 55 w 242" name="T52"/>
                <a:gd fmla="*/ 103 h 610" name="T53"/>
                <a:gd fmla="*/ 57 w 242" name="T54"/>
                <a:gd fmla="*/ 86 h 610" name="T55"/>
                <a:gd fmla="*/ 58 w 242" name="T56"/>
                <a:gd fmla="*/ 66 h 610" name="T57"/>
                <a:gd fmla="*/ 58 w 242" name="T58"/>
                <a:gd fmla="*/ 51 h 610" name="T59"/>
                <a:gd fmla="*/ 60 w 242" name="T60"/>
                <a:gd fmla="*/ 39 h 610" name="T61"/>
                <a:gd fmla="*/ 60 w 242" name="T62"/>
                <a:gd fmla="*/ 28 h 610" name="T63"/>
                <a:gd fmla="*/ 56 w 242" name="T64"/>
                <a:gd fmla="*/ 19 h 610" name="T65"/>
                <a:gd fmla="*/ 52 w 242" name="T66"/>
                <a:gd fmla="*/ 10 h 610" name="T67"/>
                <a:gd fmla="*/ 47 w 242" name="T68"/>
                <a:gd fmla="*/ 2 h 610" name="T69"/>
                <a:gd fmla="*/ 44 w 242" name="T70"/>
                <a:gd fmla="*/ 0 h 610"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w 242" name="T108"/>
                <a:gd fmla="*/ 0 h 610" name="T109"/>
                <a:gd fmla="*/ 242 w 242" name="T110"/>
                <a:gd fmla="*/ 610 h 610" name="T111"/>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b="T111" l="T108" r="T110" t="T109"/>
              <a:pathLst>
                <a:path h="610" w="241">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altLang="en-US" lang="zh-CN" sz="2400"/>
            </a:p>
          </p:txBody>
        </p:sp>
      </p:grpSp>
      <p:sp>
        <p:nvSpPr>
          <p:cNvPr id="85" name="Freeform 78"/>
          <p:cNvSpPr/>
          <p:nvPr/>
        </p:nvSpPr>
        <p:spPr bwMode="gray">
          <a:xfrm>
            <a:off x="3282703" y="3826020"/>
            <a:ext cx="660934" cy="559889"/>
          </a:xfrm>
          <a:custGeom>
            <a:gdLst>
              <a:gd fmla="*/ 279 w 1128" name="T0"/>
              <a:gd fmla="*/ 62 h 960" name="T1"/>
              <a:gd fmla="*/ 272 w 1128" name="T2"/>
              <a:gd fmla="*/ 67 h 960" name="T3"/>
              <a:gd fmla="*/ 266 w 1128" name="T4"/>
              <a:gd fmla="*/ 77 h 960" name="T5"/>
              <a:gd fmla="*/ 261 w 1128" name="T6"/>
              <a:gd fmla="*/ 87 h 960" name="T7"/>
              <a:gd fmla="*/ 254 w 1128" name="T8"/>
              <a:gd fmla="*/ 97 h 960" name="T9"/>
              <a:gd fmla="*/ 241 w 1128" name="T10"/>
              <a:gd fmla="*/ 103 h 960" name="T11"/>
              <a:gd fmla="*/ 230 w 1128" name="T12"/>
              <a:gd fmla="*/ 104 h 960" name="T13"/>
              <a:gd fmla="*/ 216 w 1128" name="T14"/>
              <a:gd fmla="*/ 103 h 960" name="T15"/>
              <a:gd fmla="*/ 203 w 1128" name="T16"/>
              <a:gd fmla="*/ 110 h 960" name="T17"/>
              <a:gd fmla="*/ 199 w 1128" name="T18"/>
              <a:gd fmla="*/ 115 h 960" name="T19"/>
              <a:gd fmla="*/ 198 w 1128" name="T20"/>
              <a:gd fmla="*/ 118 h 960" name="T21"/>
              <a:gd fmla="*/ 196 w 1128" name="T22"/>
              <a:gd fmla="*/ 119 h 960" name="T23"/>
              <a:gd fmla="*/ 190 w 1128" name="T24"/>
              <a:gd fmla="*/ 114 h 960" name="T25"/>
              <a:gd fmla="*/ 183 w 1128" name="T26"/>
              <a:gd fmla="*/ 118 h 960" name="T27"/>
              <a:gd fmla="*/ 177 w 1128" name="T28"/>
              <a:gd fmla="*/ 127 h 960" name="T29"/>
              <a:gd fmla="*/ 164 w 1128" name="T30"/>
              <a:gd fmla="*/ 127 h 960" name="T31"/>
              <a:gd fmla="*/ 155 w 1128" name="T32"/>
              <a:gd fmla="*/ 120 h 960" name="T33"/>
              <a:gd fmla="*/ 148 w 1128" name="T34"/>
              <a:gd fmla="*/ 111 h 960" name="T35"/>
              <a:gd fmla="*/ 143 w 1128" name="T36"/>
              <a:gd fmla="*/ 113 h 960" name="T37"/>
              <a:gd fmla="*/ 147 w 1128" name="T38"/>
              <a:gd fmla="*/ 122 h 960" name="T39"/>
              <a:gd fmla="*/ 154 w 1128" name="T40"/>
              <a:gd fmla="*/ 130 h 960" name="T41"/>
              <a:gd fmla="*/ 153 w 1128" name="T42"/>
              <a:gd fmla="*/ 140 h 960" name="T43"/>
              <a:gd fmla="*/ 140 w 1128" name="T44"/>
              <a:gd fmla="*/ 149 h 960" name="T45"/>
              <a:gd fmla="*/ 134 w 1128" name="T46"/>
              <a:gd fmla="*/ 149 h 960" name="T47"/>
              <a:gd fmla="*/ 132 w 1128" name="T48"/>
              <a:gd fmla="*/ 148 h 960" name="T49"/>
              <a:gd fmla="*/ 130 w 1128" name="T50"/>
              <a:gd fmla="*/ 148 h 960" name="T51"/>
              <a:gd fmla="*/ 126 w 1128" name="T52"/>
              <a:gd fmla="*/ 154 h 960" name="T53"/>
              <a:gd fmla="*/ 116 w 1128" name="T54"/>
              <a:gd fmla="*/ 163 h 960" name="T55"/>
              <a:gd fmla="*/ 110 w 1128" name="T56"/>
              <a:gd fmla="*/ 167 h 960" name="T57"/>
              <a:gd fmla="*/ 97 w 1128" name="T58"/>
              <a:gd fmla="*/ 168 h 960" name="T59"/>
              <a:gd fmla="*/ 87 w 1128" name="T60"/>
              <a:gd fmla="*/ 171 h 960" name="T61"/>
              <a:gd fmla="*/ 75 w 1128" name="T62"/>
              <a:gd fmla="*/ 179 h 960" name="T63"/>
              <a:gd fmla="*/ 56 w 1128" name="T64"/>
              <a:gd fmla="*/ 185 h 960" name="T65"/>
              <a:gd fmla="*/ 46 w 1128" name="T66"/>
              <a:gd fmla="*/ 186 h 960" name="T67"/>
              <a:gd fmla="*/ 38 w 1128" name="T68"/>
              <a:gd fmla="*/ 194 h 960" name="T69"/>
              <a:gd fmla="*/ 29 w 1128" name="T70"/>
              <a:gd fmla="*/ 199 h 960" name="T71"/>
              <a:gd fmla="*/ 23 w 1128" name="T72"/>
              <a:gd fmla="*/ 207 h 960" name="T73"/>
              <a:gd fmla="*/ 26 w 1128" name="T74"/>
              <a:gd fmla="*/ 214 h 960" name="T75"/>
              <a:gd fmla="*/ 35 w 1128" name="T76"/>
              <a:gd fmla="*/ 227 h 960" name="T77"/>
              <a:gd fmla="*/ 35 w 1128" name="T78"/>
              <a:gd fmla="*/ 235 h 960" name="T79"/>
              <a:gd fmla="*/ 24 w 1128" name="T80"/>
              <a:gd fmla="*/ 240 h 960" name="T81"/>
              <a:gd fmla="*/ 13 w 1128" name="T82"/>
              <a:gd fmla="*/ 235 h 960" name="T83"/>
              <a:gd fmla="*/ 4 w 1128" name="T84"/>
              <a:gd fmla="*/ 222 h 960" name="T85"/>
              <a:gd fmla="*/ 1 w 1128" name="T86"/>
              <a:gd fmla="*/ 210 h 960" name="T87"/>
              <a:gd fmla="*/ 1 w 1128" name="T88"/>
              <a:gd fmla="*/ 200 h 960" name="T89"/>
              <a:gd fmla="*/ 8 w 1128" name="T90"/>
              <a:gd fmla="*/ 189 h 960" name="T91"/>
              <a:gd fmla="*/ 0 w 1128" name="T92"/>
              <a:gd fmla="*/ 184 h 960" name="T93"/>
              <a:gd fmla="*/ 19 w 1128" name="T94"/>
              <a:gd fmla="*/ 160 h 960" name="T95"/>
              <a:gd fmla="*/ 37 w 1128" name="T96"/>
              <a:gd fmla="*/ 139 h 960" name="T97"/>
              <a:gd fmla="*/ 59 w 1128" name="T98"/>
              <a:gd fmla="*/ 101 h 960" name="T99"/>
              <a:gd fmla="*/ 74 w 1128" name="T100"/>
              <a:gd fmla="*/ 62 h 960" name="T101"/>
              <a:gd fmla="*/ 82 w 1128" name="T102"/>
              <a:gd fmla="*/ 36 h 960" name="T103"/>
              <a:gd fmla="*/ 121 w 1128" name="T104"/>
              <a:gd fmla="*/ 3 h 960" name="T105"/>
              <a:gd fmla="*/ 156 w 1128" name="T106"/>
              <a:gd fmla="*/ 8 h 960" name="T107"/>
              <a:gd fmla="*/ 170 w 1128" name="T108"/>
              <a:gd fmla="*/ 24 h 960" name="T109"/>
              <a:gd fmla="*/ 185 w 1128" name="T110"/>
              <a:gd fmla="*/ 32 h 960" name="T111"/>
              <a:gd fmla="*/ 224 w 1128" name="T112"/>
              <a:gd fmla="*/ 15 h 960" name="T113"/>
              <a:gd fmla="*/ 272 w 1128" name="T114"/>
              <a:gd fmla="*/ 41 h 960"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w 1128" name="T174"/>
              <a:gd fmla="*/ 0 h 960" name="T175"/>
              <a:gd fmla="*/ 1128 w 1128" name="T176"/>
              <a:gd fmla="*/ 960 h 960" name="T17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T177" l="T174" r="T176" t="T175"/>
            <a:pathLst>
              <a:path h="960" w="1128">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bIns="33693" lIns="67388" rIns="67388" tIns="33693"/>
          <a:lstStyle/>
          <a:p>
            <a:endParaRPr altLang="en-US" lang="zh-CN" sz="2400">
              <a:solidFill>
                <a:schemeClr val="bg1">
                  <a:lumMod val="85000"/>
                </a:schemeClr>
              </a:solidFill>
            </a:endParaRPr>
          </a:p>
        </p:txBody>
      </p:sp>
      <p:sp>
        <p:nvSpPr>
          <p:cNvPr id="86" name="Freeform 92"/>
          <p:cNvSpPr/>
          <p:nvPr/>
        </p:nvSpPr>
        <p:spPr bwMode="gray">
          <a:xfrm>
            <a:off x="3590905" y="2528945"/>
            <a:ext cx="577732" cy="386090"/>
          </a:xfrm>
          <a:custGeom>
            <a:gdLst>
              <a:gd fmla="*/ 81 w 987" name="T0"/>
              <a:gd fmla="*/ 0 h 663" name="T1"/>
              <a:gd fmla="*/ 88 w 987" name="T2"/>
              <a:gd fmla="*/ 3 h 663" name="T3"/>
              <a:gd fmla="*/ 96 w 987" name="T4"/>
              <a:gd fmla="*/ 5 h 663" name="T5"/>
              <a:gd fmla="*/ 103 w 987" name="T6"/>
              <a:gd fmla="*/ 2 h 663" name="T7"/>
              <a:gd fmla="*/ 111 w 987" name="T8"/>
              <a:gd fmla="*/ 0 h 663" name="T9"/>
              <a:gd fmla="*/ 119 w 987" name="T10"/>
              <a:gd fmla="*/ 5 h 663" name="T11"/>
              <a:gd fmla="*/ 125 w 987" name="T12"/>
              <a:gd fmla="*/ 15 h 663" name="T13"/>
              <a:gd fmla="*/ 126 w 987" name="T14"/>
              <a:gd fmla="*/ 24 h 663" name="T15"/>
              <a:gd fmla="*/ 128 w 987" name="T16"/>
              <a:gd fmla="*/ 32 h 663" name="T17"/>
              <a:gd fmla="*/ 133 w 987" name="T18"/>
              <a:gd fmla="*/ 37 h 663" name="T19"/>
              <a:gd fmla="*/ 141 w 987" name="T20"/>
              <a:gd fmla="*/ 39 h 663" name="T21"/>
              <a:gd fmla="*/ 149 w 987" name="T22"/>
              <a:gd fmla="*/ 38 h 663" name="T23"/>
              <a:gd fmla="*/ 154 w 987" name="T24"/>
              <a:gd fmla="*/ 33 h 663" name="T25"/>
              <a:gd fmla="*/ 160 w 987" name="T26"/>
              <a:gd fmla="*/ 24 h 663" name="T27"/>
              <a:gd fmla="*/ 167 w 987" name="T28"/>
              <a:gd fmla="*/ 15 h 663" name="T29"/>
              <a:gd fmla="*/ 175 w 987" name="T30"/>
              <a:gd fmla="*/ 6 h 663" name="T31"/>
              <a:gd fmla="*/ 184 w 987" name="T32"/>
              <a:gd fmla="*/ 2 h 663" name="T33"/>
              <a:gd fmla="*/ 191 w 987" name="T34"/>
              <a:gd fmla="*/ 4 h 663" name="T35"/>
              <a:gd fmla="*/ 200 w 987" name="T36"/>
              <a:gd fmla="*/ 9 h 663" name="T37"/>
              <a:gd fmla="*/ 212 w 987" name="T38"/>
              <a:gd fmla="*/ 11 h 663" name="T39"/>
              <a:gd fmla="*/ 224 w 987" name="T40"/>
              <a:gd fmla="*/ 9 h 663" name="T41"/>
              <a:gd fmla="*/ 234 w 987" name="T42"/>
              <a:gd fmla="*/ 7 h 663" name="T43"/>
              <a:gd fmla="*/ 241 w 987" name="T44"/>
              <a:gd fmla="*/ 5 h 663" name="T45"/>
              <a:gd fmla="*/ 246 w 987" name="T46"/>
              <a:gd fmla="*/ 5 h 663" name="T47"/>
              <a:gd fmla="*/ 246 w 987" name="T48"/>
              <a:gd fmla="*/ 12 h 663" name="T49"/>
              <a:gd fmla="*/ 245 w 987" name="T50"/>
              <a:gd fmla="*/ 23 h 663" name="T51"/>
              <a:gd fmla="*/ 243 w 987" name="T52"/>
              <a:gd fmla="*/ 31 h 663" name="T53"/>
              <a:gd fmla="*/ 237 w 987" name="T54"/>
              <a:gd fmla="*/ 32 h 663" name="T55"/>
              <a:gd fmla="*/ 231 w 987" name="T56"/>
              <a:gd fmla="*/ 31 h 663" name="T57"/>
              <a:gd fmla="*/ 225 w 987" name="T58"/>
              <a:gd fmla="*/ 32 h 663" name="T59"/>
              <a:gd fmla="*/ 216 w 987" name="T60"/>
              <a:gd fmla="*/ 41 h 663" name="T61"/>
              <a:gd fmla="*/ 205 w 987" name="T62"/>
              <a:gd fmla="*/ 49 h 663" name="T63"/>
              <a:gd fmla="*/ 198 w 987" name="T64"/>
              <a:gd fmla="*/ 51 h 663" name="T65"/>
              <a:gd fmla="*/ 191 w 987" name="T66"/>
              <a:gd fmla="*/ 52 h 663" name="T67"/>
              <a:gd fmla="*/ 189 w 987" name="T68"/>
              <a:gd fmla="*/ 55 h 663" name="T69"/>
              <a:gd fmla="*/ 191 w 987" name="T70"/>
              <a:gd fmla="*/ 63 h 663" name="T71"/>
              <a:gd fmla="*/ 190 w 987" name="T72"/>
              <a:gd fmla="*/ 72 h 663" name="T73"/>
              <a:gd fmla="*/ 185 w 987" name="T74"/>
              <a:gd fmla="*/ 77 h 663" name="T75"/>
              <a:gd fmla="*/ 177 w 987" name="T76"/>
              <a:gd fmla="*/ 79 h 663" name="T77"/>
              <a:gd fmla="*/ 171 w 987" name="T78"/>
              <a:gd fmla="*/ 79 h 663" name="T79"/>
              <a:gd fmla="*/ 170 w 987" name="T80"/>
              <a:gd fmla="*/ 84 h 663" name="T81"/>
              <a:gd fmla="*/ 170 w 987" name="T82"/>
              <a:gd fmla="*/ 93 h 663" name="T83"/>
              <a:gd fmla="*/ 168 w 987" name="T84"/>
              <a:gd fmla="*/ 101 h 663" name="T85"/>
              <a:gd fmla="*/ 163 w 987" name="T86"/>
              <a:gd fmla="*/ 106 h 663" name="T87"/>
              <a:gd fmla="*/ 157 w 987" name="T88"/>
              <a:gd fmla="*/ 111 h 663" name="T89"/>
              <a:gd fmla="*/ 155 w 987" name="T90"/>
              <a:gd fmla="*/ 118 h 663" name="T91"/>
              <a:gd fmla="*/ 152 w 987" name="T92"/>
              <a:gd fmla="*/ 123 h 663" name="T93"/>
              <a:gd fmla="*/ 139 w 987" name="T94"/>
              <a:gd fmla="*/ 127 h 663" name="T95"/>
              <a:gd fmla="*/ 129 w 987" name="T96"/>
              <a:gd fmla="*/ 143 h 663" name="T97"/>
              <a:gd fmla="*/ 106 w 987" name="T98"/>
              <a:gd fmla="*/ 148 h 663" name="T99"/>
              <a:gd fmla="*/ 89 w 987" name="T100"/>
              <a:gd fmla="*/ 156 h 663" name="T101"/>
              <a:gd fmla="*/ 66 w 987" name="T102"/>
              <a:gd fmla="*/ 144 h 663" name="T103"/>
              <a:gd fmla="*/ 52 w 987" name="T104"/>
              <a:gd fmla="*/ 160 h 663" name="T105"/>
              <a:gd fmla="*/ 13 w 987" name="T106"/>
              <a:gd fmla="*/ 152 h 663" name="T107"/>
              <a:gd fmla="*/ 0 w 987" name="T108"/>
              <a:gd fmla="*/ 140 h 663" name="T109"/>
              <a:gd fmla="*/ 14 w 987" name="T110"/>
              <a:gd fmla="*/ 98 h 663" name="T111"/>
              <a:gd fmla="*/ 8 w 987" name="T112"/>
              <a:gd fmla="*/ 78 h 663" name="T113"/>
              <a:gd fmla="*/ 26 w 987" name="T114"/>
              <a:gd fmla="*/ 45 h 663" name="T115"/>
              <a:gd fmla="*/ 50 w 987" name="T116"/>
              <a:gd fmla="*/ 22 h 663" name="T117"/>
              <a:gd fmla="*/ 80 w 987" name="T118"/>
              <a:gd fmla="*/ 0 h 663"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w 987" name="T180"/>
              <a:gd fmla="*/ 0 h 663" name="T181"/>
              <a:gd fmla="*/ 987 w 987" name="T182"/>
              <a:gd fmla="*/ 663 h 663" name="T183"/>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b="T183" l="T180" r="T182" t="T181"/>
            <a:pathLst>
              <a:path h="663" w="986">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bIns="33693" lIns="67388" rIns="67388" tIns="33693"/>
          <a:lstStyle/>
          <a:p>
            <a:endParaRPr altLang="en-US" lang="zh-CN" sz="2400">
              <a:solidFill>
                <a:schemeClr val="bg1">
                  <a:lumMod val="85000"/>
                </a:schemeClr>
              </a:solidFill>
            </a:endParaRPr>
          </a:p>
        </p:txBody>
      </p:sp>
      <p:sp>
        <p:nvSpPr>
          <p:cNvPr id="87" name="Freeform 100"/>
          <p:cNvSpPr/>
          <p:nvPr/>
        </p:nvSpPr>
        <p:spPr bwMode="gray">
          <a:xfrm>
            <a:off x="3815903" y="1936396"/>
            <a:ext cx="503904" cy="500401"/>
          </a:xfrm>
          <a:custGeom>
            <a:gdLst>
              <a:gd fmla="*/ 182 w 860" name="T0"/>
              <a:gd fmla="*/ 145 h 858" name="T1"/>
              <a:gd fmla="*/ 179 w 860" name="T2"/>
              <a:gd fmla="*/ 149 h 858" name="T3"/>
              <a:gd fmla="*/ 174 w 860" name="T4"/>
              <a:gd fmla="*/ 152 h 858" name="T5"/>
              <a:gd fmla="*/ 166 w 860" name="T6"/>
              <a:gd fmla="*/ 154 h 858" name="T7"/>
              <a:gd fmla="*/ 156 w 860" name="T8"/>
              <a:gd fmla="*/ 157 h 858" name="T9"/>
              <a:gd fmla="*/ 149 w 860" name="T10"/>
              <a:gd fmla="*/ 163 h 858" name="T11"/>
              <a:gd fmla="*/ 140 w 860" name="T12"/>
              <a:gd fmla="*/ 170 h 858" name="T13"/>
              <a:gd fmla="*/ 133 w 860" name="T14"/>
              <a:gd fmla="*/ 176 h 858" name="T15"/>
              <a:gd fmla="*/ 129 w 860" name="T16"/>
              <a:gd fmla="*/ 180 h 858" name="T17"/>
              <a:gd fmla="*/ 123 w 860" name="T18"/>
              <a:gd fmla="*/ 186 h 858" name="T19"/>
              <a:gd fmla="*/ 119 w 860" name="T20"/>
              <a:gd fmla="*/ 194 h 858" name="T21"/>
              <a:gd fmla="*/ 113 w 860" name="T22"/>
              <a:gd fmla="*/ 201 h 858" name="T23"/>
              <a:gd fmla="*/ 107 w 860" name="T24"/>
              <a:gd fmla="*/ 204 h 858" name="T25"/>
              <a:gd fmla="*/ 103 w 860" name="T26"/>
              <a:gd fmla="*/ 208 h 858" name="T27"/>
              <a:gd fmla="*/ 95 w 860" name="T28"/>
              <a:gd fmla="*/ 213 h 858" name="T29"/>
              <a:gd fmla="*/ 89 w 860" name="T30"/>
              <a:gd fmla="*/ 215 h 858" name="T31"/>
              <a:gd fmla="*/ 88 w 860" name="T32"/>
              <a:gd fmla="*/ 210 h 858" name="T33"/>
              <a:gd fmla="*/ 92 w 860" name="T34"/>
              <a:gd fmla="*/ 204 h 858" name="T35"/>
              <a:gd fmla="*/ 98 w 860" name="T36"/>
              <a:gd fmla="*/ 198 h 858" name="T37"/>
              <a:gd fmla="*/ 103 w 860" name="T38"/>
              <a:gd fmla="*/ 191 h 858" name="T39"/>
              <a:gd fmla="*/ 101 w 860" name="T40"/>
              <a:gd fmla="*/ 187 h 858" name="T41"/>
              <a:gd fmla="*/ 95 w 860" name="T42"/>
              <a:gd fmla="*/ 184 h 858" name="T43"/>
              <a:gd fmla="*/ 91 w 860" name="T44"/>
              <a:gd fmla="*/ 179 h 858" name="T45"/>
              <a:gd fmla="*/ 93 w 860" name="T46"/>
              <a:gd fmla="*/ 170 h 858" name="T47"/>
              <a:gd fmla="*/ 100 w 860" name="T48"/>
              <a:gd fmla="*/ 159 h 858" name="T49"/>
              <a:gd fmla="*/ 107 w 860" name="T50"/>
              <a:gd fmla="*/ 148 h 858" name="T51"/>
              <a:gd fmla="*/ 110 w 860" name="T52"/>
              <a:gd fmla="*/ 140 h 858" name="T53"/>
              <a:gd fmla="*/ 110 w 860" name="T54"/>
              <a:gd fmla="*/ 135 h 858" name="T55"/>
              <a:gd fmla="*/ 105 w 860" name="T56"/>
              <a:gd fmla="*/ 129 h 858" name="T57"/>
              <a:gd fmla="*/ 99 w 860" name="T58"/>
              <a:gd fmla="*/ 123 h 858" name="T59"/>
              <a:gd fmla="*/ 94 w 860" name="T60"/>
              <a:gd fmla="*/ 122 h 858" name="T61"/>
              <a:gd fmla="*/ 87 w 860" name="T62"/>
              <a:gd fmla="*/ 123 h 858" name="T63"/>
              <a:gd fmla="*/ 78 w 860" name="T64"/>
              <a:gd fmla="*/ 123 h 858" name="T65"/>
              <a:gd fmla="*/ 74 w 860" name="T66"/>
              <a:gd fmla="*/ 124 h 858" name="T67"/>
              <a:gd fmla="*/ 70 w 860" name="T68"/>
              <a:gd fmla="*/ 134 h 858" name="T69"/>
              <a:gd fmla="*/ 66 w 860" name="T70"/>
              <a:gd fmla="*/ 145 h 858" name="T71"/>
              <a:gd fmla="*/ 60 w 860" name="T72"/>
              <a:gd fmla="*/ 152 h 858" name="T73"/>
              <a:gd fmla="*/ 53 w 860" name="T74"/>
              <a:gd fmla="*/ 163 h 858" name="T75"/>
              <a:gd fmla="*/ 46 w 860" name="T76"/>
              <a:gd fmla="*/ 169 h 858" name="T77"/>
              <a:gd fmla="*/ 41 w 860" name="T78"/>
              <a:gd fmla="*/ 172 h 858" name="T79"/>
              <a:gd fmla="*/ 34 w 860" name="T80"/>
              <a:gd fmla="*/ 167 h 858" name="T81"/>
              <a:gd fmla="*/ 14 w 860" name="T82"/>
              <a:gd fmla="*/ 147 h 858" name="T83"/>
              <a:gd fmla="*/ 5 w 860" name="T84"/>
              <a:gd fmla="*/ 127 h 858" name="T85"/>
              <a:gd fmla="*/ 7 w 860" name="T86"/>
              <a:gd fmla="*/ 101 h 858" name="T87"/>
              <a:gd fmla="*/ 3 w 860" name="T88"/>
              <a:gd fmla="*/ 79 h 858" name="T89"/>
              <a:gd fmla="*/ 21 w 860" name="T90"/>
              <a:gd fmla="*/ 80 h 858" name="T91"/>
              <a:gd fmla="*/ 43 w 860" name="T92"/>
              <a:gd fmla="*/ 78 h 858" name="T93"/>
              <a:gd fmla="*/ 69 w 860" name="T94"/>
              <a:gd fmla="*/ 53 h 858" name="T95"/>
              <a:gd fmla="*/ 94 w 860" name="T96"/>
              <a:gd fmla="*/ 44 h 858" name="T97"/>
              <a:gd fmla="*/ 108 w 860" name="T98"/>
              <a:gd fmla="*/ 37 h 858" name="T99"/>
              <a:gd fmla="*/ 131 w 860" name="T100"/>
              <a:gd fmla="*/ 12 h 858" name="T101"/>
              <a:gd fmla="*/ 149 w 860" name="T102"/>
              <a:gd fmla="*/ 6 h 858" name="T103"/>
              <a:gd fmla="*/ 182 w 860" name="T104"/>
              <a:gd fmla="*/ 30 h 858" name="T105"/>
              <a:gd fmla="*/ 194 w 860" name="T106"/>
              <a:gd fmla="*/ 60 h 858" name="T107"/>
              <a:gd fmla="*/ 215 w 860" name="T108"/>
              <a:gd fmla="*/ 101 h 858" name="T109"/>
              <a:gd fmla="*/ 183 w 860" name="T110"/>
              <a:gd fmla="*/ 134 h 858"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w 860" name="T168"/>
              <a:gd fmla="*/ 0 h 858" name="T169"/>
              <a:gd fmla="*/ 860 w 860" name="T170"/>
              <a:gd fmla="*/ 858 h 858" name="T171"/>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b="T171" l="T168" r="T170" t="T169"/>
            <a:pathLst>
              <a:path h="858" w="860">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bIns="33693" lIns="67388" rIns="67388" tIns="33693"/>
          <a:lstStyle/>
          <a:p>
            <a:endParaRPr altLang="en-US" lang="zh-CN" sz="2400">
              <a:solidFill>
                <a:schemeClr val="bg1">
                  <a:lumMod val="85000"/>
                </a:schemeClr>
              </a:solidFill>
            </a:endParaRPr>
          </a:p>
        </p:txBody>
      </p:sp>
      <p:sp>
        <p:nvSpPr>
          <p:cNvPr id="88" name="Freeform 82"/>
          <p:cNvSpPr/>
          <p:nvPr/>
        </p:nvSpPr>
        <p:spPr bwMode="gray">
          <a:xfrm>
            <a:off x="3939043" y="3193811"/>
            <a:ext cx="331638" cy="370927"/>
          </a:xfrm>
          <a:custGeom>
            <a:gdLst>
              <a:gd fmla="*/ 109 w 565" name="T0"/>
              <a:gd fmla="*/ 11 h 638" name="T1"/>
              <a:gd fmla="*/ 106 w 565" name="T2"/>
              <a:gd fmla="*/ 11 h 638" name="T3"/>
              <a:gd fmla="*/ 103 w 565" name="T4"/>
              <a:gd fmla="*/ 14 h 638" name="T5"/>
              <a:gd fmla="*/ 100 w 565" name="T6"/>
              <a:gd fmla="*/ 21 h 638" name="T7"/>
              <a:gd fmla="*/ 99 w 565" name="T8"/>
              <a:gd fmla="*/ 28 h 638" name="T9"/>
              <a:gd fmla="*/ 96 w 565" name="T10"/>
              <a:gd fmla="*/ 31 h 638" name="T11"/>
              <a:gd fmla="*/ 90 w 565" name="T12"/>
              <a:gd fmla="*/ 29 h 638" name="T13"/>
              <a:gd fmla="*/ 84 w 565" name="T14"/>
              <a:gd fmla="*/ 26 h 638" name="T15"/>
              <a:gd fmla="*/ 80 w 565" name="T16"/>
              <a:gd fmla="*/ 26 h 638" name="T17"/>
              <a:gd fmla="*/ 82 w 565" name="T18"/>
              <a:gd fmla="*/ 32 h 638" name="T19"/>
              <a:gd fmla="*/ 87 w 565" name="T20"/>
              <a:gd fmla="*/ 36 h 638" name="T21"/>
              <a:gd fmla="*/ 93 w 565" name="T22"/>
              <a:gd fmla="*/ 38 h 638" name="T23"/>
              <a:gd fmla="*/ 101 w 565" name="T24"/>
              <a:gd fmla="*/ 35 h 638" name="T25"/>
              <a:gd fmla="*/ 104 w 565" name="T26"/>
              <a:gd fmla="*/ 31 h 638" name="T27"/>
              <a:gd fmla="*/ 106 w 565" name="T28"/>
              <a:gd fmla="*/ 25 h 638" name="T29"/>
              <a:gd fmla="*/ 110 w 565" name="T30"/>
              <a:gd fmla="*/ 24 h 638" name="T31"/>
              <a:gd fmla="*/ 117 w 565" name="T32"/>
              <a:gd fmla="*/ 30 h 638" name="T33"/>
              <a:gd fmla="*/ 126 w 565" name="T34"/>
              <a:gd fmla="*/ 34 h 638" name="T35"/>
              <a:gd fmla="*/ 131 w 565" name="T36"/>
              <a:gd fmla="*/ 36 h 638" name="T37"/>
              <a:gd fmla="*/ 138 w 565" name="T38"/>
              <a:gd fmla="*/ 38 h 638" name="T39"/>
              <a:gd fmla="*/ 142 w 565" name="T40"/>
              <a:gd fmla="*/ 44 h 638" name="T41"/>
              <a:gd fmla="*/ 139 w 565" name="T42"/>
              <a:gd fmla="*/ 51 h 638" name="T43"/>
              <a:gd fmla="*/ 133 w 565" name="T44"/>
              <a:gd fmla="*/ 58 h 638" name="T45"/>
              <a:gd fmla="*/ 130 w 565" name="T46"/>
              <a:gd fmla="*/ 60 h 638" name="T47"/>
              <a:gd fmla="*/ 134 w 565" name="T48"/>
              <a:gd fmla="*/ 60 h 638" name="T49"/>
              <a:gd fmla="*/ 139 w 565" name="T50"/>
              <a:gd fmla="*/ 60 h 638" name="T51"/>
              <a:gd fmla="*/ 141 w 565" name="T52"/>
              <a:gd fmla="*/ 63 h 638" name="T53"/>
              <a:gd fmla="*/ 136 w 565" name="T54"/>
              <a:gd fmla="*/ 67 h 638" name="T55"/>
              <a:gd fmla="*/ 129 w 565" name="T56"/>
              <a:gd fmla="*/ 71 h 638" name="T57"/>
              <a:gd fmla="*/ 126 w 565" name="T58"/>
              <a:gd fmla="*/ 73 h 638" name="T59"/>
              <a:gd fmla="*/ 129 w 565" name="T60"/>
              <a:gd fmla="*/ 73 h 638" name="T61"/>
              <a:gd fmla="*/ 135 w 565" name="T62"/>
              <a:gd fmla="*/ 78 h 638" name="T63"/>
              <a:gd fmla="*/ 136 w 565" name="T64"/>
              <a:gd fmla="*/ 88 h 638" name="T65"/>
              <a:gd fmla="*/ 138 w 565" name="T66"/>
              <a:gd fmla="*/ 98 h 638" name="T67"/>
              <a:gd fmla="*/ 141 w 565" name="T68"/>
              <a:gd fmla="*/ 104 h 638" name="T69"/>
              <a:gd fmla="*/ 141 w 565" name="T70"/>
              <a:gd fmla="*/ 108 h 638" name="T71"/>
              <a:gd fmla="*/ 136 w 565" name="T72"/>
              <a:gd fmla="*/ 112 h 638" name="T73"/>
              <a:gd fmla="*/ 129 w 565" name="T74"/>
              <a:gd fmla="*/ 111 h 638" name="T75"/>
              <a:gd fmla="*/ 123 w 565" name="T76"/>
              <a:gd fmla="*/ 110 h 638" name="T77"/>
              <a:gd fmla="*/ 119 w 565" name="T78"/>
              <a:gd fmla="*/ 116 h 638" name="T79"/>
              <a:gd fmla="*/ 118 w 565" name="T80"/>
              <a:gd fmla="*/ 122 h 638" name="T81"/>
              <a:gd fmla="*/ 116 w 565" name="T82"/>
              <a:gd fmla="*/ 129 h 638" name="T83"/>
              <a:gd fmla="*/ 113 w 565" name="T84"/>
              <a:gd fmla="*/ 136 h 638" name="T85"/>
              <a:gd fmla="*/ 112 w 565" name="T86"/>
              <a:gd fmla="*/ 146 h 638" name="T87"/>
              <a:gd fmla="*/ 112 w 565" name="T88"/>
              <a:gd fmla="*/ 150 h 638" name="T89"/>
              <a:gd fmla="*/ 102 w 565" name="T90"/>
              <a:gd fmla="*/ 158 h 638" name="T91"/>
              <a:gd fmla="*/ 88 w 565" name="T92"/>
              <a:gd fmla="*/ 158 h 638" name="T93"/>
              <a:gd fmla="*/ 69 w 565" name="T94"/>
              <a:gd fmla="*/ 148 h 638" name="T95"/>
              <a:gd fmla="*/ 47 w 565" name="T96"/>
              <a:gd fmla="*/ 155 h 638" name="T97"/>
              <a:gd fmla="*/ 35 w 565" name="T98"/>
              <a:gd fmla="*/ 128 h 638" name="T99"/>
              <a:gd fmla="*/ 20 w 565" name="T100"/>
              <a:gd fmla="*/ 113 h 638" name="T101"/>
              <a:gd fmla="*/ 5 w 565" name="T102"/>
              <a:gd fmla="*/ 83 h 638" name="T103"/>
              <a:gd fmla="*/ 27 w 565" name="T104"/>
              <a:gd fmla="*/ 49 h 638" name="T105"/>
              <a:gd fmla="*/ 42 w 565" name="T106"/>
              <a:gd fmla="*/ 36 h 638" name="T107"/>
              <a:gd fmla="*/ 46 w 565" name="T108"/>
              <a:gd fmla="*/ 12 h 638" name="T109"/>
              <a:gd fmla="*/ 56 w 565" name="T110"/>
              <a:gd fmla="*/ 0 h 638" name="T111"/>
              <a:gd fmla="*/ 76 w 565" name="T112"/>
              <a:gd fmla="*/ 7 h 638" name="T113"/>
              <a:gd fmla="*/ 96 w 565" name="T114"/>
              <a:gd fmla="*/ 1 h 638" name="T115"/>
              <a:gd fmla="*/ 109 w 565" name="T116"/>
              <a:gd fmla="*/ 11 h 638"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w 565" name="T177"/>
              <a:gd fmla="*/ 0 h 638" name="T178"/>
              <a:gd fmla="*/ 565 w 565" name="T179"/>
              <a:gd fmla="*/ 638 h 638" name="T180"/>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T180" l="T177" r="T179" t="T178"/>
            <a:pathLst>
              <a:path h="638" w="565">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bIns="33693" lIns="67388" rIns="67388" tIns="33693"/>
          <a:lstStyle/>
          <a:p>
            <a:endParaRPr altLang="en-US" lang="zh-CN"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01576" cy="280746"/>
          </a:xfrm>
          <a:prstGeom prst="rect">
            <a:avLst/>
          </a:prstGeom>
        </p:spPr>
        <p:txBody>
          <a:bodyPr bIns="33693" lIns="67388" rIns="67388" tIns="33693" wrap="none">
            <a:spAutoFit/>
          </a:bodyPr>
          <a:lstStyle/>
          <a:p>
            <a:r>
              <a:rPr altLang="en-US" lang="zh-CN" sz="1400">
                <a:solidFill>
                  <a:schemeClr val="bg1">
                    <a:lumMod val="85000"/>
                  </a:schemeClr>
                </a:solidFill>
                <a:latin charset="-122" panose="020b0503020204020204" pitchFamily="34" typeface="微软雅黑"/>
                <a:ea charset="-122" panose="020b0503020204020204" pitchFamily="34" typeface="微软雅黑"/>
                <a:cs charset="-122" pitchFamily="2" typeface="华文黑体"/>
              </a:rPr>
              <a:t>点击添加文本</a:t>
            </a:r>
          </a:p>
        </p:txBody>
      </p:sp>
      <p:sp>
        <p:nvSpPr>
          <p:cNvPr id="98" name="矩形 97"/>
          <p:cNvSpPr/>
          <p:nvPr/>
        </p:nvSpPr>
        <p:spPr>
          <a:xfrm>
            <a:off x="4888298" y="2503285"/>
            <a:ext cx="1201576" cy="280746"/>
          </a:xfrm>
          <a:prstGeom prst="rect">
            <a:avLst/>
          </a:prstGeom>
        </p:spPr>
        <p:txBody>
          <a:bodyPr bIns="33693" lIns="67388" rIns="67388" tIns="33693" wrap="none">
            <a:spAutoFit/>
          </a:bodyPr>
          <a:lstStyle/>
          <a:p>
            <a:r>
              <a:rPr altLang="en-US" lang="zh-CN" sz="1400">
                <a:solidFill>
                  <a:schemeClr val="bg1">
                    <a:lumMod val="85000"/>
                  </a:schemeClr>
                </a:solidFill>
                <a:latin charset="-122" panose="020b0503020204020204" pitchFamily="34" typeface="微软雅黑"/>
                <a:ea charset="-122" panose="020b0503020204020204" pitchFamily="34" typeface="微软雅黑"/>
                <a:cs charset="-122" pitchFamily="2" typeface="华文黑体"/>
              </a:rPr>
              <a:t>点击添加文本</a:t>
            </a:r>
          </a:p>
        </p:txBody>
      </p:sp>
      <p:sp>
        <p:nvSpPr>
          <p:cNvPr id="99" name="矩形 98"/>
          <p:cNvSpPr/>
          <p:nvPr/>
        </p:nvSpPr>
        <p:spPr>
          <a:xfrm>
            <a:off x="4888298" y="2992226"/>
            <a:ext cx="1201576" cy="280746"/>
          </a:xfrm>
          <a:prstGeom prst="rect">
            <a:avLst/>
          </a:prstGeom>
        </p:spPr>
        <p:txBody>
          <a:bodyPr bIns="33693" lIns="67388" rIns="67388" tIns="33693" wrap="none">
            <a:spAutoFit/>
          </a:bodyPr>
          <a:lstStyle/>
          <a:p>
            <a:r>
              <a:rPr altLang="en-US" lang="zh-CN" sz="1400">
                <a:solidFill>
                  <a:schemeClr val="bg1">
                    <a:lumMod val="85000"/>
                  </a:schemeClr>
                </a:solidFill>
                <a:latin charset="-122" panose="020b0503020204020204" pitchFamily="34" typeface="微软雅黑"/>
                <a:ea charset="-122" panose="020b0503020204020204" pitchFamily="34" typeface="微软雅黑"/>
                <a:cs charset="-122" pitchFamily="2" typeface="华文黑体"/>
              </a:rPr>
              <a:t>点击添加文本</a:t>
            </a:r>
          </a:p>
        </p:txBody>
      </p:sp>
      <p:sp>
        <p:nvSpPr>
          <p:cNvPr id="100" name="矩形 99"/>
          <p:cNvSpPr/>
          <p:nvPr/>
        </p:nvSpPr>
        <p:spPr>
          <a:xfrm>
            <a:off x="4854884" y="3969438"/>
            <a:ext cx="1201576" cy="280746"/>
          </a:xfrm>
          <a:prstGeom prst="rect">
            <a:avLst/>
          </a:prstGeom>
        </p:spPr>
        <p:txBody>
          <a:bodyPr bIns="33693" lIns="67388" rIns="67388" tIns="33693" wrap="none">
            <a:spAutoFit/>
          </a:bodyPr>
          <a:lstStyle/>
          <a:p>
            <a:r>
              <a:rPr altLang="en-US" lang="zh-CN" sz="1400">
                <a:solidFill>
                  <a:schemeClr val="bg1">
                    <a:lumMod val="85000"/>
                  </a:schemeClr>
                </a:solidFill>
                <a:latin charset="-122" panose="020b0503020204020204" pitchFamily="34" typeface="微软雅黑"/>
                <a:ea charset="-122" panose="020b0503020204020204" pitchFamily="34" typeface="微软雅黑"/>
                <a:cs charset="-122" pitchFamily="2" typeface="华文黑体"/>
              </a:rPr>
              <a:t>点击添加文本</a:t>
            </a:r>
          </a:p>
        </p:txBody>
      </p:sp>
      <p:sp>
        <p:nvSpPr>
          <p:cNvPr id="101" name="矩形标注 100"/>
          <p:cNvSpPr/>
          <p:nvPr/>
        </p:nvSpPr>
        <p:spPr>
          <a:xfrm>
            <a:off x="6503383" y="1655288"/>
            <a:ext cx="2140591" cy="2864452"/>
          </a:xfrm>
          <a:prstGeom prst="wedgeRectCallout">
            <a:avLst>
              <a:gd fmla="val -72333" name="adj1"/>
              <a:gd fmla="val 19715" name="adj2"/>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3693" lIns="67388" rIns="67388" rtlCol="0" tIns="33693"/>
          <a:lstStyle/>
          <a:p>
            <a:pPr algn="ctr"/>
            <a:endParaRPr altLang="en-US" lang="zh-CN" sz="2400"/>
          </a:p>
        </p:txBody>
      </p:sp>
      <p:sp>
        <p:nvSpPr>
          <p:cNvPr id="102" name="TextBox 101"/>
          <p:cNvSpPr txBox="1"/>
          <p:nvPr/>
        </p:nvSpPr>
        <p:spPr>
          <a:xfrm>
            <a:off x="6609693" y="1754467"/>
            <a:ext cx="2034281" cy="2682570"/>
          </a:xfrm>
          <a:prstGeom prst="rect">
            <a:avLst/>
          </a:prstGeom>
          <a:noFill/>
        </p:spPr>
        <p:txBody>
          <a:bodyPr bIns="33693" lIns="67388" rIns="67388" rtlCol="0" tIns="33693" wrap="square">
            <a:spAutoFit/>
          </a:bodyPr>
          <a:lstStyle/>
          <a:p>
            <a:pPr>
              <a:lnSpc>
                <a:spcPct val="130000"/>
              </a:lnSpc>
            </a:pPr>
            <a:r>
              <a:rPr altLang="en-US" lang="zh-CN" sz="1200">
                <a:solidFill>
                  <a:schemeClr val="bg1"/>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复制您的文本后您的内容打在这里。您的内容打在这里，或者通过复制您的文本后，在此框中选择粘贴,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4" name="平行四边形 103"/>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5" name="平行四边形 104"/>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6" name="平行四边形 105"/>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109" name="Group 7"/>
          <p:cNvGrpSpPr/>
          <p:nvPr/>
        </p:nvGrpSpPr>
        <p:grpSpPr>
          <a:xfrm>
            <a:off x="180202" y="181952"/>
            <a:ext cx="216018" cy="113981"/>
            <a:chExt cx="1041399" cy="549275"/>
          </a:xfrm>
          <a:solidFill>
            <a:srgbClr val="133E73"/>
          </a:solidFill>
        </p:grpSpPr>
        <p:sp>
          <p:nvSpPr>
            <p:cNvPr id="110"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11"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12"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113"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109"/>
                                        </p:tgtEl>
                                        <p:attrNameLst>
                                          <p:attrName>style.visibility</p:attrName>
                                        </p:attrNameLst>
                                      </p:cBhvr>
                                      <p:to>
                                        <p:strVal val="visible"/>
                                      </p:to>
                                    </p:set>
                                    <p:anim calcmode="lin" valueType="num">
                                      <p:cBhvr additive="base">
                                        <p:cTn dur="500" fill="hold" id="7"/>
                                        <p:tgtEl>
                                          <p:spTgt spid="109"/>
                                        </p:tgtEl>
                                        <p:attrNameLst>
                                          <p:attrName>ppt_x</p:attrName>
                                        </p:attrNameLst>
                                      </p:cBhvr>
                                      <p:tavLst>
                                        <p:tav tm="0">
                                          <p:val>
                                            <p:strVal val="0-#ppt_w/2"/>
                                          </p:val>
                                        </p:tav>
                                        <p:tav tm="100000">
                                          <p:val>
                                            <p:strVal val="#ppt_x"/>
                                          </p:val>
                                        </p:tav>
                                      </p:tavLst>
                                    </p:anim>
                                    <p:anim calcmode="lin" valueType="num">
                                      <p:cBhvr additive="base">
                                        <p:cTn dur="500" fill="hold" id="8"/>
                                        <p:tgtEl>
                                          <p:spTgt spid="109"/>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108"/>
                                        </p:tgtEl>
                                        <p:attrNameLst>
                                          <p:attrName>style.visibility</p:attrName>
                                        </p:attrNameLst>
                                      </p:cBhvr>
                                      <p:to>
                                        <p:strVal val="visible"/>
                                      </p:to>
                                    </p:set>
                                    <p:anim calcmode="lin" valueType="num">
                                      <p:cBhvr>
                                        <p:cTn dur="500" fill="hold" id="12"/>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108"/>
                                        </p:tgtEl>
                                        <p:attrNameLst>
                                          <p:attrName>ppt_y</p:attrName>
                                        </p:attrNameLst>
                                      </p:cBhvr>
                                      <p:tavLst>
                                        <p:tav tm="0">
                                          <p:val>
                                            <p:strVal val="#ppt_y"/>
                                          </p:val>
                                        </p:tav>
                                        <p:tav tm="100000">
                                          <p:val>
                                            <p:strVal val="#ppt_y"/>
                                          </p:val>
                                        </p:tav>
                                      </p:tavLst>
                                    </p:anim>
                                    <p:anim calcmode="lin" valueType="num">
                                      <p:cBhvr>
                                        <p:cTn dur="500" fill="hold" id="14"/>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108"/>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108"/>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105"/>
                                        </p:tgtEl>
                                        <p:attrNameLst>
                                          <p:attrName>fillcolor</p:attrName>
                                        </p:attrNameLst>
                                      </p:cBhvr>
                                      <p:to>
                                        <a:srgbClr val="00AEEF"/>
                                      </p:to>
                                    </p:animClr>
                                    <p:set>
                                      <p:cBhvr>
                                        <p:cTn dur="300" fill="hold" id="20"/>
                                        <p:tgtEl>
                                          <p:spTgt spid="105"/>
                                        </p:tgtEl>
                                        <p:attrNameLst>
                                          <p:attrName>fill.type</p:attrName>
                                        </p:attrNameLst>
                                      </p:cBhvr>
                                      <p:to>
                                        <p:strVal val="solid"/>
                                      </p:to>
                                    </p:set>
                                    <p:set>
                                      <p:cBhvr>
                                        <p:cTn dur="300" fill="hold" id="21"/>
                                        <p:tgtEl>
                                          <p:spTgt spid="105"/>
                                        </p:tgtEl>
                                        <p:attrNameLst>
                                          <p:attrName>fill.on</p:attrName>
                                        </p:attrNameLst>
                                      </p:cBhvr>
                                      <p:to>
                                        <p:strVal val="true"/>
                                      </p:to>
                                    </p:set>
                                  </p:childTnLst>
                                </p:cTn>
                              </p:par>
                            </p:childTnLst>
                          </p:cTn>
                        </p:par>
                        <p:par>
                          <p:cTn fill="hold" id="22" nodeType="afterGroup">
                            <p:stCondLst>
                              <p:cond delay="1300"/>
                            </p:stCondLst>
                            <p:childTnLst>
                              <p:par>
                                <p:cTn accel="58000" fill="hold" id="23" nodeType="afterEffect" presetClass="entr" presetID="2" presetSubtype="8">
                                  <p:stCondLst>
                                    <p:cond delay="0"/>
                                  </p:stCondLst>
                                  <p:childTnLst>
                                    <p:set>
                                      <p:cBhvr>
                                        <p:cTn dur="1" fill="hold" id="24">
                                          <p:stCondLst>
                                            <p:cond delay="0"/>
                                          </p:stCondLst>
                                        </p:cTn>
                                        <p:tgtEl>
                                          <p:spTgt spid="22"/>
                                        </p:tgtEl>
                                        <p:attrNameLst>
                                          <p:attrName>style.visibility</p:attrName>
                                        </p:attrNameLst>
                                      </p:cBhvr>
                                      <p:to>
                                        <p:strVal val="visible"/>
                                      </p:to>
                                    </p:set>
                                    <p:anim calcmode="lin" valueType="num">
                                      <p:cBhvr additive="base">
                                        <p:cTn dur="1000" fill="hold" id="25"/>
                                        <p:tgtEl>
                                          <p:spTgt spid="22"/>
                                        </p:tgtEl>
                                        <p:attrNameLst>
                                          <p:attrName>ppt_x</p:attrName>
                                        </p:attrNameLst>
                                      </p:cBhvr>
                                      <p:tavLst>
                                        <p:tav tm="0">
                                          <p:val>
                                            <p:strVal val="0-#ppt_w/2"/>
                                          </p:val>
                                        </p:tav>
                                        <p:tav tm="100000">
                                          <p:val>
                                            <p:strVal val="#ppt_x"/>
                                          </p:val>
                                        </p:tav>
                                      </p:tavLst>
                                    </p:anim>
                                    <p:anim calcmode="lin" valueType="num">
                                      <p:cBhvr additive="base">
                                        <p:cTn dur="1000" fill="hold" id="26"/>
                                        <p:tgtEl>
                                          <p:spTgt spid="22"/>
                                        </p:tgtEl>
                                        <p:attrNameLst>
                                          <p:attrName>ppt_y</p:attrName>
                                        </p:attrNameLst>
                                      </p:cBhvr>
                                      <p:tavLst>
                                        <p:tav tm="0">
                                          <p:val>
                                            <p:strVal val="#ppt_y"/>
                                          </p:val>
                                        </p:tav>
                                        <p:tav tm="100000">
                                          <p:val>
                                            <p:strVal val="#ppt_y"/>
                                          </p:val>
                                        </p:tav>
                                      </p:tavLst>
                                    </p:anim>
                                  </p:childTnLst>
                                </p:cTn>
                              </p:par>
                              <p:par>
                                <p:cTn fill="hold" grpId="0" id="27" nodeType="withEffect" presetClass="entr" presetID="10" presetSubtype="0">
                                  <p:stCondLst>
                                    <p:cond delay="1000"/>
                                  </p:stCondLst>
                                  <p:childTnLst>
                                    <p:set>
                                      <p:cBhvr>
                                        <p:cTn dur="1" fill="hold" id="28">
                                          <p:stCondLst>
                                            <p:cond delay="0"/>
                                          </p:stCondLst>
                                        </p:cTn>
                                        <p:tgtEl>
                                          <p:spTgt spid="86"/>
                                        </p:tgtEl>
                                        <p:attrNameLst>
                                          <p:attrName>style.visibility</p:attrName>
                                        </p:attrNameLst>
                                      </p:cBhvr>
                                      <p:to>
                                        <p:strVal val="visible"/>
                                      </p:to>
                                    </p:set>
                                    <p:animEffect filter="fade" transition="in">
                                      <p:cBhvr>
                                        <p:cTn dur="500" id="29"/>
                                        <p:tgtEl>
                                          <p:spTgt spid="86"/>
                                        </p:tgtEl>
                                      </p:cBhvr>
                                    </p:animEffect>
                                  </p:childTnLst>
                                </p:cTn>
                              </p:par>
                              <p:par>
                                <p:cTn fill="hold" grpId="0" id="30" nodeType="withEffect" presetClass="entr" presetID="10" presetSubtype="0">
                                  <p:stCondLst>
                                    <p:cond delay="1300"/>
                                  </p:stCondLst>
                                  <p:childTnLst>
                                    <p:set>
                                      <p:cBhvr>
                                        <p:cTn dur="1" fill="hold" id="31">
                                          <p:stCondLst>
                                            <p:cond delay="0"/>
                                          </p:stCondLst>
                                        </p:cTn>
                                        <p:tgtEl>
                                          <p:spTgt spid="87"/>
                                        </p:tgtEl>
                                        <p:attrNameLst>
                                          <p:attrName>style.visibility</p:attrName>
                                        </p:attrNameLst>
                                      </p:cBhvr>
                                      <p:to>
                                        <p:strVal val="visible"/>
                                      </p:to>
                                    </p:set>
                                    <p:animEffect filter="fade" transition="in">
                                      <p:cBhvr>
                                        <p:cTn dur="500" id="32"/>
                                        <p:tgtEl>
                                          <p:spTgt spid="87"/>
                                        </p:tgtEl>
                                      </p:cBhvr>
                                    </p:animEffect>
                                  </p:childTnLst>
                                </p:cTn>
                              </p:par>
                              <p:par>
                                <p:cTn fill="hold" grpId="0" id="33" nodeType="withEffect" presetClass="entr" presetID="10" presetSubtype="0">
                                  <p:stCondLst>
                                    <p:cond delay="1800"/>
                                  </p:stCondLst>
                                  <p:childTnLst>
                                    <p:set>
                                      <p:cBhvr>
                                        <p:cTn dur="1" fill="hold" id="34">
                                          <p:stCondLst>
                                            <p:cond delay="0"/>
                                          </p:stCondLst>
                                        </p:cTn>
                                        <p:tgtEl>
                                          <p:spTgt spid="88"/>
                                        </p:tgtEl>
                                        <p:attrNameLst>
                                          <p:attrName>style.visibility</p:attrName>
                                        </p:attrNameLst>
                                      </p:cBhvr>
                                      <p:to>
                                        <p:strVal val="visible"/>
                                      </p:to>
                                    </p:set>
                                    <p:animEffect filter="fade" transition="in">
                                      <p:cBhvr>
                                        <p:cTn dur="500" id="35"/>
                                        <p:tgtEl>
                                          <p:spTgt spid="88"/>
                                        </p:tgtEl>
                                      </p:cBhvr>
                                    </p:animEffect>
                                  </p:childTnLst>
                                </p:cTn>
                              </p:par>
                              <p:par>
                                <p:cTn fill="hold" grpId="0" id="36" nodeType="withEffect" presetClass="entr" presetID="10" presetSubtype="0">
                                  <p:stCondLst>
                                    <p:cond delay="1500"/>
                                  </p:stCondLst>
                                  <p:childTnLst>
                                    <p:set>
                                      <p:cBhvr>
                                        <p:cTn dur="1" fill="hold" id="37">
                                          <p:stCondLst>
                                            <p:cond delay="0"/>
                                          </p:stCondLst>
                                        </p:cTn>
                                        <p:tgtEl>
                                          <p:spTgt spid="85"/>
                                        </p:tgtEl>
                                        <p:attrNameLst>
                                          <p:attrName>style.visibility</p:attrName>
                                        </p:attrNameLst>
                                      </p:cBhvr>
                                      <p:to>
                                        <p:strVal val="visible"/>
                                      </p:to>
                                    </p:set>
                                    <p:animEffect filter="fade" transition="in">
                                      <p:cBhvr>
                                        <p:cTn dur="500" id="38"/>
                                        <p:tgtEl>
                                          <p:spTgt spid="85"/>
                                        </p:tgtEl>
                                      </p:cBhvr>
                                    </p:animEffect>
                                  </p:childTnLst>
                                </p:cTn>
                              </p:par>
                            </p:childTnLst>
                          </p:cTn>
                        </p:par>
                        <p:par>
                          <p:cTn fill="hold" id="39" nodeType="afterGroup">
                            <p:stCondLst>
                              <p:cond delay="3600"/>
                            </p:stCondLst>
                            <p:childTnLst>
                              <p:par>
                                <p:cTn fill="hold" id="40" nodeType="afterEffect" presetClass="entr" presetID="10" presetSubtype="0">
                                  <p:stCondLst>
                                    <p:cond delay="0"/>
                                  </p:stCondLst>
                                  <p:childTnLst>
                                    <p:set>
                                      <p:cBhvr>
                                        <p:cTn dur="1" fill="hold" id="41">
                                          <p:stCondLst>
                                            <p:cond delay="0"/>
                                          </p:stCondLst>
                                        </p:cTn>
                                        <p:tgtEl>
                                          <p:spTgt spid="89"/>
                                        </p:tgtEl>
                                        <p:attrNameLst>
                                          <p:attrName>style.visibility</p:attrName>
                                        </p:attrNameLst>
                                      </p:cBhvr>
                                      <p:to>
                                        <p:strVal val="visible"/>
                                      </p:to>
                                    </p:set>
                                    <p:animEffect filter="fade" transition="in">
                                      <p:cBhvr>
                                        <p:cTn dur="500" id="42"/>
                                        <p:tgtEl>
                                          <p:spTgt spid="89"/>
                                        </p:tgtEl>
                                      </p:cBhvr>
                                    </p:animEffect>
                                  </p:childTnLst>
                                </p:cTn>
                              </p:par>
                              <p:par>
                                <p:cTn fill="hold" id="43" nodeType="withEffect" presetClass="entr" presetID="10" presetSubtype="0">
                                  <p:stCondLst>
                                    <p:cond delay="0"/>
                                  </p:stCondLst>
                                  <p:childTnLst>
                                    <p:set>
                                      <p:cBhvr>
                                        <p:cTn dur="1" fill="hold" id="44">
                                          <p:stCondLst>
                                            <p:cond delay="0"/>
                                          </p:stCondLst>
                                        </p:cTn>
                                        <p:tgtEl>
                                          <p:spTgt spid="90"/>
                                        </p:tgtEl>
                                        <p:attrNameLst>
                                          <p:attrName>style.visibility</p:attrName>
                                        </p:attrNameLst>
                                      </p:cBhvr>
                                      <p:to>
                                        <p:strVal val="visible"/>
                                      </p:to>
                                    </p:set>
                                    <p:animEffect filter="fade" transition="in">
                                      <p:cBhvr>
                                        <p:cTn dur="500" id="45"/>
                                        <p:tgtEl>
                                          <p:spTgt spid="90"/>
                                        </p:tgtEl>
                                      </p:cBhvr>
                                    </p:animEffect>
                                  </p:childTnLst>
                                </p:cTn>
                              </p:par>
                              <p:par>
                                <p:cTn fill="hold" id="46" nodeType="withEffect" presetClass="entr" presetID="10" presetSubtype="0">
                                  <p:stCondLst>
                                    <p:cond delay="0"/>
                                  </p:stCondLst>
                                  <p:childTnLst>
                                    <p:set>
                                      <p:cBhvr>
                                        <p:cTn dur="1" fill="hold" id="47">
                                          <p:stCondLst>
                                            <p:cond delay="0"/>
                                          </p:stCondLst>
                                        </p:cTn>
                                        <p:tgtEl>
                                          <p:spTgt spid="91"/>
                                        </p:tgtEl>
                                        <p:attrNameLst>
                                          <p:attrName>style.visibility</p:attrName>
                                        </p:attrNameLst>
                                      </p:cBhvr>
                                      <p:to>
                                        <p:strVal val="visible"/>
                                      </p:to>
                                    </p:set>
                                    <p:animEffect filter="fade" transition="in">
                                      <p:cBhvr>
                                        <p:cTn dur="500" id="48"/>
                                        <p:tgtEl>
                                          <p:spTgt spid="91"/>
                                        </p:tgtEl>
                                      </p:cBhvr>
                                    </p:animEffect>
                                  </p:childTnLst>
                                </p:cTn>
                              </p:par>
                              <p:par>
                                <p:cTn fill="hold" id="49" nodeType="withEffect" presetClass="entr" presetID="10" presetSubtype="0">
                                  <p:stCondLst>
                                    <p:cond delay="0"/>
                                  </p:stCondLst>
                                  <p:childTnLst>
                                    <p:set>
                                      <p:cBhvr>
                                        <p:cTn dur="1" fill="hold" id="50">
                                          <p:stCondLst>
                                            <p:cond delay="0"/>
                                          </p:stCondLst>
                                        </p:cTn>
                                        <p:tgtEl>
                                          <p:spTgt spid="92"/>
                                        </p:tgtEl>
                                        <p:attrNameLst>
                                          <p:attrName>style.visibility</p:attrName>
                                        </p:attrNameLst>
                                      </p:cBhvr>
                                      <p:to>
                                        <p:strVal val="visible"/>
                                      </p:to>
                                    </p:set>
                                    <p:animEffect filter="fade" transition="in">
                                      <p:cBhvr>
                                        <p:cTn dur="500" id="51"/>
                                        <p:tgtEl>
                                          <p:spTgt spid="92"/>
                                        </p:tgtEl>
                                      </p:cBhvr>
                                    </p:animEffect>
                                  </p:childTnLst>
                                </p:cTn>
                              </p:par>
                              <p:par>
                                <p:cTn fill="hold" id="52" nodeType="withEffect" presetClass="entr" presetID="10" presetSubtype="0">
                                  <p:stCondLst>
                                    <p:cond delay="0"/>
                                  </p:stCondLst>
                                  <p:childTnLst>
                                    <p:set>
                                      <p:cBhvr>
                                        <p:cTn dur="1" fill="hold" id="53">
                                          <p:stCondLst>
                                            <p:cond delay="0"/>
                                          </p:stCondLst>
                                        </p:cTn>
                                        <p:tgtEl>
                                          <p:spTgt spid="93"/>
                                        </p:tgtEl>
                                        <p:attrNameLst>
                                          <p:attrName>style.visibility</p:attrName>
                                        </p:attrNameLst>
                                      </p:cBhvr>
                                      <p:to>
                                        <p:strVal val="visible"/>
                                      </p:to>
                                    </p:set>
                                    <p:animEffect filter="fade" transition="in">
                                      <p:cBhvr>
                                        <p:cTn dur="500" id="54"/>
                                        <p:tgtEl>
                                          <p:spTgt spid="93"/>
                                        </p:tgtEl>
                                      </p:cBhvr>
                                    </p:animEffect>
                                  </p:childTnLst>
                                </p:cTn>
                              </p:par>
                            </p:childTnLst>
                          </p:cTn>
                        </p:par>
                      </p:childTnLst>
                    </p:cTn>
                  </p:par>
                  <p:par>
                    <p:cTn fill="hold" id="55" nodeType="clickPar">
                      <p:stCondLst>
                        <p:cond delay="indefinite"/>
                        <p:cond delay="0" evt="onBegin">
                          <p:tn val="54"/>
                        </p:cond>
                      </p:stCondLst>
                      <p:childTnLst>
                        <p:par>
                          <p:cTn fill="hold" id="56" nodeType="afterGroup">
                            <p:stCondLst>
                              <p:cond delay="0"/>
                            </p:stCondLst>
                            <p:childTnLst>
                              <p:par>
                                <p:cTn fill="hold" id="57" nodeType="clickEffect" presetClass="mediacall" presetID="1" presetSubtype="0">
                                  <p:stCondLst>
                                    <p:cond delay="0"/>
                                  </p:stCondLst>
                                  <p:childTnLst>
                                    <p:cmd cmd="playFrom(0.0)" type="call">
                                      <p:cBhvr>
                                        <p:cTn dur="1" fill="hold" id="58"/>
                                        <p:tgtEl>
                                          <p:spTgt spid="113"/>
                                        </p:tgtEl>
                                      </p:cBhvr>
                                    </p:cmd>
                                  </p:childTnLst>
                                </p:cTn>
                              </p:par>
                              <p:par>
                                <p:cTn fill="hold" id="60" nodeType="withEffect" presetClass="entr" presetID="10" presetSubtype="0">
                                  <p:stCondLst>
                                    <p:cond delay="0"/>
                                  </p:stCondLst>
                                  <p:childTnLst>
                                    <p:set>
                                      <p:cBhvr>
                                        <p:cTn dur="1" fill="hold" id="61">
                                          <p:stCondLst>
                                            <p:cond delay="0"/>
                                          </p:stCondLst>
                                        </p:cTn>
                                        <p:tgtEl>
                                          <p:spTgt spid="94"/>
                                        </p:tgtEl>
                                        <p:attrNameLst>
                                          <p:attrName>style.visibility</p:attrName>
                                        </p:attrNameLst>
                                      </p:cBhvr>
                                      <p:to>
                                        <p:strVal val="visible"/>
                                      </p:to>
                                    </p:set>
                                    <p:animEffect filter="fade" transition="in">
                                      <p:cBhvr>
                                        <p:cTn dur="500" id="62"/>
                                        <p:tgtEl>
                                          <p:spTgt spid="94"/>
                                        </p:tgtEl>
                                      </p:cBhvr>
                                    </p:animEffect>
                                  </p:childTnLst>
                                </p:cTn>
                              </p:par>
                              <p:par>
                                <p:cTn fill="hold" id="63" nodeType="withEffect" presetClass="entr" presetID="10" presetSubtype="0">
                                  <p:stCondLst>
                                    <p:cond delay="0"/>
                                  </p:stCondLst>
                                  <p:childTnLst>
                                    <p:set>
                                      <p:cBhvr>
                                        <p:cTn dur="1" fill="hold" id="64">
                                          <p:stCondLst>
                                            <p:cond delay="0"/>
                                          </p:stCondLst>
                                        </p:cTn>
                                        <p:tgtEl>
                                          <p:spTgt spid="95"/>
                                        </p:tgtEl>
                                        <p:attrNameLst>
                                          <p:attrName>style.visibility</p:attrName>
                                        </p:attrNameLst>
                                      </p:cBhvr>
                                      <p:to>
                                        <p:strVal val="visible"/>
                                      </p:to>
                                    </p:set>
                                    <p:animEffect filter="fade" transition="in">
                                      <p:cBhvr>
                                        <p:cTn dur="500" id="65"/>
                                        <p:tgtEl>
                                          <p:spTgt spid="95"/>
                                        </p:tgtEl>
                                      </p:cBhvr>
                                    </p:animEffect>
                                  </p:childTnLst>
                                </p:cTn>
                              </p:par>
                              <p:par>
                                <p:cTn fill="hold" id="66" nodeType="withEffect" presetClass="entr" presetID="10" presetSubtype="0">
                                  <p:stCondLst>
                                    <p:cond delay="0"/>
                                  </p:stCondLst>
                                  <p:childTnLst>
                                    <p:set>
                                      <p:cBhvr>
                                        <p:cTn dur="1" fill="hold" id="67">
                                          <p:stCondLst>
                                            <p:cond delay="0"/>
                                          </p:stCondLst>
                                        </p:cTn>
                                        <p:tgtEl>
                                          <p:spTgt spid="96"/>
                                        </p:tgtEl>
                                        <p:attrNameLst>
                                          <p:attrName>style.visibility</p:attrName>
                                        </p:attrNameLst>
                                      </p:cBhvr>
                                      <p:to>
                                        <p:strVal val="visible"/>
                                      </p:to>
                                    </p:set>
                                    <p:animEffect filter="fade" transition="in">
                                      <p:cBhvr>
                                        <p:cTn dur="500" id="68"/>
                                        <p:tgtEl>
                                          <p:spTgt spid="96"/>
                                        </p:tgtEl>
                                      </p:cBhvr>
                                    </p:animEffect>
                                  </p:childTnLst>
                                </p:cTn>
                              </p:par>
                              <p:par>
                                <p:cTn fill="hold" grpId="0" id="69" nodeType="withEffect" presetClass="entr" presetID="10" presetSubtype="0">
                                  <p:stCondLst>
                                    <p:cond delay="0"/>
                                  </p:stCondLst>
                                  <p:childTnLst>
                                    <p:set>
                                      <p:cBhvr>
                                        <p:cTn dur="1" fill="hold" id="70">
                                          <p:stCondLst>
                                            <p:cond delay="0"/>
                                          </p:stCondLst>
                                        </p:cTn>
                                        <p:tgtEl>
                                          <p:spTgt spid="100"/>
                                        </p:tgtEl>
                                        <p:attrNameLst>
                                          <p:attrName>style.visibility</p:attrName>
                                        </p:attrNameLst>
                                      </p:cBhvr>
                                      <p:to>
                                        <p:strVal val="visible"/>
                                      </p:to>
                                    </p:set>
                                    <p:animEffect filter="fade" transition="in">
                                      <p:cBhvr>
                                        <p:cTn dur="500" id="71"/>
                                        <p:tgtEl>
                                          <p:spTgt spid="100"/>
                                        </p:tgtEl>
                                      </p:cBhvr>
                                    </p:animEffect>
                                  </p:childTnLst>
                                </p:cTn>
                              </p:par>
                              <p:par>
                                <p:cTn fill="hold" grpId="0" id="72" nodeType="withEffect" presetClass="entr" presetID="10" presetSubtype="0">
                                  <p:stCondLst>
                                    <p:cond delay="0"/>
                                  </p:stCondLst>
                                  <p:childTnLst>
                                    <p:set>
                                      <p:cBhvr>
                                        <p:cTn dur="1" fill="hold" id="73">
                                          <p:stCondLst>
                                            <p:cond delay="0"/>
                                          </p:stCondLst>
                                        </p:cTn>
                                        <p:tgtEl>
                                          <p:spTgt spid="99"/>
                                        </p:tgtEl>
                                        <p:attrNameLst>
                                          <p:attrName>style.visibility</p:attrName>
                                        </p:attrNameLst>
                                      </p:cBhvr>
                                      <p:to>
                                        <p:strVal val="visible"/>
                                      </p:to>
                                    </p:set>
                                    <p:animEffect filter="fade" transition="in">
                                      <p:cBhvr>
                                        <p:cTn dur="500" id="74"/>
                                        <p:tgtEl>
                                          <p:spTgt spid="99"/>
                                        </p:tgtEl>
                                      </p:cBhvr>
                                    </p:animEffect>
                                  </p:childTnLst>
                                </p:cTn>
                              </p:par>
                              <p:par>
                                <p:cTn fill="hold" grpId="0" id="75" nodeType="withEffect" presetClass="entr" presetID="10" presetSubtype="0">
                                  <p:stCondLst>
                                    <p:cond delay="0"/>
                                  </p:stCondLst>
                                  <p:childTnLst>
                                    <p:set>
                                      <p:cBhvr>
                                        <p:cTn dur="1" fill="hold" id="76">
                                          <p:stCondLst>
                                            <p:cond delay="0"/>
                                          </p:stCondLst>
                                        </p:cTn>
                                        <p:tgtEl>
                                          <p:spTgt spid="98"/>
                                        </p:tgtEl>
                                        <p:attrNameLst>
                                          <p:attrName>style.visibility</p:attrName>
                                        </p:attrNameLst>
                                      </p:cBhvr>
                                      <p:to>
                                        <p:strVal val="visible"/>
                                      </p:to>
                                    </p:set>
                                    <p:animEffect filter="fade" transition="in">
                                      <p:cBhvr>
                                        <p:cTn dur="500" id="77"/>
                                        <p:tgtEl>
                                          <p:spTgt spid="98"/>
                                        </p:tgtEl>
                                      </p:cBhvr>
                                    </p:animEffect>
                                  </p:childTnLst>
                                </p:cTn>
                              </p:par>
                              <p:par>
                                <p:cTn fill="hold" grpId="0" id="78" nodeType="withEffect" presetClass="entr" presetID="10" presetSubtype="0">
                                  <p:stCondLst>
                                    <p:cond delay="0"/>
                                  </p:stCondLst>
                                  <p:childTnLst>
                                    <p:set>
                                      <p:cBhvr>
                                        <p:cTn dur="1" fill="hold" id="79">
                                          <p:stCondLst>
                                            <p:cond delay="0"/>
                                          </p:stCondLst>
                                        </p:cTn>
                                        <p:tgtEl>
                                          <p:spTgt spid="97"/>
                                        </p:tgtEl>
                                        <p:attrNameLst>
                                          <p:attrName>style.visibility</p:attrName>
                                        </p:attrNameLst>
                                      </p:cBhvr>
                                      <p:to>
                                        <p:strVal val="visible"/>
                                      </p:to>
                                    </p:set>
                                    <p:animEffect filter="fade" transition="in">
                                      <p:cBhvr>
                                        <p:cTn dur="500" id="80"/>
                                        <p:tgtEl>
                                          <p:spTgt spid="97"/>
                                        </p:tgtEl>
                                      </p:cBhvr>
                                    </p:animEffect>
                                  </p:childTnLst>
                                </p:cTn>
                              </p:par>
                            </p:childTnLst>
                          </p:cTn>
                        </p:par>
                        <p:par>
                          <p:cTn fill="hold" id="81" nodeType="afterGroup">
                            <p:stCondLst>
                              <p:cond delay="500"/>
                            </p:stCondLst>
                            <p:childTnLst>
                              <p:par>
                                <p:cTn fill="hold" grpId="0" id="82" nodeType="afterEffect" presetClass="entr" presetID="22" presetSubtype="8">
                                  <p:stCondLst>
                                    <p:cond delay="0"/>
                                  </p:stCondLst>
                                  <p:childTnLst>
                                    <p:set>
                                      <p:cBhvr>
                                        <p:cTn dur="1" fill="hold" id="83">
                                          <p:stCondLst>
                                            <p:cond delay="0"/>
                                          </p:stCondLst>
                                        </p:cTn>
                                        <p:tgtEl>
                                          <p:spTgt spid="101"/>
                                        </p:tgtEl>
                                        <p:attrNameLst>
                                          <p:attrName>style.visibility</p:attrName>
                                        </p:attrNameLst>
                                      </p:cBhvr>
                                      <p:to>
                                        <p:strVal val="visible"/>
                                      </p:to>
                                    </p:set>
                                    <p:animEffect filter="wipe(left)" transition="in">
                                      <p:cBhvr>
                                        <p:cTn dur="500" id="84"/>
                                        <p:tgtEl>
                                          <p:spTgt spid="101"/>
                                        </p:tgtEl>
                                      </p:cBhvr>
                                    </p:animEffect>
                                  </p:childTnLst>
                                </p:cTn>
                              </p:par>
                            </p:childTnLst>
                          </p:cTn>
                        </p:par>
                        <p:par>
                          <p:cTn fill="hold" id="85" nodeType="afterGroup">
                            <p:stCondLst>
                              <p:cond delay="1000"/>
                            </p:stCondLst>
                            <p:childTnLst>
                              <p:par>
                                <p:cTn fill="hold" grpId="0" id="86" nodeType="afterEffect" presetClass="entr" presetID="22" presetSubtype="8">
                                  <p:stCondLst>
                                    <p:cond delay="0"/>
                                  </p:stCondLst>
                                  <p:iterate type="lt">
                                    <p:tmPct val="30000"/>
                                  </p:iterate>
                                  <p:childTnLst>
                                    <p:set>
                                      <p:cBhvr>
                                        <p:cTn dur="1" fill="hold" id="87">
                                          <p:stCondLst>
                                            <p:cond delay="0"/>
                                          </p:stCondLst>
                                        </p:cTn>
                                        <p:tgtEl>
                                          <p:spTgt spid="102"/>
                                        </p:tgtEl>
                                        <p:attrNameLst>
                                          <p:attrName>style.visibility</p:attrName>
                                        </p:attrNameLst>
                                      </p:cBhvr>
                                      <p:to>
                                        <p:strVal val="visible"/>
                                      </p:to>
                                    </p:set>
                                    <p:animEffect filter="wipe(left)" transition="in">
                                      <p:cBhvr>
                                        <p:cTn dur="100" id="88"/>
                                        <p:tgtEl>
                                          <p:spTgt spid="102"/>
                                        </p:tgtEl>
                                      </p:cBhvr>
                                    </p:animEffect>
                                  </p:childTnLst>
                                </p:cTn>
                              </p:par>
                              <p:par>
                                <p:cTn fill="hold" grpId="1" id="89" nodeType="withEffect" presetClass="emph" presetID="36" presetSubtype="0">
                                  <p:stCondLst>
                                    <p:cond delay="0"/>
                                  </p:stCondLst>
                                  <p:iterate type="lt">
                                    <p:tmPct val="30000"/>
                                  </p:iterate>
                                  <p:childTnLst>
                                    <p:animScale>
                                      <p:cBhvr>
                                        <p:cTn autoRev="1" dur="50" fill="hold" id="90">
                                          <p:stCondLst>
                                            <p:cond delay="0"/>
                                          </p:stCondLst>
                                        </p:cTn>
                                        <p:tgtEl>
                                          <p:spTgt spid="102"/>
                                        </p:tgtEl>
                                      </p:cBhvr>
                                      <p:to x="80000" y="100000"/>
                                    </p:animScale>
                                    <p:anim by="(#ppt_w*0.10)" calcmode="lin" valueType="num">
                                      <p:cBhvr>
                                        <p:cTn autoRev="1" dur="50" fill="hold" id="91">
                                          <p:stCondLst>
                                            <p:cond delay="0"/>
                                          </p:stCondLst>
                                        </p:cTn>
                                        <p:tgtEl>
                                          <p:spTgt spid="102"/>
                                        </p:tgtEl>
                                        <p:attrNameLst>
                                          <p:attrName>ppt_x</p:attrName>
                                        </p:attrNameLst>
                                      </p:cBhvr>
                                    </p:anim>
                                    <p:anim by="(-#ppt_w*0.10)" calcmode="lin" valueType="num">
                                      <p:cBhvr>
                                        <p:cTn autoRev="1" dur="50" fill="hold" id="92">
                                          <p:stCondLst>
                                            <p:cond delay="0"/>
                                          </p:stCondLst>
                                        </p:cTn>
                                        <p:tgtEl>
                                          <p:spTgt spid="102"/>
                                        </p:tgtEl>
                                        <p:attrNameLst>
                                          <p:attrName>ppt_y</p:attrName>
                                        </p:attrNameLst>
                                      </p:cBhvr>
                                    </p:anim>
                                    <p:animRot by="-480000">
                                      <p:cBhvr>
                                        <p:cTn autoRev="1" dur="50" fill="hold" id="93">
                                          <p:stCondLst>
                                            <p:cond delay="0"/>
                                          </p:stCondLst>
                                        </p:cTn>
                                        <p:tgtEl>
                                          <p:spTgt spid="102"/>
                                        </p:tgtEl>
                                        <p:attrNameLst>
                                          <p:attrName>r</p:attrName>
                                        </p:attrNameLst>
                                      </p:cBhvr>
                                    </p:animRo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59">
                  <p:stCondLst>
                    <p:cond delay="indefinite"/>
                  </p:stCondLst>
                  <p:endCondLst>
                    <p:cond delay="0" evt="onPrev">
                      <p:tgtEl>
                        <p:sldTgt/>
                      </p:tgtEl>
                    </p:cond>
                    <p:cond delay="0" evt="onStopAudio">
                      <p:tgtEl>
                        <p:sldTgt/>
                      </p:tgtEl>
                    </p:cond>
                  </p:endCondLst>
                </p:cTn>
                <p:tgtEl>
                  <p:spTgt spid="113"/>
                </p:tgtEl>
              </p:cMediaNode>
            </p:audio>
          </p:childTnLst>
        </p:cTn>
      </p:par>
    </p:tnLst>
    <p:bldLst>
      <p:bldP grpId="0" spid="85"/>
      <p:bldP grpId="0" spid="86"/>
      <p:bldP grpId="0" spid="87"/>
      <p:bldP grpId="0" spid="88"/>
      <p:bldP grpId="0" spid="97"/>
      <p:bldP grpId="0" spid="98"/>
      <p:bldP grpId="0" spid="99"/>
      <p:bldP grpId="0" spid="100"/>
      <p:bldP grpId="0" spid="101"/>
      <p:bldP grpId="0" spid="102"/>
      <p:bldP grpId="1" spid="102"/>
      <p:bldP grpId="0" spid="105"/>
      <p:bldP grpId="0" spid="108"/>
    </p:bldLst>
  </p:timing>
  <p:extLst mod="1">
    <p:ext uri="{E180D4A7-C9FB-4DFB-919C-405C955672EB}">
      <p14:showEvtLst>
        <p14:playEvt objId="113" time="1315"/>
        <p14:stopEvt objId="113" time="2085"/>
      </p14:showEvtLst>
    </p:ext>
  </p:extLst>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69" name="Freeform 19"/>
          <p:cNvSpPr>
            <a:spLocks noChangeArrowheads="1"/>
          </p:cNvSpPr>
          <p:nvPr/>
        </p:nvSpPr>
        <p:spPr bwMode="auto">
          <a:xfrm>
            <a:off x="1157923" y="3048969"/>
            <a:ext cx="1569085" cy="1354114"/>
          </a:xfrm>
          <a:custGeom>
            <a:gdLst>
              <a:gd fmla="*/ 2117019 w 18" name="T0"/>
              <a:gd fmla="*/ 0 h 17" name="T1"/>
              <a:gd fmla="*/ 2241550 w 18" name="T2"/>
              <a:gd fmla="*/ 114300 h 17" name="T3"/>
              <a:gd fmla="*/ 2241550 w 18" name="T4"/>
              <a:gd fmla="*/ 1257300 h 17" name="T5"/>
              <a:gd fmla="*/ 2117019 w 18" name="T6"/>
              <a:gd fmla="*/ 1485900 h 17" name="T7"/>
              <a:gd fmla="*/ 1245306 w 18" name="T8"/>
              <a:gd fmla="*/ 1943100 h 17" name="T9"/>
              <a:gd fmla="*/ 996244 w 18" name="T10"/>
              <a:gd fmla="*/ 1943100 h 17" name="T11"/>
              <a:gd fmla="*/ 124531 w 18" name="T12"/>
              <a:gd fmla="*/ 1485900 h 17" name="T13"/>
              <a:gd fmla="*/ 0 w 18" name="T14"/>
              <a:gd fmla="*/ 1257300 h 17" name="T15"/>
              <a:gd fmla="*/ 0 w 18" name="T16"/>
              <a:gd fmla="*/ 114300 h 17" name="T17"/>
              <a:gd fmla="*/ 124531 w 18" name="T18"/>
              <a:gd fmla="*/ 0 h 17" name="T19"/>
              <a:gd fmla="*/ 2117019 w 18" name="T20"/>
              <a:gd fmla="*/ 0 h 17" name="T21"/>
              <a:gd fmla="*/ 0 60000 65536" name="T22"/>
              <a:gd fmla="*/ 0 60000 65536"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b="b" l="0" r="r" t="0"/>
            <a:pathLst>
              <a:path h="17" w="18">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bIns="31949" lIns="63898" rIns="63898" tIns="31949"/>
          <a:lstStyle/>
          <a:p>
            <a:endParaRPr altLang="en-US" lang="zh-CN"/>
          </a:p>
        </p:txBody>
      </p:sp>
      <p:sp>
        <p:nvSpPr>
          <p:cNvPr id="70" name="Freeform 20"/>
          <p:cNvSpPr>
            <a:spLocks noChangeArrowheads="1"/>
          </p:cNvSpPr>
          <p:nvPr/>
        </p:nvSpPr>
        <p:spPr bwMode="auto">
          <a:xfrm>
            <a:off x="1157923" y="2411739"/>
            <a:ext cx="1569085" cy="1353008"/>
          </a:xfrm>
          <a:custGeom>
            <a:gdLst>
              <a:gd fmla="*/ 2117019 w 18" name="T0"/>
              <a:gd fmla="*/ 0 h 17" name="T1"/>
              <a:gd fmla="*/ 2241550 w 18" name="T2"/>
              <a:gd fmla="*/ 114207 h 17" name="T3"/>
              <a:gd fmla="*/ 2241550 w 18" name="T4"/>
              <a:gd fmla="*/ 1256273 h 17" name="T5"/>
              <a:gd fmla="*/ 2117019 w 18" name="T6"/>
              <a:gd fmla="*/ 1484686 h 17" name="T7"/>
              <a:gd fmla="*/ 1245306 w 18" name="T8"/>
              <a:gd fmla="*/ 1941513 h 17" name="T9"/>
              <a:gd fmla="*/ 996244 w 18" name="T10"/>
              <a:gd fmla="*/ 1941513 h 17" name="T11"/>
              <a:gd fmla="*/ 124531 w 18" name="T12"/>
              <a:gd fmla="*/ 1484686 h 17" name="T13"/>
              <a:gd fmla="*/ 0 w 18" name="T14"/>
              <a:gd fmla="*/ 1256273 h 17" name="T15"/>
              <a:gd fmla="*/ 0 w 18" name="T16"/>
              <a:gd fmla="*/ 114207 h 17" name="T17"/>
              <a:gd fmla="*/ 124531 w 18" name="T18"/>
              <a:gd fmla="*/ 0 h 17" name="T19"/>
              <a:gd fmla="*/ 2117019 w 18" name="T20"/>
              <a:gd fmla="*/ 0 h 17" name="T21"/>
              <a:gd fmla="*/ 0 60000 65536" name="T22"/>
              <a:gd fmla="*/ 0 60000 65536"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b="b" l="0" r="r" t="0"/>
            <a:pathLst>
              <a:path h="17" w="18">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anchor="ctr" bIns="33688" lIns="67376" rIns="67376" tIns="33688"/>
          <a:lstStyle/>
          <a:p>
            <a:endParaRPr altLang="en-US" lang="zh-CN"/>
          </a:p>
        </p:txBody>
      </p:sp>
      <p:sp>
        <p:nvSpPr>
          <p:cNvPr id="71" name="Freeform 21"/>
          <p:cNvSpPr>
            <a:spLocks noChangeArrowheads="1"/>
          </p:cNvSpPr>
          <p:nvPr/>
        </p:nvSpPr>
        <p:spPr bwMode="auto">
          <a:xfrm>
            <a:off x="1157923" y="1773403"/>
            <a:ext cx="1569085" cy="1354114"/>
          </a:xfrm>
          <a:custGeom>
            <a:gdLst>
              <a:gd fmla="*/ 2117019 w 18" name="T0"/>
              <a:gd fmla="*/ 0 h 17" name="T1"/>
              <a:gd fmla="*/ 2241550 w 18" name="T2"/>
              <a:gd fmla="*/ 114300 h 17" name="T3"/>
              <a:gd fmla="*/ 2241550 w 18" name="T4"/>
              <a:gd fmla="*/ 1257300 h 17" name="T5"/>
              <a:gd fmla="*/ 2117019 w 18" name="T6"/>
              <a:gd fmla="*/ 1485900 h 17" name="T7"/>
              <a:gd fmla="*/ 1245306 w 18" name="T8"/>
              <a:gd fmla="*/ 1943100 h 17" name="T9"/>
              <a:gd fmla="*/ 996244 w 18" name="T10"/>
              <a:gd fmla="*/ 1943100 h 17" name="T11"/>
              <a:gd fmla="*/ 124531 w 18" name="T12"/>
              <a:gd fmla="*/ 1485900 h 17" name="T13"/>
              <a:gd fmla="*/ 0 w 18" name="T14"/>
              <a:gd fmla="*/ 1257300 h 17" name="T15"/>
              <a:gd fmla="*/ 0 w 18" name="T16"/>
              <a:gd fmla="*/ 114300 h 17" name="T17"/>
              <a:gd fmla="*/ 124531 w 18" name="T18"/>
              <a:gd fmla="*/ 0 h 17" name="T19"/>
              <a:gd fmla="*/ 2117019 w 18" name="T20"/>
              <a:gd fmla="*/ 0 h 17" name="T21"/>
              <a:gd fmla="*/ 0 60000 65536" name="T22"/>
              <a:gd fmla="*/ 0 60000 65536"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b="b" l="0" r="r" t="0"/>
            <a:pathLst>
              <a:path h="17" w="18">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a:extLst/>
        </p:spPr>
        <p:txBody>
          <a:bodyPr bIns="31949" lIns="63898" rIns="63898" tIns="31949"/>
          <a:lstStyle/>
          <a:p>
            <a:endParaRPr altLang="en-US" lang="zh-CN"/>
          </a:p>
        </p:txBody>
      </p:sp>
      <p:sp>
        <p:nvSpPr>
          <p:cNvPr id="72" name="Freeform 22"/>
          <p:cNvSpPr>
            <a:spLocks noChangeArrowheads="1"/>
          </p:cNvSpPr>
          <p:nvPr/>
        </p:nvSpPr>
        <p:spPr bwMode="auto">
          <a:xfrm>
            <a:off x="1157923" y="1136173"/>
            <a:ext cx="1569085" cy="1355220"/>
          </a:xfrm>
          <a:custGeom>
            <a:gdLst>
              <a:gd fmla="*/ 2117019 w 18" name="T0"/>
              <a:gd fmla="*/ 0 h 17" name="T1"/>
              <a:gd fmla="*/ 2241550 w 18" name="T2"/>
              <a:gd fmla="*/ 114393 h 17" name="T3"/>
              <a:gd fmla="*/ 2241550 w 18" name="T4"/>
              <a:gd fmla="*/ 1258327 h 17" name="T5"/>
              <a:gd fmla="*/ 2117019 w 18" name="T6"/>
              <a:gd fmla="*/ 1487114 h 17" name="T7"/>
              <a:gd fmla="*/ 1245306 w 18" name="T8"/>
              <a:gd fmla="*/ 1944687 h 17" name="T9"/>
              <a:gd fmla="*/ 996244 w 18" name="T10"/>
              <a:gd fmla="*/ 1944687 h 17" name="T11"/>
              <a:gd fmla="*/ 124531 w 18" name="T12"/>
              <a:gd fmla="*/ 1487114 h 17" name="T13"/>
              <a:gd fmla="*/ 0 w 18" name="T14"/>
              <a:gd fmla="*/ 1258327 h 17" name="T15"/>
              <a:gd fmla="*/ 0 w 18" name="T16"/>
              <a:gd fmla="*/ 114393 h 17" name="T17"/>
              <a:gd fmla="*/ 124531 w 18" name="T18"/>
              <a:gd fmla="*/ 0 h 17" name="T19"/>
              <a:gd fmla="*/ 2117019 w 18" name="T20"/>
              <a:gd fmla="*/ 0 h 17" name="T21"/>
              <a:gd fmla="*/ 0 60000 65536" name="T22"/>
              <a:gd fmla="*/ 0 60000 65536"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b="b" l="0" r="r" t="0"/>
            <a:pathLst>
              <a:path h="17" w="18">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a:extLst/>
        </p:spPr>
        <p:txBody>
          <a:bodyPr anchor="ctr" bIns="33688" lIns="67376" rIns="67376" tIns="33688"/>
          <a:lstStyle/>
          <a:p>
            <a:endParaRPr altLang="en-US" lang="zh-CN"/>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flipH="1">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flipH="1">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flipH="1">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H="1">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0514"/>
          </a:xfrm>
          <a:prstGeom prst="rect">
            <a:avLst/>
          </a:prstGeom>
          <a:noFill/>
        </p:spPr>
        <p:txBody>
          <a:bodyPr bIns="31949" lIns="63898" rIns="63898" tIns="31949">
            <a:spAutoFit/>
          </a:bodyPr>
          <a:lstStyle/>
          <a:p>
            <a:pPr algn="ctr" eaLnBrk="1" hangingPunct="1">
              <a:lnSpc>
                <a:spcPct val="130000"/>
              </a:lnSpc>
              <a:defRPr/>
            </a:pPr>
            <a:r>
              <a:rPr altLang="zh-CN" lang="en-US" noProof="1">
                <a:solidFill>
                  <a:schemeClr val="bg1"/>
                </a:solidFill>
                <a:latin charset="0" pitchFamily="34" typeface="Arial"/>
                <a:ea charset="-122" panose="020b0503020204020204" pitchFamily="34" typeface="微软雅黑"/>
                <a:sym charset="0" pitchFamily="34" typeface="Arial"/>
              </a:rPr>
              <a:t>  01</a:t>
            </a:r>
          </a:p>
        </p:txBody>
      </p:sp>
      <p:sp>
        <p:nvSpPr>
          <p:cNvPr id="82" name="文本框 59"/>
          <p:cNvSpPr txBox="1"/>
          <p:nvPr/>
        </p:nvSpPr>
        <p:spPr>
          <a:xfrm>
            <a:off x="1446848" y="2556665"/>
            <a:ext cx="991235" cy="420514"/>
          </a:xfrm>
          <a:prstGeom prst="rect">
            <a:avLst/>
          </a:prstGeom>
          <a:noFill/>
        </p:spPr>
        <p:txBody>
          <a:bodyPr bIns="31949" lIns="63898" rIns="63898" tIns="31949">
            <a:spAutoFit/>
          </a:bodyPr>
          <a:lstStyle/>
          <a:p>
            <a:pPr algn="ctr" eaLnBrk="1" hangingPunct="1">
              <a:lnSpc>
                <a:spcPct val="130000"/>
              </a:lnSpc>
              <a:defRPr/>
            </a:pPr>
            <a:r>
              <a:rPr altLang="zh-CN" lang="en-US" noProof="1">
                <a:solidFill>
                  <a:schemeClr val="bg1"/>
                </a:solidFill>
                <a:latin charset="0" pitchFamily="34" typeface="Arial"/>
                <a:ea charset="-122" panose="020b0503020204020204" pitchFamily="34" typeface="微软雅黑"/>
                <a:sym charset="0" pitchFamily="34" typeface="Arial"/>
              </a:rPr>
              <a:t>  02</a:t>
            </a:r>
          </a:p>
        </p:txBody>
      </p:sp>
      <p:sp>
        <p:nvSpPr>
          <p:cNvPr id="83" name="文本框 60"/>
          <p:cNvSpPr txBox="1"/>
          <p:nvPr/>
        </p:nvSpPr>
        <p:spPr>
          <a:xfrm>
            <a:off x="1446848" y="3191682"/>
            <a:ext cx="991235" cy="420514"/>
          </a:xfrm>
          <a:prstGeom prst="rect">
            <a:avLst/>
          </a:prstGeom>
          <a:noFill/>
        </p:spPr>
        <p:txBody>
          <a:bodyPr bIns="31949" lIns="63898" rIns="63898" tIns="31949">
            <a:spAutoFit/>
          </a:bodyPr>
          <a:lstStyle/>
          <a:p>
            <a:pPr algn="ctr" eaLnBrk="1" hangingPunct="1">
              <a:lnSpc>
                <a:spcPct val="130000"/>
              </a:lnSpc>
              <a:defRPr/>
            </a:pPr>
            <a:r>
              <a:rPr altLang="zh-CN" lang="en-US" noProof="1">
                <a:solidFill>
                  <a:schemeClr val="bg1"/>
                </a:solidFill>
                <a:latin charset="0" pitchFamily="34" typeface="Arial"/>
                <a:ea charset="-122" panose="020b0503020204020204" pitchFamily="34" typeface="微软雅黑"/>
                <a:sym charset="0" pitchFamily="34" typeface="Arial"/>
              </a:rPr>
              <a:t>  03</a:t>
            </a:r>
          </a:p>
        </p:txBody>
      </p:sp>
      <p:sp>
        <p:nvSpPr>
          <p:cNvPr id="84" name="文本框 61"/>
          <p:cNvSpPr txBox="1"/>
          <p:nvPr/>
        </p:nvSpPr>
        <p:spPr>
          <a:xfrm>
            <a:off x="1446848" y="3817849"/>
            <a:ext cx="991235" cy="420514"/>
          </a:xfrm>
          <a:prstGeom prst="rect">
            <a:avLst/>
          </a:prstGeom>
          <a:noFill/>
        </p:spPr>
        <p:txBody>
          <a:bodyPr bIns="31949" lIns="63898" rIns="63898" tIns="31949">
            <a:spAutoFit/>
          </a:bodyPr>
          <a:lstStyle/>
          <a:p>
            <a:pPr algn="ctr" eaLnBrk="1" hangingPunct="1">
              <a:lnSpc>
                <a:spcPct val="130000"/>
              </a:lnSpc>
              <a:defRPr/>
            </a:pPr>
            <a:r>
              <a:rPr altLang="zh-CN" lang="en-US" noProof="1">
                <a:solidFill>
                  <a:schemeClr val="bg1"/>
                </a:solidFill>
                <a:latin charset="0" pitchFamily="34" typeface="Arial"/>
                <a:ea charset="-122" panose="020b0503020204020204" pitchFamily="34" typeface="微软雅黑"/>
                <a:sym charset="0" pitchFamily="34" typeface="Arial"/>
              </a:rPr>
              <a:t>  04</a:t>
            </a: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gdLst>
                <a:gd fmla="*/ 0 w 127" name="T0"/>
                <a:gd fmla="*/ 0 h 127" name="T1"/>
                <a:gd fmla="*/ 0 w 127" name="T2"/>
                <a:gd fmla="*/ 21 h 127" name="T3"/>
                <a:gd fmla="*/ 107 w 127" name="T4"/>
                <a:gd fmla="*/ 21 h 127" name="T5"/>
                <a:gd fmla="*/ 107 w 127" name="T6"/>
                <a:gd fmla="*/ 127 h 127" name="T7"/>
                <a:gd fmla="*/ 127 w 127" name="T8"/>
                <a:gd fmla="*/ 127 h 127" name="T9"/>
                <a:gd fmla="*/ 127 w 127" name="T10"/>
                <a:gd fmla="*/ 0 h 127" name="T11"/>
                <a:gd fmla="*/ 0 w 127" name="T12"/>
                <a:gd fmla="*/ 0 h 127" name="T13"/>
              </a:gdLst>
              <a:cxnLst>
                <a:cxn ang="0">
                  <a:pos x="T0" y="T1"/>
                </a:cxn>
                <a:cxn ang="0">
                  <a:pos x="T2" y="T3"/>
                </a:cxn>
                <a:cxn ang="0">
                  <a:pos x="T4" y="T5"/>
                </a:cxn>
                <a:cxn ang="0">
                  <a:pos x="T6" y="T7"/>
                </a:cxn>
                <a:cxn ang="0">
                  <a:pos x="T8" y="T9"/>
                </a:cxn>
                <a:cxn ang="0">
                  <a:pos x="T10" y="T11"/>
                </a:cxn>
                <a:cxn ang="0">
                  <a:pos x="T12" y="T13"/>
                </a:cxn>
              </a:cxnLst>
              <a:rect b="b" l="0" r="r" t="0"/>
              <a:pathLst>
                <a:path h="127" w="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87" name="Freeform 48"/>
            <p:cNvSpPr/>
            <p:nvPr/>
          </p:nvSpPr>
          <p:spPr bwMode="auto">
            <a:xfrm>
              <a:off x="101600" y="671513"/>
              <a:ext cx="201613" cy="200025"/>
            </a:xfrm>
            <a:custGeom>
              <a:gdLst>
                <a:gd fmla="*/ 0 w 127" name="T0"/>
                <a:gd fmla="*/ 0 h 126" name="T1"/>
                <a:gd fmla="*/ 0 w 127" name="T2"/>
                <a:gd fmla="*/ 126 h 126" name="T3"/>
                <a:gd fmla="*/ 127 w 127" name="T4"/>
                <a:gd fmla="*/ 126 h 126" name="T5"/>
                <a:gd fmla="*/ 127 w 127" name="T6"/>
                <a:gd fmla="*/ 106 h 126" name="T7"/>
                <a:gd fmla="*/ 21 w 127" name="T8"/>
                <a:gd fmla="*/ 106 h 126" name="T9"/>
                <a:gd fmla="*/ 21 w 127" name="T10"/>
                <a:gd fmla="*/ 0 h 126" name="T11"/>
                <a:gd fmla="*/ 0 w 127" name="T12"/>
                <a:gd fmla="*/ 0 h 126" name="T13"/>
                <a:gd fmla="*/ 0 w 127" name="T14"/>
                <a:gd fmla="*/ 0 h 1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25" w="127">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88" name="Freeform 49"/>
            <p:cNvSpPr/>
            <p:nvPr/>
          </p:nvSpPr>
          <p:spPr bwMode="auto">
            <a:xfrm>
              <a:off x="674688" y="671513"/>
              <a:ext cx="201613" cy="200025"/>
            </a:xfrm>
            <a:custGeom>
              <a:gdLst>
                <a:gd fmla="*/ 107 w 127" name="T0"/>
                <a:gd fmla="*/ 0 h 126" name="T1"/>
                <a:gd fmla="*/ 107 w 127" name="T2"/>
                <a:gd fmla="*/ 106 h 126" name="T3"/>
                <a:gd fmla="*/ 0 w 127" name="T4"/>
                <a:gd fmla="*/ 106 h 126" name="T5"/>
                <a:gd fmla="*/ 0 w 127" name="T6"/>
                <a:gd fmla="*/ 126 h 126" name="T7"/>
                <a:gd fmla="*/ 127 w 127" name="T8"/>
                <a:gd fmla="*/ 126 h 126" name="T9"/>
                <a:gd fmla="*/ 127 w 127" name="T10"/>
                <a:gd fmla="*/ 0 h 126" name="T11"/>
                <a:gd fmla="*/ 107 w 127" name="T12"/>
                <a:gd fmla="*/ 0 h 126" name="T13"/>
                <a:gd fmla="*/ 107 w 127" name="T14"/>
                <a:gd fmla="*/ 0 h 1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25" w="127">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89" name="Freeform 50"/>
            <p:cNvSpPr/>
            <p:nvPr/>
          </p:nvSpPr>
          <p:spPr bwMode="auto">
            <a:xfrm>
              <a:off x="101600" y="98425"/>
              <a:ext cx="201613" cy="201613"/>
            </a:xfrm>
            <a:custGeom>
              <a:gdLst>
                <a:gd fmla="*/ 0 w 127" name="T0"/>
                <a:gd fmla="*/ 0 h 127" name="T1"/>
                <a:gd fmla="*/ 0 w 127" name="T2"/>
                <a:gd fmla="*/ 127 h 127" name="T3"/>
                <a:gd fmla="*/ 21 w 127" name="T4"/>
                <a:gd fmla="*/ 127 h 127" name="T5"/>
                <a:gd fmla="*/ 21 w 127" name="T6"/>
                <a:gd fmla="*/ 21 h 127" name="T7"/>
                <a:gd fmla="*/ 127 w 127" name="T8"/>
                <a:gd fmla="*/ 21 h 127" name="T9"/>
                <a:gd fmla="*/ 127 w 127" name="T10"/>
                <a:gd fmla="*/ 0 h 127" name="T11"/>
                <a:gd fmla="*/ 0 w 127" name="T12"/>
                <a:gd fmla="*/ 0 h 127" name="T13"/>
              </a:gdLst>
              <a:cxnLst>
                <a:cxn ang="0">
                  <a:pos x="T0" y="T1"/>
                </a:cxn>
                <a:cxn ang="0">
                  <a:pos x="T2" y="T3"/>
                </a:cxn>
                <a:cxn ang="0">
                  <a:pos x="T4" y="T5"/>
                </a:cxn>
                <a:cxn ang="0">
                  <a:pos x="T6" y="T7"/>
                </a:cxn>
                <a:cxn ang="0">
                  <a:pos x="T8" y="T9"/>
                </a:cxn>
                <a:cxn ang="0">
                  <a:pos x="T10" y="T11"/>
                </a:cxn>
                <a:cxn ang="0">
                  <a:pos x="T12" y="T13"/>
                </a:cxn>
              </a:cxnLst>
              <a:rect b="b" l="0" r="r" t="0"/>
              <a:pathLst>
                <a:path h="127" w="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94" name="Freeform 55"/>
            <p:cNvSpPr/>
            <p:nvPr/>
          </p:nvSpPr>
          <p:spPr bwMode="auto">
            <a:xfrm>
              <a:off x="407988" y="309563"/>
              <a:ext cx="163513" cy="169863"/>
            </a:xfrm>
            <a:custGeom>
              <a:gdLst>
                <a:gd fmla="*/ 180 w 360" name="T0"/>
                <a:gd fmla="*/ 0 h 375" name="T1"/>
                <a:gd fmla="*/ 0 w 360" name="T2"/>
                <a:gd fmla="*/ 91 h 375" name="T3"/>
                <a:gd fmla="*/ 0 w 360" name="T4"/>
                <a:gd fmla="*/ 284 h 375" name="T5"/>
                <a:gd fmla="*/ 180 w 360" name="T6"/>
                <a:gd fmla="*/ 375 h 375" name="T7"/>
                <a:gd fmla="*/ 360 w 360" name="T8"/>
                <a:gd fmla="*/ 285 h 375" name="T9"/>
                <a:gd fmla="*/ 360 w 360" name="T10"/>
                <a:gd fmla="*/ 91 h 375" name="T11"/>
                <a:gd fmla="*/ 180 w 360" name="T12"/>
                <a:gd fmla="*/ 0 h 375" name="T13"/>
              </a:gdLst>
              <a:cxnLst>
                <a:cxn ang="0">
                  <a:pos x="T0" y="T1"/>
                </a:cxn>
                <a:cxn ang="0">
                  <a:pos x="T2" y="T3"/>
                </a:cxn>
                <a:cxn ang="0">
                  <a:pos x="T4" y="T5"/>
                </a:cxn>
                <a:cxn ang="0">
                  <a:pos x="T6" y="T7"/>
                </a:cxn>
                <a:cxn ang="0">
                  <a:pos x="T8" y="T9"/>
                </a:cxn>
                <a:cxn ang="0">
                  <a:pos x="T10" y="T11"/>
                </a:cxn>
                <a:cxn ang="0">
                  <a:pos x="T12" y="T13"/>
                </a:cxn>
              </a:cxnLst>
              <a:rect b="b" l="0" r="r" t="0"/>
              <a:pathLst>
                <a:path h="375" w="360">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sp>
          <p:nvSpPr>
            <p:cNvPr id="95" name="Freeform 56"/>
            <p:cNvSpPr/>
            <p:nvPr/>
          </p:nvSpPr>
          <p:spPr bwMode="auto">
            <a:xfrm>
              <a:off x="347663" y="477838"/>
              <a:ext cx="284163" cy="184150"/>
            </a:xfrm>
            <a:custGeom>
              <a:gdLst>
                <a:gd fmla="*/ 0 w 179" name="T0"/>
                <a:gd fmla="*/ 0 h 116" name="T1"/>
                <a:gd fmla="*/ 0 w 179" name="T2"/>
                <a:gd fmla="*/ 74 h 116" name="T3"/>
                <a:gd fmla="*/ 89 w 179" name="T4"/>
                <a:gd fmla="*/ 116 h 116" name="T5"/>
                <a:gd fmla="*/ 179 w 179" name="T6"/>
                <a:gd fmla="*/ 67 h 116" name="T7"/>
                <a:gd fmla="*/ 179 w 179" name="T8"/>
                <a:gd fmla="*/ 0 h 116" name="T9"/>
                <a:gd fmla="*/ 158 w 179" name="T10"/>
                <a:gd fmla="*/ 0 h 116" name="T11"/>
                <a:gd fmla="*/ 158 w 179" name="T12"/>
                <a:gd fmla="*/ 55 h 116" name="T13"/>
                <a:gd fmla="*/ 89 w 179" name="T14"/>
                <a:gd fmla="*/ 93 h 116" name="T15"/>
                <a:gd fmla="*/ 20 w 179" name="T16"/>
                <a:gd fmla="*/ 61 h 116" name="T17"/>
                <a:gd fmla="*/ 20 w 179" name="T18"/>
                <a:gd fmla="*/ 0 h 116" name="T19"/>
                <a:gd fmla="*/ 0 w 179" name="T20"/>
                <a:gd fmla="*/ 0 h 11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15" w="179">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altLang="en-US" lang="zh-CN" noProof="1" sz="1400">
                <a:latin charset="0" pitchFamily="34" typeface="Arial"/>
                <a:ea charset="-122" panose="020b0503020204020204" pitchFamily="34" typeface="微软雅黑"/>
                <a:sym charset="0" pitchFamily="34" typeface="Arial"/>
              </a:endParaRPr>
            </a:p>
          </p:txBody>
        </p:sp>
      </p:grpSp>
      <p:sp>
        <p:nvSpPr>
          <p:cNvPr id="96" name="文本框 29"/>
          <p:cNvSpPr txBox="1">
            <a:spLocks noChangeArrowheads="1"/>
          </p:cNvSpPr>
          <p:nvPr/>
        </p:nvSpPr>
        <p:spPr bwMode="auto">
          <a:xfrm>
            <a:off x="5512912" y="106537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97" name="文本框 30"/>
          <p:cNvSpPr txBox="1">
            <a:spLocks noChangeArrowheads="1"/>
          </p:cNvSpPr>
          <p:nvPr/>
        </p:nvSpPr>
        <p:spPr bwMode="auto">
          <a:xfrm>
            <a:off x="5512912" y="1297693"/>
            <a:ext cx="2112486" cy="3382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98" name="文本框 31"/>
          <p:cNvSpPr txBox="1">
            <a:spLocks noChangeArrowheads="1"/>
          </p:cNvSpPr>
          <p:nvPr/>
        </p:nvSpPr>
        <p:spPr bwMode="auto">
          <a:xfrm>
            <a:off x="5512912" y="206436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99" name="文本框 32"/>
          <p:cNvSpPr txBox="1">
            <a:spLocks noChangeArrowheads="1"/>
          </p:cNvSpPr>
          <p:nvPr/>
        </p:nvSpPr>
        <p:spPr bwMode="auto">
          <a:xfrm>
            <a:off x="5512912" y="2297790"/>
            <a:ext cx="2112486" cy="3382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00" name="文本框 33"/>
          <p:cNvSpPr txBox="1">
            <a:spLocks noChangeArrowheads="1"/>
          </p:cNvSpPr>
          <p:nvPr/>
        </p:nvSpPr>
        <p:spPr bwMode="auto">
          <a:xfrm>
            <a:off x="5512912" y="2899619"/>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101" name="文本框 34"/>
          <p:cNvSpPr txBox="1">
            <a:spLocks noChangeArrowheads="1"/>
          </p:cNvSpPr>
          <p:nvPr/>
        </p:nvSpPr>
        <p:spPr bwMode="auto">
          <a:xfrm>
            <a:off x="5512912" y="3131942"/>
            <a:ext cx="2112486" cy="3382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02" name="文本框 35"/>
          <p:cNvSpPr txBox="1">
            <a:spLocks noChangeArrowheads="1"/>
          </p:cNvSpPr>
          <p:nvPr/>
        </p:nvSpPr>
        <p:spPr bwMode="auto">
          <a:xfrm>
            <a:off x="5512912" y="3790191"/>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103" name="文本框 36"/>
          <p:cNvSpPr txBox="1">
            <a:spLocks noChangeArrowheads="1"/>
          </p:cNvSpPr>
          <p:nvPr/>
        </p:nvSpPr>
        <p:spPr bwMode="auto">
          <a:xfrm>
            <a:off x="5512912" y="4022515"/>
            <a:ext cx="2112486" cy="3382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37" name="平行四边形 36"/>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8" name="平行四边形 37"/>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9" name="平行四边形 38"/>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0" name="平行四边形 39"/>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43" name="Group 7"/>
          <p:cNvGrpSpPr/>
          <p:nvPr/>
        </p:nvGrpSpPr>
        <p:grpSpPr>
          <a:xfrm>
            <a:off x="180202" y="181952"/>
            <a:ext cx="216018" cy="113981"/>
            <a:chExt cx="1041399" cy="549275"/>
          </a:xfrm>
          <a:solidFill>
            <a:srgbClr val="133E73"/>
          </a:solidFill>
        </p:grpSpPr>
        <p:sp>
          <p:nvSpPr>
            <p:cNvPr id="44"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45"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46"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47"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ustDataLst>
      <p:tags r:id="rId6"/>
    </p:custDataLst>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3"/>
                                        </p:tgtEl>
                                        <p:attrNameLst>
                                          <p:attrName>style.visibility</p:attrName>
                                        </p:attrNameLst>
                                      </p:cBhvr>
                                      <p:to>
                                        <p:strVal val="visible"/>
                                      </p:to>
                                    </p:set>
                                    <p:anim calcmode="lin" valueType="num">
                                      <p:cBhvr additive="base">
                                        <p:cTn dur="500" fill="hold" id="7"/>
                                        <p:tgtEl>
                                          <p:spTgt spid="43"/>
                                        </p:tgtEl>
                                        <p:attrNameLst>
                                          <p:attrName>ppt_x</p:attrName>
                                        </p:attrNameLst>
                                      </p:cBhvr>
                                      <p:tavLst>
                                        <p:tav tm="0">
                                          <p:val>
                                            <p:strVal val="0-#ppt_w/2"/>
                                          </p:val>
                                        </p:tav>
                                        <p:tav tm="100000">
                                          <p:val>
                                            <p:strVal val="#ppt_x"/>
                                          </p:val>
                                        </p:tav>
                                      </p:tavLst>
                                    </p:anim>
                                    <p:anim calcmode="lin" valueType="num">
                                      <p:cBhvr additive="base">
                                        <p:cTn dur="500" fill="hold" id="8"/>
                                        <p:tgtEl>
                                          <p:spTgt spid="43"/>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42"/>
                                        </p:tgtEl>
                                        <p:attrNameLst>
                                          <p:attrName>style.visibility</p:attrName>
                                        </p:attrNameLst>
                                      </p:cBhvr>
                                      <p:to>
                                        <p:strVal val="visible"/>
                                      </p:to>
                                    </p:set>
                                    <p:anim calcmode="lin" valueType="num">
                                      <p:cBhvr>
                                        <p:cTn dur="500" fill="hold" id="12"/>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42"/>
                                        </p:tgtEl>
                                        <p:attrNameLst>
                                          <p:attrName>ppt_y</p:attrName>
                                        </p:attrNameLst>
                                      </p:cBhvr>
                                      <p:tavLst>
                                        <p:tav tm="0">
                                          <p:val>
                                            <p:strVal val="#ppt_y"/>
                                          </p:val>
                                        </p:tav>
                                        <p:tav tm="100000">
                                          <p:val>
                                            <p:strVal val="#ppt_y"/>
                                          </p:val>
                                        </p:tav>
                                      </p:tavLst>
                                    </p:anim>
                                    <p:anim calcmode="lin" valueType="num">
                                      <p:cBhvr>
                                        <p:cTn dur="500" fill="hold" id="14"/>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42"/>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42"/>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39"/>
                                        </p:tgtEl>
                                        <p:attrNameLst>
                                          <p:attrName>fillcolor</p:attrName>
                                        </p:attrNameLst>
                                      </p:cBhvr>
                                      <p:to>
                                        <a:srgbClr val="00AEEF"/>
                                      </p:to>
                                    </p:animClr>
                                    <p:set>
                                      <p:cBhvr>
                                        <p:cTn dur="300" fill="hold" id="20"/>
                                        <p:tgtEl>
                                          <p:spTgt spid="39"/>
                                        </p:tgtEl>
                                        <p:attrNameLst>
                                          <p:attrName>fill.type</p:attrName>
                                        </p:attrNameLst>
                                      </p:cBhvr>
                                      <p:to>
                                        <p:strVal val="solid"/>
                                      </p:to>
                                    </p:set>
                                    <p:set>
                                      <p:cBhvr>
                                        <p:cTn dur="300" fill="hold" id="21"/>
                                        <p:tgtEl>
                                          <p:spTgt spid="39"/>
                                        </p:tgtEl>
                                        <p:attrNameLst>
                                          <p:attrName>fill.on</p:attrName>
                                        </p:attrNameLst>
                                      </p:cBhvr>
                                      <p:to>
                                        <p:strVal val="true"/>
                                      </p:to>
                                    </p:set>
                                  </p:childTnLst>
                                </p:cTn>
                              </p:par>
                            </p:childTnLst>
                          </p:cTn>
                        </p:par>
                      </p:childTnLst>
                    </p:cTn>
                  </p:par>
                  <p:par>
                    <p:cTn fill="hold" id="22" nodeType="clickPar">
                      <p:stCondLst>
                        <p:cond delay="indefinite"/>
                        <p:cond delay="0" evt="onBegin">
                          <p:tn val="21"/>
                        </p:cond>
                      </p:stCondLst>
                      <p:childTnLst>
                        <p:par>
                          <p:cTn fill="hold" id="23" nodeType="afterGroup">
                            <p:stCondLst>
                              <p:cond delay="0"/>
                            </p:stCondLst>
                            <p:childTnLst>
                              <p:par>
                                <p:cTn accel="40000" fill="hold" grpId="0" id="24" nodeType="clickEffect" presetClass="entr" presetID="2" presetSubtype="1">
                                  <p:stCondLst>
                                    <p:cond delay="0"/>
                                  </p:stCondLst>
                                  <p:childTnLst>
                                    <p:set>
                                      <p:cBhvr>
                                        <p:cTn dur="1" fill="hold" id="25">
                                          <p:stCondLst>
                                            <p:cond delay="0"/>
                                          </p:stCondLst>
                                        </p:cTn>
                                        <p:tgtEl>
                                          <p:spTgt spid="72"/>
                                        </p:tgtEl>
                                        <p:attrNameLst>
                                          <p:attrName>style.visibility</p:attrName>
                                        </p:attrNameLst>
                                      </p:cBhvr>
                                      <p:to>
                                        <p:strVal val="visible"/>
                                      </p:to>
                                    </p:set>
                                    <p:anim calcmode="lin" valueType="num">
                                      <p:cBhvr>
                                        <p:cTn dur="750" fill="hold" id="26"/>
                                        <p:tgtEl>
                                          <p:spTgt spid="72"/>
                                        </p:tgtEl>
                                        <p:attrNameLst>
                                          <p:attrName>ppt_x</p:attrName>
                                        </p:attrNameLst>
                                      </p:cBhvr>
                                      <p:tavLst>
                                        <p:tav tm="0">
                                          <p:val>
                                            <p:strVal val="#ppt_x"/>
                                          </p:val>
                                        </p:tav>
                                        <p:tav tm="100000">
                                          <p:val>
                                            <p:strVal val="#ppt_x"/>
                                          </p:val>
                                        </p:tav>
                                      </p:tavLst>
                                    </p:anim>
                                    <p:anim calcmode="lin" valueType="num">
                                      <p:cBhvr>
                                        <p:cTn dur="750" fill="hold" id="27"/>
                                        <p:tgtEl>
                                          <p:spTgt spid="72"/>
                                        </p:tgtEl>
                                        <p:attrNameLst>
                                          <p:attrName>ppt_y</p:attrName>
                                        </p:attrNameLst>
                                      </p:cBhvr>
                                      <p:tavLst>
                                        <p:tav tm="0">
                                          <p:val>
                                            <p:strVal val="0-#ppt_h/2"/>
                                          </p:val>
                                        </p:tav>
                                        <p:tav tm="100000">
                                          <p:val>
                                            <p:strVal val="#ppt_y"/>
                                          </p:val>
                                        </p:tav>
                                      </p:tavLst>
                                    </p:anim>
                                  </p:childTnLst>
                                </p:cTn>
                              </p:par>
                            </p:childTnLst>
                          </p:cTn>
                        </p:par>
                      </p:childTnLst>
                    </p:cTn>
                  </p:par>
                  <p:par>
                    <p:cTn fill="hold" id="28" nodeType="clickPar">
                      <p:stCondLst>
                        <p:cond delay="indefinite"/>
                        <p:cond delay="0" evt="onBegin">
                          <p:tn val="27"/>
                        </p:cond>
                      </p:stCondLst>
                      <p:childTnLst>
                        <p:par>
                          <p:cTn fill="hold" id="29" nodeType="afterGroup">
                            <p:stCondLst>
                              <p:cond delay="0"/>
                            </p:stCondLst>
                            <p:childTnLst>
                              <p:par>
                                <p:cTn accel="40000" fill="hold" grpId="0" id="30" nodeType="clickEffect" presetClass="entr" presetID="2" presetSubtype="1">
                                  <p:stCondLst>
                                    <p:cond delay="0"/>
                                  </p:stCondLst>
                                  <p:childTnLst>
                                    <p:set>
                                      <p:cBhvr>
                                        <p:cTn dur="1" fill="hold" id="31">
                                          <p:stCondLst>
                                            <p:cond delay="0"/>
                                          </p:stCondLst>
                                        </p:cTn>
                                        <p:tgtEl>
                                          <p:spTgt spid="71"/>
                                        </p:tgtEl>
                                        <p:attrNameLst>
                                          <p:attrName>style.visibility</p:attrName>
                                        </p:attrNameLst>
                                      </p:cBhvr>
                                      <p:to>
                                        <p:strVal val="visible"/>
                                      </p:to>
                                    </p:set>
                                    <p:anim calcmode="lin" valueType="num">
                                      <p:cBhvr>
                                        <p:cTn dur="750" fill="hold" id="32"/>
                                        <p:tgtEl>
                                          <p:spTgt spid="71"/>
                                        </p:tgtEl>
                                        <p:attrNameLst>
                                          <p:attrName>ppt_x</p:attrName>
                                        </p:attrNameLst>
                                      </p:cBhvr>
                                      <p:tavLst>
                                        <p:tav tm="0">
                                          <p:val>
                                            <p:strVal val="#ppt_x"/>
                                          </p:val>
                                        </p:tav>
                                        <p:tav tm="100000">
                                          <p:val>
                                            <p:strVal val="#ppt_x"/>
                                          </p:val>
                                        </p:tav>
                                      </p:tavLst>
                                    </p:anim>
                                    <p:anim calcmode="lin" valueType="num">
                                      <p:cBhvr>
                                        <p:cTn dur="750" fill="hold" id="33"/>
                                        <p:tgtEl>
                                          <p:spTgt spid="71"/>
                                        </p:tgtEl>
                                        <p:attrNameLst>
                                          <p:attrName>ppt_y</p:attrName>
                                        </p:attrNameLst>
                                      </p:cBhvr>
                                      <p:tavLst>
                                        <p:tav tm="0">
                                          <p:val>
                                            <p:strVal val="0-#ppt_h/2"/>
                                          </p:val>
                                        </p:tav>
                                        <p:tav tm="100000">
                                          <p:val>
                                            <p:strVal val="#ppt_y"/>
                                          </p:val>
                                        </p:tav>
                                      </p:tavLst>
                                    </p:anim>
                                  </p:childTnLst>
                                </p:cTn>
                              </p:par>
                            </p:childTnLst>
                          </p:cTn>
                        </p:par>
                      </p:childTnLst>
                    </p:cTn>
                  </p:par>
                  <p:par>
                    <p:cTn fill="hold" id="34" nodeType="clickPar">
                      <p:stCondLst>
                        <p:cond delay="indefinite"/>
                        <p:cond delay="0" evt="onBegin">
                          <p:tn val="33"/>
                        </p:cond>
                      </p:stCondLst>
                      <p:childTnLst>
                        <p:par>
                          <p:cTn fill="hold" id="35" nodeType="afterGroup">
                            <p:stCondLst>
                              <p:cond delay="0"/>
                            </p:stCondLst>
                            <p:childTnLst>
                              <p:par>
                                <p:cTn accel="40000" fill="hold" grpId="0" id="36" nodeType="clickEffect" presetClass="entr" presetID="2" presetSubtype="1">
                                  <p:stCondLst>
                                    <p:cond delay="0"/>
                                  </p:stCondLst>
                                  <p:childTnLst>
                                    <p:set>
                                      <p:cBhvr>
                                        <p:cTn dur="1" fill="hold" id="37">
                                          <p:stCondLst>
                                            <p:cond delay="0"/>
                                          </p:stCondLst>
                                        </p:cTn>
                                        <p:tgtEl>
                                          <p:spTgt spid="70"/>
                                        </p:tgtEl>
                                        <p:attrNameLst>
                                          <p:attrName>style.visibility</p:attrName>
                                        </p:attrNameLst>
                                      </p:cBhvr>
                                      <p:to>
                                        <p:strVal val="visible"/>
                                      </p:to>
                                    </p:set>
                                    <p:anim calcmode="lin" valueType="num">
                                      <p:cBhvr>
                                        <p:cTn dur="750" fill="hold" id="38"/>
                                        <p:tgtEl>
                                          <p:spTgt spid="70"/>
                                        </p:tgtEl>
                                        <p:attrNameLst>
                                          <p:attrName>ppt_x</p:attrName>
                                        </p:attrNameLst>
                                      </p:cBhvr>
                                      <p:tavLst>
                                        <p:tav tm="0">
                                          <p:val>
                                            <p:strVal val="#ppt_x"/>
                                          </p:val>
                                        </p:tav>
                                        <p:tav tm="100000">
                                          <p:val>
                                            <p:strVal val="#ppt_x"/>
                                          </p:val>
                                        </p:tav>
                                      </p:tavLst>
                                    </p:anim>
                                    <p:anim calcmode="lin" valueType="num">
                                      <p:cBhvr>
                                        <p:cTn dur="750" fill="hold" id="39"/>
                                        <p:tgtEl>
                                          <p:spTgt spid="70"/>
                                        </p:tgtEl>
                                        <p:attrNameLst>
                                          <p:attrName>ppt_y</p:attrName>
                                        </p:attrNameLst>
                                      </p:cBhvr>
                                      <p:tavLst>
                                        <p:tav tm="0">
                                          <p:val>
                                            <p:strVal val="0-#ppt_h/2"/>
                                          </p:val>
                                        </p:tav>
                                        <p:tav tm="100000">
                                          <p:val>
                                            <p:strVal val="#ppt_y"/>
                                          </p:val>
                                        </p:tav>
                                      </p:tavLst>
                                    </p:anim>
                                  </p:childTnLst>
                                </p:cTn>
                              </p:par>
                            </p:childTnLst>
                          </p:cTn>
                        </p:par>
                      </p:childTnLst>
                    </p:cTn>
                  </p:par>
                  <p:par>
                    <p:cTn fill="hold" id="40" nodeType="clickPar">
                      <p:stCondLst>
                        <p:cond delay="indefinite"/>
                        <p:cond delay="0" evt="onBegin">
                          <p:tn val="39"/>
                        </p:cond>
                      </p:stCondLst>
                      <p:childTnLst>
                        <p:par>
                          <p:cTn fill="hold" id="41" nodeType="afterGroup">
                            <p:stCondLst>
                              <p:cond delay="0"/>
                            </p:stCondLst>
                            <p:childTnLst>
                              <p:par>
                                <p:cTn accel="40000" fill="hold" grpId="0" id="42" nodeType="clickEffect" presetClass="entr" presetID="2" presetSubtype="1">
                                  <p:stCondLst>
                                    <p:cond delay="0"/>
                                  </p:stCondLst>
                                  <p:childTnLst>
                                    <p:set>
                                      <p:cBhvr>
                                        <p:cTn dur="1" fill="hold" id="43">
                                          <p:stCondLst>
                                            <p:cond delay="0"/>
                                          </p:stCondLst>
                                        </p:cTn>
                                        <p:tgtEl>
                                          <p:spTgt spid="69"/>
                                        </p:tgtEl>
                                        <p:attrNameLst>
                                          <p:attrName>style.visibility</p:attrName>
                                        </p:attrNameLst>
                                      </p:cBhvr>
                                      <p:to>
                                        <p:strVal val="visible"/>
                                      </p:to>
                                    </p:set>
                                    <p:anim calcmode="lin" valueType="num">
                                      <p:cBhvr>
                                        <p:cTn dur="750" fill="hold" id="44"/>
                                        <p:tgtEl>
                                          <p:spTgt spid="69"/>
                                        </p:tgtEl>
                                        <p:attrNameLst>
                                          <p:attrName>ppt_x</p:attrName>
                                        </p:attrNameLst>
                                      </p:cBhvr>
                                      <p:tavLst>
                                        <p:tav tm="0">
                                          <p:val>
                                            <p:strVal val="#ppt_x"/>
                                          </p:val>
                                        </p:tav>
                                        <p:tav tm="100000">
                                          <p:val>
                                            <p:strVal val="#ppt_x"/>
                                          </p:val>
                                        </p:tav>
                                      </p:tavLst>
                                    </p:anim>
                                    <p:anim calcmode="lin" valueType="num">
                                      <p:cBhvr>
                                        <p:cTn dur="750" fill="hold" id="45"/>
                                        <p:tgtEl>
                                          <p:spTgt spid="69"/>
                                        </p:tgtEl>
                                        <p:attrNameLst>
                                          <p:attrName>ppt_y</p:attrName>
                                        </p:attrNameLst>
                                      </p:cBhvr>
                                      <p:tavLst>
                                        <p:tav tm="0">
                                          <p:val>
                                            <p:strVal val="0-#ppt_h/2"/>
                                          </p:val>
                                        </p:tav>
                                        <p:tav tm="100000">
                                          <p:val>
                                            <p:strVal val="#ppt_y"/>
                                          </p:val>
                                        </p:tav>
                                      </p:tavLst>
                                    </p:anim>
                                  </p:childTnLst>
                                </p:cTn>
                              </p:par>
                            </p:childTnLst>
                          </p:cTn>
                        </p:par>
                      </p:childTnLst>
                    </p:cTn>
                  </p:par>
                  <p:par>
                    <p:cTn fill="hold" id="46" nodeType="clickPar">
                      <p:stCondLst>
                        <p:cond delay="indefinite"/>
                        <p:cond delay="0" evt="onBegin">
                          <p:tn val="45"/>
                        </p:cond>
                      </p:stCondLst>
                      <p:childTnLst>
                        <p:par>
                          <p:cTn fill="hold" id="47" nodeType="afterGroup">
                            <p:stCondLst>
                              <p:cond delay="0"/>
                            </p:stCondLst>
                            <p:childTnLst>
                              <p:par>
                                <p:cTn fill="hold" id="48" nodeType="clickEffect" presetClass="entr" presetID="10" presetSubtype="0">
                                  <p:stCondLst>
                                    <p:cond delay="0"/>
                                  </p:stCondLst>
                                  <p:childTnLst>
                                    <p:set>
                                      <p:cBhvr>
                                        <p:cTn dur="1" fill="hold" id="49">
                                          <p:stCondLst>
                                            <p:cond delay="0"/>
                                          </p:stCondLst>
                                        </p:cTn>
                                        <p:tgtEl>
                                          <p:spTgt spid="85"/>
                                        </p:tgtEl>
                                        <p:attrNameLst>
                                          <p:attrName>style.visibility</p:attrName>
                                        </p:attrNameLst>
                                      </p:cBhvr>
                                      <p:to>
                                        <p:strVal val="visible"/>
                                      </p:to>
                                    </p:set>
                                    <p:animEffect filter="fade" transition="in">
                                      <p:cBhvr>
                                        <p:cTn dur="500" id="50"/>
                                        <p:tgtEl>
                                          <p:spTgt spid="85"/>
                                        </p:tgtEl>
                                      </p:cBhvr>
                                    </p:animEffect>
                                  </p:childTnLst>
                                </p:cTn>
                              </p:par>
                            </p:childTnLst>
                          </p:cTn>
                        </p:par>
                      </p:childTnLst>
                    </p:cTn>
                  </p:par>
                  <p:par>
                    <p:cTn fill="hold" id="51" nodeType="clickPar">
                      <p:stCondLst>
                        <p:cond delay="indefinite"/>
                        <p:cond delay="0" evt="onBegin">
                          <p:tn val="50"/>
                        </p:cond>
                      </p:stCondLst>
                      <p:childTnLst>
                        <p:par>
                          <p:cTn fill="hold" id="52" nodeType="afterGroup">
                            <p:stCondLst>
                              <p:cond delay="0"/>
                            </p:stCondLst>
                            <p:childTnLst>
                              <p:par>
                                <p:cTn fill="hold" grpId="0" id="53" nodeType="clickEffect" presetClass="entr" presetID="56" presetSubtype="0">
                                  <p:stCondLst>
                                    <p:cond delay="0"/>
                                  </p:stCondLst>
                                  <p:iterate type="lt">
                                    <p:tmPct val="10000"/>
                                  </p:iterate>
                                  <p:childTnLst>
                                    <p:set>
                                      <p:cBhvr>
                                        <p:cTn dur="1" fill="hold" id="54">
                                          <p:stCondLst>
                                            <p:cond delay="0"/>
                                          </p:stCondLst>
                                        </p:cTn>
                                        <p:tgtEl>
                                          <p:spTgt spid="81">
                                            <p:txEl>
                                              <p:pRg end="0" st="0"/>
                                            </p:txEl>
                                          </p:spTgt>
                                        </p:tgtEl>
                                        <p:attrNameLst>
                                          <p:attrName>style.visibility</p:attrName>
                                        </p:attrNameLst>
                                      </p:cBhvr>
                                      <p:to>
                                        <p:strVal val="visible"/>
                                      </p:to>
                                    </p:set>
                                    <p:anim by="(-#ppt_w*2)" calcmode="lin" valueType="num">
                                      <p:cBhvr rctx="PPT">
                                        <p:cTn autoRev="1" dur="500" fill="hold" id="55">
                                          <p:stCondLst>
                                            <p:cond delay="0"/>
                                          </p:stCondLst>
                                        </p:cTn>
                                        <p:tgtEl>
                                          <p:spTgt spid="81">
                                            <p:txEl>
                                              <p:pRg end="0" st="0"/>
                                            </p:txEl>
                                          </p:spTgt>
                                        </p:tgtEl>
                                        <p:attrNameLst>
                                          <p:attrName>ppt_w</p:attrName>
                                        </p:attrNameLst>
                                      </p:cBhvr>
                                    </p:anim>
                                    <p:anim by="(#ppt_w*0.50)" calcmode="lin" valueType="num">
                                      <p:cBhvr>
                                        <p:cTn autoRev="1" decel="50000" dur="500" fill="hold" id="56">
                                          <p:stCondLst>
                                            <p:cond delay="0"/>
                                          </p:stCondLst>
                                        </p:cTn>
                                        <p:tgtEl>
                                          <p:spTgt spid="81">
                                            <p:txEl>
                                              <p:pRg end="0" st="0"/>
                                            </p:txEl>
                                          </p:spTgt>
                                        </p:tgtEl>
                                        <p:attrNameLst>
                                          <p:attrName>ppt_x</p:attrName>
                                        </p:attrNameLst>
                                      </p:cBhvr>
                                    </p:anim>
                                    <p:anim calcmode="lin" from="(-#ppt_h/2)" to="(#ppt_y)" valueType="num">
                                      <p:cBhvr>
                                        <p:cTn dur="1000" fill="hold" id="57">
                                          <p:stCondLst>
                                            <p:cond delay="0"/>
                                          </p:stCondLst>
                                        </p:cTn>
                                        <p:tgtEl>
                                          <p:spTgt spid="81">
                                            <p:txEl>
                                              <p:pRg end="0" st="0"/>
                                            </p:txEl>
                                          </p:spTgt>
                                        </p:tgtEl>
                                        <p:attrNameLst>
                                          <p:attrName>ppt_y</p:attrName>
                                        </p:attrNameLst>
                                      </p:cBhvr>
                                    </p:anim>
                                    <p:animRot by="21600000">
                                      <p:cBhvr>
                                        <p:cTn dur="1000" fill="hold" id="58">
                                          <p:stCondLst>
                                            <p:cond delay="0"/>
                                          </p:stCondLst>
                                        </p:cTn>
                                        <p:tgtEl>
                                          <p:spTgt spid="81">
                                            <p:txEl>
                                              <p:pRg end="0" st="0"/>
                                            </p:txEl>
                                          </p:spTgt>
                                        </p:tgtEl>
                                        <p:attrNameLst>
                                          <p:attrName>r</p:attrName>
                                        </p:attrNameLst>
                                      </p:cBhvr>
                                    </p:animRot>
                                  </p:childTnLst>
                                </p:cTn>
                              </p:par>
                            </p:childTnLst>
                          </p:cTn>
                        </p:par>
                      </p:childTnLst>
                    </p:cTn>
                  </p:par>
                  <p:par>
                    <p:cTn fill="hold" id="59" nodeType="clickPar">
                      <p:stCondLst>
                        <p:cond delay="indefinite"/>
                        <p:cond delay="0" evt="onBegin">
                          <p:tn val="58"/>
                        </p:cond>
                      </p:stCondLst>
                      <p:childTnLst>
                        <p:par>
                          <p:cTn fill="hold" id="60" nodeType="afterGroup">
                            <p:stCondLst>
                              <p:cond delay="0"/>
                            </p:stCondLst>
                            <p:childTnLst>
                              <p:par>
                                <p:cTn fill="hold" grpId="0" id="61" nodeType="clickEffect" presetClass="entr" presetID="56" presetSubtype="0">
                                  <p:stCondLst>
                                    <p:cond delay="0"/>
                                  </p:stCondLst>
                                  <p:iterate type="lt">
                                    <p:tmPct val="10000"/>
                                  </p:iterate>
                                  <p:childTnLst>
                                    <p:set>
                                      <p:cBhvr>
                                        <p:cTn dur="1" fill="hold" id="62">
                                          <p:stCondLst>
                                            <p:cond delay="0"/>
                                          </p:stCondLst>
                                        </p:cTn>
                                        <p:tgtEl>
                                          <p:spTgt spid="82">
                                            <p:txEl>
                                              <p:pRg end="0" st="0"/>
                                            </p:txEl>
                                          </p:spTgt>
                                        </p:tgtEl>
                                        <p:attrNameLst>
                                          <p:attrName>style.visibility</p:attrName>
                                        </p:attrNameLst>
                                      </p:cBhvr>
                                      <p:to>
                                        <p:strVal val="visible"/>
                                      </p:to>
                                    </p:set>
                                    <p:anim by="(-#ppt_w*2)" calcmode="lin" valueType="num">
                                      <p:cBhvr rctx="PPT">
                                        <p:cTn autoRev="1" dur="500" fill="hold" id="63">
                                          <p:stCondLst>
                                            <p:cond delay="0"/>
                                          </p:stCondLst>
                                        </p:cTn>
                                        <p:tgtEl>
                                          <p:spTgt spid="82">
                                            <p:txEl>
                                              <p:pRg end="0" st="0"/>
                                            </p:txEl>
                                          </p:spTgt>
                                        </p:tgtEl>
                                        <p:attrNameLst>
                                          <p:attrName>ppt_w</p:attrName>
                                        </p:attrNameLst>
                                      </p:cBhvr>
                                    </p:anim>
                                    <p:anim by="(#ppt_w*0.50)" calcmode="lin" valueType="num">
                                      <p:cBhvr>
                                        <p:cTn autoRev="1" decel="50000" dur="500" fill="hold" id="64">
                                          <p:stCondLst>
                                            <p:cond delay="0"/>
                                          </p:stCondLst>
                                        </p:cTn>
                                        <p:tgtEl>
                                          <p:spTgt spid="82">
                                            <p:txEl>
                                              <p:pRg end="0" st="0"/>
                                            </p:txEl>
                                          </p:spTgt>
                                        </p:tgtEl>
                                        <p:attrNameLst>
                                          <p:attrName>ppt_x</p:attrName>
                                        </p:attrNameLst>
                                      </p:cBhvr>
                                    </p:anim>
                                    <p:anim calcmode="lin" from="(-#ppt_h/2)" to="(#ppt_y)" valueType="num">
                                      <p:cBhvr>
                                        <p:cTn dur="1000" fill="hold" id="65">
                                          <p:stCondLst>
                                            <p:cond delay="0"/>
                                          </p:stCondLst>
                                        </p:cTn>
                                        <p:tgtEl>
                                          <p:spTgt spid="82">
                                            <p:txEl>
                                              <p:pRg end="0" st="0"/>
                                            </p:txEl>
                                          </p:spTgt>
                                        </p:tgtEl>
                                        <p:attrNameLst>
                                          <p:attrName>ppt_y</p:attrName>
                                        </p:attrNameLst>
                                      </p:cBhvr>
                                    </p:anim>
                                    <p:animRot by="21600000">
                                      <p:cBhvr>
                                        <p:cTn dur="1000" fill="hold" id="66">
                                          <p:stCondLst>
                                            <p:cond delay="0"/>
                                          </p:stCondLst>
                                        </p:cTn>
                                        <p:tgtEl>
                                          <p:spTgt spid="82">
                                            <p:txEl>
                                              <p:pRg end="0" st="0"/>
                                            </p:txEl>
                                          </p:spTgt>
                                        </p:tgtEl>
                                        <p:attrNameLst>
                                          <p:attrName>r</p:attrName>
                                        </p:attrNameLst>
                                      </p:cBhvr>
                                    </p:animRot>
                                  </p:childTnLst>
                                </p:cTn>
                              </p:par>
                            </p:childTnLst>
                          </p:cTn>
                        </p:par>
                      </p:childTnLst>
                    </p:cTn>
                  </p:par>
                  <p:par>
                    <p:cTn fill="hold" id="67" nodeType="clickPar">
                      <p:stCondLst>
                        <p:cond delay="indefinite"/>
                        <p:cond delay="0" evt="onBegin">
                          <p:tn val="66"/>
                        </p:cond>
                      </p:stCondLst>
                      <p:childTnLst>
                        <p:par>
                          <p:cTn fill="hold" id="68" nodeType="afterGroup">
                            <p:stCondLst>
                              <p:cond delay="0"/>
                            </p:stCondLst>
                            <p:childTnLst>
                              <p:par>
                                <p:cTn fill="hold" grpId="0" id="69" nodeType="clickEffect" presetClass="entr" presetID="56" presetSubtype="0">
                                  <p:stCondLst>
                                    <p:cond delay="0"/>
                                  </p:stCondLst>
                                  <p:iterate type="lt">
                                    <p:tmPct val="10000"/>
                                  </p:iterate>
                                  <p:childTnLst>
                                    <p:set>
                                      <p:cBhvr>
                                        <p:cTn dur="1" fill="hold" id="70">
                                          <p:stCondLst>
                                            <p:cond delay="0"/>
                                          </p:stCondLst>
                                        </p:cTn>
                                        <p:tgtEl>
                                          <p:spTgt spid="83">
                                            <p:txEl>
                                              <p:pRg end="0" st="0"/>
                                            </p:txEl>
                                          </p:spTgt>
                                        </p:tgtEl>
                                        <p:attrNameLst>
                                          <p:attrName>style.visibility</p:attrName>
                                        </p:attrNameLst>
                                      </p:cBhvr>
                                      <p:to>
                                        <p:strVal val="visible"/>
                                      </p:to>
                                    </p:set>
                                    <p:anim by="(-#ppt_w*2)" calcmode="lin" valueType="num">
                                      <p:cBhvr rctx="PPT">
                                        <p:cTn autoRev="1" dur="500" fill="hold" id="71">
                                          <p:stCondLst>
                                            <p:cond delay="0"/>
                                          </p:stCondLst>
                                        </p:cTn>
                                        <p:tgtEl>
                                          <p:spTgt spid="83">
                                            <p:txEl>
                                              <p:pRg end="0" st="0"/>
                                            </p:txEl>
                                          </p:spTgt>
                                        </p:tgtEl>
                                        <p:attrNameLst>
                                          <p:attrName>ppt_w</p:attrName>
                                        </p:attrNameLst>
                                      </p:cBhvr>
                                    </p:anim>
                                    <p:anim by="(#ppt_w*0.50)" calcmode="lin" valueType="num">
                                      <p:cBhvr>
                                        <p:cTn autoRev="1" decel="50000" dur="500" fill="hold" id="72">
                                          <p:stCondLst>
                                            <p:cond delay="0"/>
                                          </p:stCondLst>
                                        </p:cTn>
                                        <p:tgtEl>
                                          <p:spTgt spid="83">
                                            <p:txEl>
                                              <p:pRg end="0" st="0"/>
                                            </p:txEl>
                                          </p:spTgt>
                                        </p:tgtEl>
                                        <p:attrNameLst>
                                          <p:attrName>ppt_x</p:attrName>
                                        </p:attrNameLst>
                                      </p:cBhvr>
                                    </p:anim>
                                    <p:anim calcmode="lin" from="(-#ppt_h/2)" to="(#ppt_y)" valueType="num">
                                      <p:cBhvr>
                                        <p:cTn dur="1000" fill="hold" id="73">
                                          <p:stCondLst>
                                            <p:cond delay="0"/>
                                          </p:stCondLst>
                                        </p:cTn>
                                        <p:tgtEl>
                                          <p:spTgt spid="83">
                                            <p:txEl>
                                              <p:pRg end="0" st="0"/>
                                            </p:txEl>
                                          </p:spTgt>
                                        </p:tgtEl>
                                        <p:attrNameLst>
                                          <p:attrName>ppt_y</p:attrName>
                                        </p:attrNameLst>
                                      </p:cBhvr>
                                    </p:anim>
                                    <p:animRot by="21600000">
                                      <p:cBhvr>
                                        <p:cTn dur="1000" fill="hold" id="74">
                                          <p:stCondLst>
                                            <p:cond delay="0"/>
                                          </p:stCondLst>
                                        </p:cTn>
                                        <p:tgtEl>
                                          <p:spTgt spid="83">
                                            <p:txEl>
                                              <p:pRg end="0" st="0"/>
                                            </p:txEl>
                                          </p:spTgt>
                                        </p:tgtEl>
                                        <p:attrNameLst>
                                          <p:attrName>r</p:attrName>
                                        </p:attrNameLst>
                                      </p:cBhvr>
                                    </p:animRot>
                                  </p:childTnLst>
                                </p:cTn>
                              </p:par>
                            </p:childTnLst>
                          </p:cTn>
                        </p:par>
                      </p:childTnLst>
                    </p:cTn>
                  </p:par>
                  <p:par>
                    <p:cTn fill="hold" id="75" nodeType="clickPar">
                      <p:stCondLst>
                        <p:cond delay="indefinite"/>
                        <p:cond delay="0" evt="onBegin">
                          <p:tn val="74"/>
                        </p:cond>
                      </p:stCondLst>
                      <p:childTnLst>
                        <p:par>
                          <p:cTn fill="hold" id="76" nodeType="afterGroup">
                            <p:stCondLst>
                              <p:cond delay="0"/>
                            </p:stCondLst>
                            <p:childTnLst>
                              <p:par>
                                <p:cTn fill="hold" grpId="0" id="77" nodeType="clickEffect" presetClass="entr" presetID="56" presetSubtype="0">
                                  <p:stCondLst>
                                    <p:cond delay="0"/>
                                  </p:stCondLst>
                                  <p:iterate type="lt">
                                    <p:tmPct val="10000"/>
                                  </p:iterate>
                                  <p:childTnLst>
                                    <p:set>
                                      <p:cBhvr>
                                        <p:cTn dur="1" fill="hold" id="78">
                                          <p:stCondLst>
                                            <p:cond delay="0"/>
                                          </p:stCondLst>
                                        </p:cTn>
                                        <p:tgtEl>
                                          <p:spTgt spid="84">
                                            <p:txEl>
                                              <p:pRg end="0" st="0"/>
                                            </p:txEl>
                                          </p:spTgt>
                                        </p:tgtEl>
                                        <p:attrNameLst>
                                          <p:attrName>style.visibility</p:attrName>
                                        </p:attrNameLst>
                                      </p:cBhvr>
                                      <p:to>
                                        <p:strVal val="visible"/>
                                      </p:to>
                                    </p:set>
                                    <p:anim by="(-#ppt_w*2)" calcmode="lin" valueType="num">
                                      <p:cBhvr rctx="PPT">
                                        <p:cTn autoRev="1" dur="500" fill="hold" id="79">
                                          <p:stCondLst>
                                            <p:cond delay="0"/>
                                          </p:stCondLst>
                                        </p:cTn>
                                        <p:tgtEl>
                                          <p:spTgt spid="84">
                                            <p:txEl>
                                              <p:pRg end="0" st="0"/>
                                            </p:txEl>
                                          </p:spTgt>
                                        </p:tgtEl>
                                        <p:attrNameLst>
                                          <p:attrName>ppt_w</p:attrName>
                                        </p:attrNameLst>
                                      </p:cBhvr>
                                    </p:anim>
                                    <p:anim by="(#ppt_w*0.50)" calcmode="lin" valueType="num">
                                      <p:cBhvr>
                                        <p:cTn autoRev="1" decel="50000" dur="500" fill="hold" id="80">
                                          <p:stCondLst>
                                            <p:cond delay="0"/>
                                          </p:stCondLst>
                                        </p:cTn>
                                        <p:tgtEl>
                                          <p:spTgt spid="84">
                                            <p:txEl>
                                              <p:pRg end="0" st="0"/>
                                            </p:txEl>
                                          </p:spTgt>
                                        </p:tgtEl>
                                        <p:attrNameLst>
                                          <p:attrName>ppt_x</p:attrName>
                                        </p:attrNameLst>
                                      </p:cBhvr>
                                    </p:anim>
                                    <p:anim calcmode="lin" from="(-#ppt_h/2)" to="(#ppt_y)" valueType="num">
                                      <p:cBhvr>
                                        <p:cTn dur="1000" fill="hold" id="81">
                                          <p:stCondLst>
                                            <p:cond delay="0"/>
                                          </p:stCondLst>
                                        </p:cTn>
                                        <p:tgtEl>
                                          <p:spTgt spid="84">
                                            <p:txEl>
                                              <p:pRg end="0" st="0"/>
                                            </p:txEl>
                                          </p:spTgt>
                                        </p:tgtEl>
                                        <p:attrNameLst>
                                          <p:attrName>ppt_y</p:attrName>
                                        </p:attrNameLst>
                                      </p:cBhvr>
                                    </p:anim>
                                    <p:animRot by="21600000">
                                      <p:cBhvr>
                                        <p:cTn dur="1000" fill="hold" id="82">
                                          <p:stCondLst>
                                            <p:cond delay="0"/>
                                          </p:stCondLst>
                                        </p:cTn>
                                        <p:tgtEl>
                                          <p:spTgt spid="84">
                                            <p:txEl>
                                              <p:pRg end="0" st="0"/>
                                            </p:txEl>
                                          </p:spTgt>
                                        </p:tgtEl>
                                        <p:attrNameLst>
                                          <p:attrName>r</p:attrName>
                                        </p:attrNameLst>
                                      </p:cBhvr>
                                    </p:animRot>
                                  </p:childTnLst>
                                </p:cTn>
                              </p:par>
                            </p:childTnLst>
                          </p:cTn>
                        </p:par>
                      </p:childTnLst>
                    </p:cTn>
                  </p:par>
                  <p:par>
                    <p:cTn fill="hold" id="83" nodeType="clickPar">
                      <p:stCondLst>
                        <p:cond delay="indefinite"/>
                        <p:cond delay="0" evt="onBegin">
                          <p:tn val="82"/>
                        </p:cond>
                      </p:stCondLst>
                      <p:childTnLst>
                        <p:par>
                          <p:cTn fill="hold" id="84" nodeType="afterGroup">
                            <p:stCondLst>
                              <p:cond delay="0"/>
                            </p:stCondLst>
                            <p:childTnLst>
                              <p:par>
                                <p:cTn fill="hold" id="85" nodeType="clickEffect" presetClass="entr" presetID="22" presetSubtype="8">
                                  <p:stCondLst>
                                    <p:cond delay="0"/>
                                  </p:stCondLst>
                                  <p:childTnLst>
                                    <p:set>
                                      <p:cBhvr>
                                        <p:cTn dur="1" fill="hold" id="86">
                                          <p:stCondLst>
                                            <p:cond delay="0"/>
                                          </p:stCondLst>
                                        </p:cTn>
                                        <p:tgtEl>
                                          <p:spTgt spid="73"/>
                                        </p:tgtEl>
                                        <p:attrNameLst>
                                          <p:attrName>style.visibility</p:attrName>
                                        </p:attrNameLst>
                                      </p:cBhvr>
                                      <p:to>
                                        <p:strVal val="visible"/>
                                      </p:to>
                                    </p:set>
                                    <p:animEffect filter="wipe(left)" transition="in">
                                      <p:cBhvr>
                                        <p:cTn dur="500" id="87"/>
                                        <p:tgtEl>
                                          <p:spTgt spid="73"/>
                                        </p:tgtEl>
                                      </p:cBhvr>
                                    </p:animEffect>
                                  </p:childTnLst>
                                </p:cTn>
                              </p:par>
                            </p:childTnLst>
                          </p:cTn>
                        </p:par>
                      </p:childTnLst>
                    </p:cTn>
                  </p:par>
                  <p:par>
                    <p:cTn fill="hold" id="88" nodeType="clickPar">
                      <p:stCondLst>
                        <p:cond delay="indefinite"/>
                        <p:cond delay="0" evt="onBegin">
                          <p:tn val="87"/>
                        </p:cond>
                      </p:stCondLst>
                      <p:childTnLst>
                        <p:par>
                          <p:cTn fill="hold" id="89" nodeType="afterGroup">
                            <p:stCondLst>
                              <p:cond delay="0"/>
                            </p:stCondLst>
                            <p:childTnLst>
                              <p:par>
                                <p:cTn fill="hold" id="90" nodeType="clickEffect" presetClass="entr" presetID="1" presetSubtype="0">
                                  <p:stCondLst>
                                    <p:cond delay="0"/>
                                  </p:stCondLst>
                                  <p:childTnLst>
                                    <p:set>
                                      <p:cBhvr>
                                        <p:cTn dur="1" fill="hold" id="91">
                                          <p:stCondLst>
                                            <p:cond delay="0"/>
                                          </p:stCondLst>
                                        </p:cTn>
                                        <p:tgtEl>
                                          <p:spTgt spid="77"/>
                                        </p:tgtEl>
                                        <p:attrNameLst>
                                          <p:attrName>style.visibility</p:attrName>
                                        </p:attrNameLst>
                                      </p:cBhvr>
                                      <p:to>
                                        <p:strVal val="visible"/>
                                      </p:to>
                                    </p:set>
                                  </p:childTnLst>
                                </p:cTn>
                              </p:par>
                            </p:childTnLst>
                          </p:cTn>
                        </p:par>
                      </p:childTnLst>
                    </p:cTn>
                  </p:par>
                  <p:par>
                    <p:cTn fill="hold" id="92" nodeType="clickPar">
                      <p:stCondLst>
                        <p:cond delay="indefinite"/>
                        <p:cond delay="0" evt="onBegin">
                          <p:tn val="91"/>
                        </p:cond>
                      </p:stCondLst>
                      <p:childTnLst>
                        <p:par>
                          <p:cTn fill="hold" id="93" nodeType="afterGroup">
                            <p:stCondLst>
                              <p:cond delay="0"/>
                            </p:stCondLst>
                            <p:childTnLst>
                              <p:par>
                                <p:cTn fill="hold" id="94" nodeType="clickEffect" presetClass="entr" presetID="22" presetSubtype="8">
                                  <p:stCondLst>
                                    <p:cond delay="0"/>
                                  </p:stCondLst>
                                  <p:childTnLst>
                                    <p:set>
                                      <p:cBhvr>
                                        <p:cTn dur="1" fill="hold" id="95">
                                          <p:stCondLst>
                                            <p:cond delay="0"/>
                                          </p:stCondLst>
                                        </p:cTn>
                                        <p:tgtEl>
                                          <p:spTgt spid="74"/>
                                        </p:tgtEl>
                                        <p:attrNameLst>
                                          <p:attrName>style.visibility</p:attrName>
                                        </p:attrNameLst>
                                      </p:cBhvr>
                                      <p:to>
                                        <p:strVal val="visible"/>
                                      </p:to>
                                    </p:set>
                                    <p:animEffect filter="wipe(left)" transition="in">
                                      <p:cBhvr>
                                        <p:cTn dur="500" id="96"/>
                                        <p:tgtEl>
                                          <p:spTgt spid="74"/>
                                        </p:tgtEl>
                                      </p:cBhvr>
                                    </p:animEffect>
                                  </p:childTnLst>
                                </p:cTn>
                              </p:par>
                            </p:childTnLst>
                          </p:cTn>
                        </p:par>
                      </p:childTnLst>
                    </p:cTn>
                  </p:par>
                  <p:par>
                    <p:cTn fill="hold" id="97" nodeType="clickPar">
                      <p:stCondLst>
                        <p:cond delay="indefinite"/>
                        <p:cond delay="0" evt="onBegin">
                          <p:tn val="96"/>
                        </p:cond>
                      </p:stCondLst>
                      <p:childTnLst>
                        <p:par>
                          <p:cTn fill="hold" id="98" nodeType="afterGroup">
                            <p:stCondLst>
                              <p:cond delay="0"/>
                            </p:stCondLst>
                            <p:childTnLst>
                              <p:par>
                                <p:cTn fill="hold" id="99" nodeType="clickEffect" presetClass="entr" presetID="1" presetSubtype="0">
                                  <p:stCondLst>
                                    <p:cond delay="0"/>
                                  </p:stCondLst>
                                  <p:childTnLst>
                                    <p:set>
                                      <p:cBhvr>
                                        <p:cTn dur="1" fill="hold" id="100">
                                          <p:stCondLst>
                                            <p:cond delay="0"/>
                                          </p:stCondLst>
                                        </p:cTn>
                                        <p:tgtEl>
                                          <p:spTgt spid="78"/>
                                        </p:tgtEl>
                                        <p:attrNameLst>
                                          <p:attrName>style.visibility</p:attrName>
                                        </p:attrNameLst>
                                      </p:cBhvr>
                                      <p:to>
                                        <p:strVal val="visible"/>
                                      </p:to>
                                    </p:set>
                                  </p:childTnLst>
                                </p:cTn>
                              </p:par>
                            </p:childTnLst>
                          </p:cTn>
                        </p:par>
                      </p:childTnLst>
                    </p:cTn>
                  </p:par>
                  <p:par>
                    <p:cTn fill="hold" id="101" nodeType="clickPar">
                      <p:stCondLst>
                        <p:cond delay="indefinite"/>
                        <p:cond delay="0" evt="onBegin">
                          <p:tn val="100"/>
                        </p:cond>
                      </p:stCondLst>
                      <p:childTnLst>
                        <p:par>
                          <p:cTn fill="hold" id="102" nodeType="afterGroup">
                            <p:stCondLst>
                              <p:cond delay="0"/>
                            </p:stCondLst>
                            <p:childTnLst>
                              <p:par>
                                <p:cTn fill="hold" id="103" nodeType="clickEffect" presetClass="entr" presetID="22" presetSubtype="8">
                                  <p:stCondLst>
                                    <p:cond delay="0"/>
                                  </p:stCondLst>
                                  <p:childTnLst>
                                    <p:set>
                                      <p:cBhvr>
                                        <p:cTn dur="1" fill="hold" id="104">
                                          <p:stCondLst>
                                            <p:cond delay="0"/>
                                          </p:stCondLst>
                                        </p:cTn>
                                        <p:tgtEl>
                                          <p:spTgt spid="75"/>
                                        </p:tgtEl>
                                        <p:attrNameLst>
                                          <p:attrName>style.visibility</p:attrName>
                                        </p:attrNameLst>
                                      </p:cBhvr>
                                      <p:to>
                                        <p:strVal val="visible"/>
                                      </p:to>
                                    </p:set>
                                    <p:animEffect filter="wipe(left)" transition="in">
                                      <p:cBhvr>
                                        <p:cTn dur="500" id="105"/>
                                        <p:tgtEl>
                                          <p:spTgt spid="75"/>
                                        </p:tgtEl>
                                      </p:cBhvr>
                                    </p:animEffect>
                                  </p:childTnLst>
                                </p:cTn>
                              </p:par>
                            </p:childTnLst>
                          </p:cTn>
                        </p:par>
                      </p:childTnLst>
                    </p:cTn>
                  </p:par>
                  <p:par>
                    <p:cTn fill="hold" id="106" nodeType="clickPar">
                      <p:stCondLst>
                        <p:cond delay="indefinite"/>
                        <p:cond delay="0" evt="onBegin">
                          <p:tn val="105"/>
                        </p:cond>
                      </p:stCondLst>
                      <p:childTnLst>
                        <p:par>
                          <p:cTn fill="hold" id="107" nodeType="afterGroup">
                            <p:stCondLst>
                              <p:cond delay="0"/>
                            </p:stCondLst>
                            <p:childTnLst>
                              <p:par>
                                <p:cTn fill="hold" id="108" nodeType="clickEffect" presetClass="entr" presetID="1" presetSubtype="0">
                                  <p:stCondLst>
                                    <p:cond delay="0"/>
                                  </p:stCondLst>
                                  <p:childTnLst>
                                    <p:set>
                                      <p:cBhvr>
                                        <p:cTn dur="1" fill="hold" id="109">
                                          <p:stCondLst>
                                            <p:cond delay="0"/>
                                          </p:stCondLst>
                                        </p:cTn>
                                        <p:tgtEl>
                                          <p:spTgt spid="79"/>
                                        </p:tgtEl>
                                        <p:attrNameLst>
                                          <p:attrName>style.visibility</p:attrName>
                                        </p:attrNameLst>
                                      </p:cBhvr>
                                      <p:to>
                                        <p:strVal val="visible"/>
                                      </p:to>
                                    </p:set>
                                  </p:childTnLst>
                                </p:cTn>
                              </p:par>
                            </p:childTnLst>
                          </p:cTn>
                        </p:par>
                        <p:par>
                          <p:cTn fill="hold" id="110" nodeType="afterGroup">
                            <p:stCondLst>
                              <p:cond delay="1"/>
                            </p:stCondLst>
                            <p:childTnLst>
                              <p:par>
                                <p:cTn fill="hold" id="111" nodeType="afterEffect" presetClass="mediacall" presetID="1" presetSubtype="0">
                                  <p:stCondLst>
                                    <p:cond delay="0"/>
                                  </p:stCondLst>
                                  <p:childTnLst>
                                    <p:cmd cmd="playFrom(0.0)" type="call">
                                      <p:cBhvr>
                                        <p:cTn dur="1" fill="hold" id="112"/>
                                        <p:tgtEl>
                                          <p:spTgt spid="47"/>
                                        </p:tgtEl>
                                      </p:cBhvr>
                                    </p:cmd>
                                  </p:childTnLst>
                                </p:cTn>
                              </p:par>
                            </p:childTnLst>
                          </p:cTn>
                        </p:par>
                      </p:childTnLst>
                    </p:cTn>
                  </p:par>
                  <p:par>
                    <p:cTn fill="hold" id="114" nodeType="clickPar">
                      <p:stCondLst>
                        <p:cond delay="indefinite"/>
                        <p:cond delay="0" evt="onBegin">
                          <p:tn val="113"/>
                        </p:cond>
                      </p:stCondLst>
                      <p:childTnLst>
                        <p:par>
                          <p:cTn fill="hold" id="115" nodeType="afterGroup">
                            <p:stCondLst>
                              <p:cond delay="0"/>
                            </p:stCondLst>
                            <p:childTnLst>
                              <p:par>
                                <p:cTn fill="hold" id="116" nodeType="clickEffect" presetClass="entr" presetID="22" presetSubtype="8">
                                  <p:stCondLst>
                                    <p:cond delay="0"/>
                                  </p:stCondLst>
                                  <p:childTnLst>
                                    <p:set>
                                      <p:cBhvr>
                                        <p:cTn dur="1" fill="hold" id="117">
                                          <p:stCondLst>
                                            <p:cond delay="0"/>
                                          </p:stCondLst>
                                        </p:cTn>
                                        <p:tgtEl>
                                          <p:spTgt spid="76"/>
                                        </p:tgtEl>
                                        <p:attrNameLst>
                                          <p:attrName>style.visibility</p:attrName>
                                        </p:attrNameLst>
                                      </p:cBhvr>
                                      <p:to>
                                        <p:strVal val="visible"/>
                                      </p:to>
                                    </p:set>
                                    <p:animEffect filter="wipe(left)" transition="in">
                                      <p:cBhvr>
                                        <p:cTn dur="500" id="118"/>
                                        <p:tgtEl>
                                          <p:spTgt spid="76"/>
                                        </p:tgtEl>
                                      </p:cBhvr>
                                    </p:animEffect>
                                  </p:childTnLst>
                                </p:cTn>
                              </p:par>
                            </p:childTnLst>
                          </p:cTn>
                        </p:par>
                      </p:childTnLst>
                    </p:cTn>
                  </p:par>
                  <p:par>
                    <p:cTn fill="hold" id="119" nodeType="clickPar">
                      <p:stCondLst>
                        <p:cond delay="indefinite"/>
                        <p:cond delay="0" evt="onBegin">
                          <p:tn val="118"/>
                        </p:cond>
                      </p:stCondLst>
                      <p:childTnLst>
                        <p:par>
                          <p:cTn fill="hold" id="120" nodeType="afterGroup">
                            <p:stCondLst>
                              <p:cond delay="0"/>
                            </p:stCondLst>
                            <p:childTnLst>
                              <p:par>
                                <p:cTn fill="hold" id="121" nodeType="clickEffect" presetClass="entr" presetID="1" presetSubtype="0">
                                  <p:stCondLst>
                                    <p:cond delay="0"/>
                                  </p:stCondLst>
                                  <p:childTnLst>
                                    <p:set>
                                      <p:cBhvr>
                                        <p:cTn dur="1" fill="hold" id="122">
                                          <p:stCondLst>
                                            <p:cond delay="0"/>
                                          </p:stCondLst>
                                        </p:cTn>
                                        <p:tgtEl>
                                          <p:spTgt spid="80"/>
                                        </p:tgtEl>
                                        <p:attrNameLst>
                                          <p:attrName>style.visibility</p:attrName>
                                        </p:attrNameLst>
                                      </p:cBhvr>
                                      <p:to>
                                        <p:strVal val="visible"/>
                                      </p:to>
                                    </p:set>
                                  </p:childTnLst>
                                </p:cTn>
                              </p:par>
                            </p:childTnLst>
                          </p:cTn>
                        </p:par>
                        <p:par>
                          <p:cTn fill="hold" id="123" nodeType="afterGroup">
                            <p:stCondLst>
                              <p:cond delay="1"/>
                            </p:stCondLst>
                            <p:childTnLst>
                              <p:par>
                                <p:cTn accel="40000" fill="hold" grpId="0" id="124" nodeType="afterEffect" presetClass="entr" presetID="2" presetSubtype="2">
                                  <p:stCondLst>
                                    <p:cond delay="0"/>
                                  </p:stCondLst>
                                  <p:childTnLst>
                                    <p:set>
                                      <p:cBhvr>
                                        <p:cTn dur="1" fill="hold" id="125">
                                          <p:stCondLst>
                                            <p:cond delay="0"/>
                                          </p:stCondLst>
                                        </p:cTn>
                                        <p:tgtEl>
                                          <p:spTgt spid="96"/>
                                        </p:tgtEl>
                                        <p:attrNameLst>
                                          <p:attrName>style.visibility</p:attrName>
                                        </p:attrNameLst>
                                      </p:cBhvr>
                                      <p:to>
                                        <p:strVal val="visible"/>
                                      </p:to>
                                    </p:set>
                                    <p:anim calcmode="lin" valueType="num">
                                      <p:cBhvr>
                                        <p:cTn dur="750" fill="hold" id="126"/>
                                        <p:tgtEl>
                                          <p:spTgt spid="96"/>
                                        </p:tgtEl>
                                        <p:attrNameLst>
                                          <p:attrName>ppt_x</p:attrName>
                                        </p:attrNameLst>
                                      </p:cBhvr>
                                      <p:tavLst>
                                        <p:tav tm="0">
                                          <p:val>
                                            <p:strVal val="1+#ppt_w/2"/>
                                          </p:val>
                                        </p:tav>
                                        <p:tav tm="100000">
                                          <p:val>
                                            <p:strVal val="#ppt_x"/>
                                          </p:val>
                                        </p:tav>
                                      </p:tavLst>
                                    </p:anim>
                                    <p:anim calcmode="lin" valueType="num">
                                      <p:cBhvr>
                                        <p:cTn dur="750" fill="hold" id="127"/>
                                        <p:tgtEl>
                                          <p:spTgt spid="96"/>
                                        </p:tgtEl>
                                        <p:attrNameLst>
                                          <p:attrName>ppt_y</p:attrName>
                                        </p:attrNameLst>
                                      </p:cBhvr>
                                      <p:tavLst>
                                        <p:tav tm="0">
                                          <p:val>
                                            <p:strVal val="#ppt_y"/>
                                          </p:val>
                                        </p:tav>
                                        <p:tav tm="100000">
                                          <p:val>
                                            <p:strVal val="#ppt_y"/>
                                          </p:val>
                                        </p:tav>
                                      </p:tavLst>
                                    </p:anim>
                                  </p:childTnLst>
                                </p:cTn>
                              </p:par>
                              <p:par>
                                <p:cTn accel="40000" fill="hold" grpId="0" id="128" nodeType="withEffect" presetClass="entr" presetID="2" presetSubtype="2">
                                  <p:stCondLst>
                                    <p:cond delay="0"/>
                                  </p:stCondLst>
                                  <p:childTnLst>
                                    <p:set>
                                      <p:cBhvr>
                                        <p:cTn dur="1" fill="hold" id="129">
                                          <p:stCondLst>
                                            <p:cond delay="0"/>
                                          </p:stCondLst>
                                        </p:cTn>
                                        <p:tgtEl>
                                          <p:spTgt spid="97"/>
                                        </p:tgtEl>
                                        <p:attrNameLst>
                                          <p:attrName>style.visibility</p:attrName>
                                        </p:attrNameLst>
                                      </p:cBhvr>
                                      <p:to>
                                        <p:strVal val="visible"/>
                                      </p:to>
                                    </p:set>
                                    <p:anim calcmode="lin" valueType="num">
                                      <p:cBhvr>
                                        <p:cTn dur="750" fill="hold" id="130"/>
                                        <p:tgtEl>
                                          <p:spTgt spid="97"/>
                                        </p:tgtEl>
                                        <p:attrNameLst>
                                          <p:attrName>ppt_x</p:attrName>
                                        </p:attrNameLst>
                                      </p:cBhvr>
                                      <p:tavLst>
                                        <p:tav tm="0">
                                          <p:val>
                                            <p:strVal val="1+#ppt_w/2"/>
                                          </p:val>
                                        </p:tav>
                                        <p:tav tm="100000">
                                          <p:val>
                                            <p:strVal val="#ppt_x"/>
                                          </p:val>
                                        </p:tav>
                                      </p:tavLst>
                                    </p:anim>
                                    <p:anim calcmode="lin" valueType="num">
                                      <p:cBhvr>
                                        <p:cTn dur="750" fill="hold" id="131"/>
                                        <p:tgtEl>
                                          <p:spTgt spid="97"/>
                                        </p:tgtEl>
                                        <p:attrNameLst>
                                          <p:attrName>ppt_y</p:attrName>
                                        </p:attrNameLst>
                                      </p:cBhvr>
                                      <p:tavLst>
                                        <p:tav tm="0">
                                          <p:val>
                                            <p:strVal val="#ppt_y"/>
                                          </p:val>
                                        </p:tav>
                                        <p:tav tm="100000">
                                          <p:val>
                                            <p:strVal val="#ppt_y"/>
                                          </p:val>
                                        </p:tav>
                                      </p:tavLst>
                                    </p:anim>
                                  </p:childTnLst>
                                </p:cTn>
                              </p:par>
                            </p:childTnLst>
                          </p:cTn>
                        </p:par>
                        <p:par>
                          <p:cTn fill="hold" id="132" nodeType="afterGroup">
                            <p:stCondLst>
                              <p:cond delay="751"/>
                            </p:stCondLst>
                            <p:childTnLst>
                              <p:par>
                                <p:cTn accel="40000" fill="hold" grpId="0" id="133" nodeType="afterEffect" presetClass="entr" presetID="2" presetSubtype="2">
                                  <p:stCondLst>
                                    <p:cond delay="0"/>
                                  </p:stCondLst>
                                  <p:childTnLst>
                                    <p:set>
                                      <p:cBhvr>
                                        <p:cTn dur="1" fill="hold" id="134">
                                          <p:stCondLst>
                                            <p:cond delay="0"/>
                                          </p:stCondLst>
                                        </p:cTn>
                                        <p:tgtEl>
                                          <p:spTgt spid="98"/>
                                        </p:tgtEl>
                                        <p:attrNameLst>
                                          <p:attrName>style.visibility</p:attrName>
                                        </p:attrNameLst>
                                      </p:cBhvr>
                                      <p:to>
                                        <p:strVal val="visible"/>
                                      </p:to>
                                    </p:set>
                                    <p:anim calcmode="lin" valueType="num">
                                      <p:cBhvr>
                                        <p:cTn dur="750" fill="hold" id="135"/>
                                        <p:tgtEl>
                                          <p:spTgt spid="98"/>
                                        </p:tgtEl>
                                        <p:attrNameLst>
                                          <p:attrName>ppt_x</p:attrName>
                                        </p:attrNameLst>
                                      </p:cBhvr>
                                      <p:tavLst>
                                        <p:tav tm="0">
                                          <p:val>
                                            <p:strVal val="1+#ppt_w/2"/>
                                          </p:val>
                                        </p:tav>
                                        <p:tav tm="100000">
                                          <p:val>
                                            <p:strVal val="#ppt_x"/>
                                          </p:val>
                                        </p:tav>
                                      </p:tavLst>
                                    </p:anim>
                                    <p:anim calcmode="lin" valueType="num">
                                      <p:cBhvr>
                                        <p:cTn dur="750" fill="hold" id="136"/>
                                        <p:tgtEl>
                                          <p:spTgt spid="98"/>
                                        </p:tgtEl>
                                        <p:attrNameLst>
                                          <p:attrName>ppt_y</p:attrName>
                                        </p:attrNameLst>
                                      </p:cBhvr>
                                      <p:tavLst>
                                        <p:tav tm="0">
                                          <p:val>
                                            <p:strVal val="#ppt_y"/>
                                          </p:val>
                                        </p:tav>
                                        <p:tav tm="100000">
                                          <p:val>
                                            <p:strVal val="#ppt_y"/>
                                          </p:val>
                                        </p:tav>
                                      </p:tavLst>
                                    </p:anim>
                                  </p:childTnLst>
                                </p:cTn>
                              </p:par>
                              <p:par>
                                <p:cTn accel="40000" fill="hold" grpId="0" id="137" nodeType="withEffect" presetClass="entr" presetID="2" presetSubtype="2">
                                  <p:stCondLst>
                                    <p:cond delay="0"/>
                                  </p:stCondLst>
                                  <p:childTnLst>
                                    <p:set>
                                      <p:cBhvr>
                                        <p:cTn dur="1" fill="hold" id="138">
                                          <p:stCondLst>
                                            <p:cond delay="0"/>
                                          </p:stCondLst>
                                        </p:cTn>
                                        <p:tgtEl>
                                          <p:spTgt spid="99"/>
                                        </p:tgtEl>
                                        <p:attrNameLst>
                                          <p:attrName>style.visibility</p:attrName>
                                        </p:attrNameLst>
                                      </p:cBhvr>
                                      <p:to>
                                        <p:strVal val="visible"/>
                                      </p:to>
                                    </p:set>
                                    <p:anim calcmode="lin" valueType="num">
                                      <p:cBhvr>
                                        <p:cTn dur="750" fill="hold" id="139"/>
                                        <p:tgtEl>
                                          <p:spTgt spid="99"/>
                                        </p:tgtEl>
                                        <p:attrNameLst>
                                          <p:attrName>ppt_x</p:attrName>
                                        </p:attrNameLst>
                                      </p:cBhvr>
                                      <p:tavLst>
                                        <p:tav tm="0">
                                          <p:val>
                                            <p:strVal val="1+#ppt_w/2"/>
                                          </p:val>
                                        </p:tav>
                                        <p:tav tm="100000">
                                          <p:val>
                                            <p:strVal val="#ppt_x"/>
                                          </p:val>
                                        </p:tav>
                                      </p:tavLst>
                                    </p:anim>
                                    <p:anim calcmode="lin" valueType="num">
                                      <p:cBhvr>
                                        <p:cTn dur="750" fill="hold" id="140"/>
                                        <p:tgtEl>
                                          <p:spTgt spid="99"/>
                                        </p:tgtEl>
                                        <p:attrNameLst>
                                          <p:attrName>ppt_y</p:attrName>
                                        </p:attrNameLst>
                                      </p:cBhvr>
                                      <p:tavLst>
                                        <p:tav tm="0">
                                          <p:val>
                                            <p:strVal val="#ppt_y"/>
                                          </p:val>
                                        </p:tav>
                                        <p:tav tm="100000">
                                          <p:val>
                                            <p:strVal val="#ppt_y"/>
                                          </p:val>
                                        </p:tav>
                                      </p:tavLst>
                                    </p:anim>
                                  </p:childTnLst>
                                </p:cTn>
                              </p:par>
                            </p:childTnLst>
                          </p:cTn>
                        </p:par>
                        <p:par>
                          <p:cTn fill="hold" id="141" nodeType="afterGroup">
                            <p:stCondLst>
                              <p:cond delay="1501"/>
                            </p:stCondLst>
                            <p:childTnLst>
                              <p:par>
                                <p:cTn accel="40000" fill="hold" grpId="0" id="142" nodeType="afterEffect" presetClass="entr" presetID="2" presetSubtype="2">
                                  <p:stCondLst>
                                    <p:cond delay="0"/>
                                  </p:stCondLst>
                                  <p:childTnLst>
                                    <p:set>
                                      <p:cBhvr>
                                        <p:cTn dur="1" fill="hold" id="143">
                                          <p:stCondLst>
                                            <p:cond delay="0"/>
                                          </p:stCondLst>
                                        </p:cTn>
                                        <p:tgtEl>
                                          <p:spTgt spid="100"/>
                                        </p:tgtEl>
                                        <p:attrNameLst>
                                          <p:attrName>style.visibility</p:attrName>
                                        </p:attrNameLst>
                                      </p:cBhvr>
                                      <p:to>
                                        <p:strVal val="visible"/>
                                      </p:to>
                                    </p:set>
                                    <p:anim calcmode="lin" valueType="num">
                                      <p:cBhvr>
                                        <p:cTn dur="750" fill="hold" id="144"/>
                                        <p:tgtEl>
                                          <p:spTgt spid="100"/>
                                        </p:tgtEl>
                                        <p:attrNameLst>
                                          <p:attrName>ppt_x</p:attrName>
                                        </p:attrNameLst>
                                      </p:cBhvr>
                                      <p:tavLst>
                                        <p:tav tm="0">
                                          <p:val>
                                            <p:strVal val="1+#ppt_w/2"/>
                                          </p:val>
                                        </p:tav>
                                        <p:tav tm="100000">
                                          <p:val>
                                            <p:strVal val="#ppt_x"/>
                                          </p:val>
                                        </p:tav>
                                      </p:tavLst>
                                    </p:anim>
                                    <p:anim calcmode="lin" valueType="num">
                                      <p:cBhvr>
                                        <p:cTn dur="750" fill="hold" id="145"/>
                                        <p:tgtEl>
                                          <p:spTgt spid="100"/>
                                        </p:tgtEl>
                                        <p:attrNameLst>
                                          <p:attrName>ppt_y</p:attrName>
                                        </p:attrNameLst>
                                      </p:cBhvr>
                                      <p:tavLst>
                                        <p:tav tm="0">
                                          <p:val>
                                            <p:strVal val="#ppt_y"/>
                                          </p:val>
                                        </p:tav>
                                        <p:tav tm="100000">
                                          <p:val>
                                            <p:strVal val="#ppt_y"/>
                                          </p:val>
                                        </p:tav>
                                      </p:tavLst>
                                    </p:anim>
                                  </p:childTnLst>
                                </p:cTn>
                              </p:par>
                              <p:par>
                                <p:cTn accel="40000" fill="hold" grpId="0" id="146" nodeType="withEffect" presetClass="entr" presetID="2" presetSubtype="2">
                                  <p:stCondLst>
                                    <p:cond delay="0"/>
                                  </p:stCondLst>
                                  <p:childTnLst>
                                    <p:set>
                                      <p:cBhvr>
                                        <p:cTn dur="1" fill="hold" id="147">
                                          <p:stCondLst>
                                            <p:cond delay="0"/>
                                          </p:stCondLst>
                                        </p:cTn>
                                        <p:tgtEl>
                                          <p:spTgt spid="101"/>
                                        </p:tgtEl>
                                        <p:attrNameLst>
                                          <p:attrName>style.visibility</p:attrName>
                                        </p:attrNameLst>
                                      </p:cBhvr>
                                      <p:to>
                                        <p:strVal val="visible"/>
                                      </p:to>
                                    </p:set>
                                    <p:anim calcmode="lin" valueType="num">
                                      <p:cBhvr>
                                        <p:cTn dur="750" fill="hold" id="148"/>
                                        <p:tgtEl>
                                          <p:spTgt spid="101"/>
                                        </p:tgtEl>
                                        <p:attrNameLst>
                                          <p:attrName>ppt_x</p:attrName>
                                        </p:attrNameLst>
                                      </p:cBhvr>
                                      <p:tavLst>
                                        <p:tav tm="0">
                                          <p:val>
                                            <p:strVal val="1+#ppt_w/2"/>
                                          </p:val>
                                        </p:tav>
                                        <p:tav tm="100000">
                                          <p:val>
                                            <p:strVal val="#ppt_x"/>
                                          </p:val>
                                        </p:tav>
                                      </p:tavLst>
                                    </p:anim>
                                    <p:anim calcmode="lin" valueType="num">
                                      <p:cBhvr>
                                        <p:cTn dur="750" fill="hold" id="149"/>
                                        <p:tgtEl>
                                          <p:spTgt spid="101"/>
                                        </p:tgtEl>
                                        <p:attrNameLst>
                                          <p:attrName>ppt_y</p:attrName>
                                        </p:attrNameLst>
                                      </p:cBhvr>
                                      <p:tavLst>
                                        <p:tav tm="0">
                                          <p:val>
                                            <p:strVal val="#ppt_y"/>
                                          </p:val>
                                        </p:tav>
                                        <p:tav tm="100000">
                                          <p:val>
                                            <p:strVal val="#ppt_y"/>
                                          </p:val>
                                        </p:tav>
                                      </p:tavLst>
                                    </p:anim>
                                  </p:childTnLst>
                                </p:cTn>
                              </p:par>
                            </p:childTnLst>
                          </p:cTn>
                        </p:par>
                        <p:par>
                          <p:cTn fill="hold" id="150" nodeType="afterGroup">
                            <p:stCondLst>
                              <p:cond delay="2251"/>
                            </p:stCondLst>
                            <p:childTnLst>
                              <p:par>
                                <p:cTn accel="40000" fill="hold" grpId="0" id="151" nodeType="afterEffect" presetClass="entr" presetID="2" presetSubtype="2">
                                  <p:stCondLst>
                                    <p:cond delay="0"/>
                                  </p:stCondLst>
                                  <p:childTnLst>
                                    <p:set>
                                      <p:cBhvr>
                                        <p:cTn dur="1" fill="hold" id="152">
                                          <p:stCondLst>
                                            <p:cond delay="0"/>
                                          </p:stCondLst>
                                        </p:cTn>
                                        <p:tgtEl>
                                          <p:spTgt spid="102"/>
                                        </p:tgtEl>
                                        <p:attrNameLst>
                                          <p:attrName>style.visibility</p:attrName>
                                        </p:attrNameLst>
                                      </p:cBhvr>
                                      <p:to>
                                        <p:strVal val="visible"/>
                                      </p:to>
                                    </p:set>
                                    <p:anim calcmode="lin" valueType="num">
                                      <p:cBhvr>
                                        <p:cTn dur="750" fill="hold" id="153"/>
                                        <p:tgtEl>
                                          <p:spTgt spid="102"/>
                                        </p:tgtEl>
                                        <p:attrNameLst>
                                          <p:attrName>ppt_x</p:attrName>
                                        </p:attrNameLst>
                                      </p:cBhvr>
                                      <p:tavLst>
                                        <p:tav tm="0">
                                          <p:val>
                                            <p:strVal val="1+#ppt_w/2"/>
                                          </p:val>
                                        </p:tav>
                                        <p:tav tm="100000">
                                          <p:val>
                                            <p:strVal val="#ppt_x"/>
                                          </p:val>
                                        </p:tav>
                                      </p:tavLst>
                                    </p:anim>
                                    <p:anim calcmode="lin" valueType="num">
                                      <p:cBhvr>
                                        <p:cTn dur="750" fill="hold" id="154"/>
                                        <p:tgtEl>
                                          <p:spTgt spid="102"/>
                                        </p:tgtEl>
                                        <p:attrNameLst>
                                          <p:attrName>ppt_y</p:attrName>
                                        </p:attrNameLst>
                                      </p:cBhvr>
                                      <p:tavLst>
                                        <p:tav tm="0">
                                          <p:val>
                                            <p:strVal val="#ppt_y"/>
                                          </p:val>
                                        </p:tav>
                                        <p:tav tm="100000">
                                          <p:val>
                                            <p:strVal val="#ppt_y"/>
                                          </p:val>
                                        </p:tav>
                                      </p:tavLst>
                                    </p:anim>
                                  </p:childTnLst>
                                </p:cTn>
                              </p:par>
                              <p:par>
                                <p:cTn accel="40000" fill="hold" grpId="0" id="155" nodeType="withEffect" presetClass="entr" presetID="2" presetSubtype="2">
                                  <p:stCondLst>
                                    <p:cond delay="0"/>
                                  </p:stCondLst>
                                  <p:childTnLst>
                                    <p:set>
                                      <p:cBhvr>
                                        <p:cTn dur="1" fill="hold" id="156">
                                          <p:stCondLst>
                                            <p:cond delay="0"/>
                                          </p:stCondLst>
                                        </p:cTn>
                                        <p:tgtEl>
                                          <p:spTgt spid="103"/>
                                        </p:tgtEl>
                                        <p:attrNameLst>
                                          <p:attrName>style.visibility</p:attrName>
                                        </p:attrNameLst>
                                      </p:cBhvr>
                                      <p:to>
                                        <p:strVal val="visible"/>
                                      </p:to>
                                    </p:set>
                                    <p:anim calcmode="lin" valueType="num">
                                      <p:cBhvr>
                                        <p:cTn dur="750" fill="hold" id="157"/>
                                        <p:tgtEl>
                                          <p:spTgt spid="103"/>
                                        </p:tgtEl>
                                        <p:attrNameLst>
                                          <p:attrName>ppt_x</p:attrName>
                                        </p:attrNameLst>
                                      </p:cBhvr>
                                      <p:tavLst>
                                        <p:tav tm="0">
                                          <p:val>
                                            <p:strVal val="1+#ppt_w/2"/>
                                          </p:val>
                                        </p:tav>
                                        <p:tav tm="100000">
                                          <p:val>
                                            <p:strVal val="#ppt_x"/>
                                          </p:val>
                                        </p:tav>
                                      </p:tavLst>
                                    </p:anim>
                                    <p:anim calcmode="lin" valueType="num">
                                      <p:cBhvr>
                                        <p:cTn dur="750" fill="hold" id="158"/>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113">
                  <p:stCondLst>
                    <p:cond delay="indefinite"/>
                  </p:stCondLst>
                  <p:endCondLst>
                    <p:cond delay="0" evt="onPrev">
                      <p:tgtEl>
                        <p:sldTgt/>
                      </p:tgtEl>
                    </p:cond>
                    <p:cond delay="0" evt="onStopAudio">
                      <p:tgtEl>
                        <p:sldTgt/>
                      </p:tgtEl>
                    </p:cond>
                  </p:endCondLst>
                </p:cTn>
                <p:tgtEl>
                  <p:spTgt spid="47"/>
                </p:tgtEl>
              </p:cMediaNode>
            </p:audio>
          </p:childTnLst>
        </p:cTn>
      </p:par>
    </p:tnLst>
    <p:bldLst>
      <p:bldP grpId="0" spid="69"/>
      <p:bldP grpId="0" spid="70"/>
      <p:bldP grpId="0" spid="71"/>
      <p:bldP grpId="0" spid="72"/>
      <p:bldP build="p" grpId="0" spid="81"/>
      <p:bldP build="p" grpId="0" spid="82"/>
      <p:bldP build="p" grpId="0" spid="83"/>
      <p:bldP build="p" grpId="0" spid="84"/>
      <p:bldP grpId="0" spid="96"/>
      <p:bldP grpId="0" spid="97"/>
      <p:bldP grpId="0" spid="98"/>
      <p:bldP grpId="0" spid="99"/>
      <p:bldP grpId="0" spid="100"/>
      <p:bldP grpId="0" spid="101"/>
      <p:bldP grpId="0" spid="102"/>
      <p:bldP grpId="0" spid="103"/>
      <p:bldP grpId="0" spid="39"/>
      <p:bldP grpId="0" spid="42"/>
    </p:bldLst>
  </p:timing>
  <p:extLst mod="1">
    <p:ext uri="{E180D4A7-C9FB-4DFB-919C-405C955672EB}">
      <p14:showEvtLst>
        <p14:playEvt objId="47" time="1315"/>
        <p14:stopEvt objId="47" time="2064"/>
      </p14:showEvtLst>
    </p:ext>
  </p:extLst>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9" name="Text Box 41"/>
          <p:cNvSpPr txBox="1">
            <a:spLocks noChangeArrowheads="1"/>
          </p:cNvSpPr>
          <p:nvPr/>
        </p:nvSpPr>
        <p:spPr bwMode="auto">
          <a:xfrm>
            <a:off x="4262027" y="4211927"/>
            <a:ext cx="439582" cy="433152"/>
          </a:xfrm>
          <a:prstGeom prst="rect">
            <a:avLst/>
          </a:prstGeom>
          <a:noFill/>
          <a:ln>
            <a:noFill/>
          </a:ln>
          <a:effectLst/>
          <a:extLst>
            <a:ext uri="{909E8E84-426E-40DD-AFC4-6F175D3DCCD1}">
              <a14:hiddenFill>
                <a:solidFill>
                  <a:srgbClr val="C80000"/>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33696" lIns="67391" rIns="67391" tIns="33696" wrap="none">
            <a:spAutoFit/>
          </a:bodyPr>
          <a:lstStyle/>
          <a:p>
            <a:pPr algn="ctr"/>
            <a:r>
              <a:rPr altLang="en-US" b="1" lang="zh-CN" sz="1200">
                <a:solidFill>
                  <a:schemeClr val="bg1"/>
                </a:solidFill>
                <a:latin charset="-122" panose="020b0503020204020204" pitchFamily="34" typeface="微软雅黑"/>
                <a:ea charset="-122" panose="020b0503020204020204" pitchFamily="34" typeface="微软雅黑"/>
              </a:rPr>
              <a:t>添加</a:t>
            </a:r>
          </a:p>
          <a:p>
            <a:pPr algn="ctr"/>
            <a:r>
              <a:rPr altLang="en-US" b="1" lang="zh-CN" sz="1200">
                <a:solidFill>
                  <a:schemeClr val="bg1"/>
                </a:solidFill>
                <a:latin charset="-122" panose="020b0503020204020204" pitchFamily="34" typeface="微软雅黑"/>
                <a:ea charset="-122" panose="020b0503020204020204" pitchFamily="34" typeface="微软雅黑"/>
              </a:rPr>
              <a:t>内容</a:t>
            </a: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fmla="val 6371"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32" name="圆角矩形 10"/>
            <p:cNvSpPr/>
            <p:nvPr/>
          </p:nvSpPr>
          <p:spPr>
            <a:xfrm>
              <a:off x="1097436" y="1622223"/>
              <a:ext cx="1620675" cy="1172170"/>
            </a:xfrm>
            <a:prstGeom prst="roundRect">
              <a:avLst>
                <a:gd fmla="val 6371" name="adj"/>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33" name="Text Box 41"/>
            <p:cNvSpPr txBox="1">
              <a:spLocks noChangeArrowheads="1"/>
            </p:cNvSpPr>
            <p:nvPr/>
          </p:nvSpPr>
          <p:spPr bwMode="auto">
            <a:xfrm>
              <a:off x="1097436" y="1815163"/>
              <a:ext cx="1620675" cy="802692"/>
            </a:xfrm>
            <a:prstGeom prst="rect">
              <a:avLst/>
            </a:prstGeom>
            <a:noFill/>
            <a:ln>
              <a:noFill/>
            </a:ln>
            <a:effectLst/>
            <a:extLst>
              <a:ext uri="{909E8E84-426E-40DD-AFC4-6F175D3DCCD1}">
                <a14:hiddenFill>
                  <a:solidFill>
                    <a:srgbClr val="C80000"/>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p>
              <a:pPr algn="just">
                <a:lnSpc>
                  <a:spcPct val="114000"/>
                </a:lnSpc>
              </a:pPr>
              <a:r>
                <a:rPr altLang="en-US" lang="zh-CN" sz="1000">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sp>
          <p:nvSpPr>
            <p:cNvPr id="34" name="矩形 27"/>
            <p:cNvSpPr/>
            <p:nvPr/>
          </p:nvSpPr>
          <p:spPr>
            <a:xfrm>
              <a:off x="1519543" y="2806203"/>
              <a:ext cx="805269" cy="280009"/>
            </a:xfrm>
            <a:prstGeom prst="rect">
              <a:avLst/>
            </a:prstGeom>
          </p:spPr>
          <p:txBody>
            <a:bodyPr wrap="none">
              <a:spAutoFit/>
            </a:bodyPr>
            <a:lstStyle/>
            <a:p>
              <a:pPr algn="ctr"/>
              <a:r>
                <a:rPr altLang="en-US" b="1" lang="zh-CN" sz="1200">
                  <a:solidFill>
                    <a:schemeClr val="bg1"/>
                  </a:solidFill>
                  <a:latin charset="-122" panose="020b0502040204020203" pitchFamily="34" typeface="微软雅黑 Light"/>
                  <a:ea charset="-122" panose="020b0502040204020203" pitchFamily="34" typeface="微软雅黑 Light"/>
                </a:rPr>
                <a:t>添加内容</a:t>
              </a: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fmla="val 6371" name="adj"/>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37" name="圆角矩形 12"/>
            <p:cNvSpPr/>
            <p:nvPr/>
          </p:nvSpPr>
          <p:spPr>
            <a:xfrm>
              <a:off x="2870680" y="1629636"/>
              <a:ext cx="1620675" cy="1172170"/>
            </a:xfrm>
            <a:prstGeom prst="roundRect">
              <a:avLst>
                <a:gd fmla="val 6371" name="adj"/>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38" name="矩形 28"/>
            <p:cNvSpPr/>
            <p:nvPr/>
          </p:nvSpPr>
          <p:spPr>
            <a:xfrm>
              <a:off x="3291003" y="2806203"/>
              <a:ext cx="805269" cy="280009"/>
            </a:xfrm>
            <a:prstGeom prst="rect">
              <a:avLst/>
            </a:prstGeom>
          </p:spPr>
          <p:txBody>
            <a:bodyPr wrap="none">
              <a:spAutoFit/>
            </a:bodyPr>
            <a:lstStyle/>
            <a:p>
              <a:pPr algn="ctr"/>
              <a:r>
                <a:rPr altLang="en-US" b="1" lang="zh-CN" sz="1200">
                  <a:solidFill>
                    <a:schemeClr val="bg1"/>
                  </a:solidFill>
                  <a:latin charset="-122" panose="020b0502040204020203" pitchFamily="34" typeface="微软雅黑 Light"/>
                  <a:ea charset="-122" panose="020b0502040204020203" pitchFamily="34" typeface="微软雅黑 Light"/>
                </a:rPr>
                <a:t>添加内容</a:t>
              </a:r>
            </a:p>
          </p:txBody>
        </p:sp>
        <p:sp>
          <p:nvSpPr>
            <p:cNvPr id="39" name="Text Box 41"/>
            <p:cNvSpPr txBox="1">
              <a:spLocks noChangeArrowheads="1"/>
            </p:cNvSpPr>
            <p:nvPr/>
          </p:nvSpPr>
          <p:spPr bwMode="auto">
            <a:xfrm>
              <a:off x="2870511" y="1815163"/>
              <a:ext cx="1620675" cy="802692"/>
            </a:xfrm>
            <a:prstGeom prst="rect">
              <a:avLst/>
            </a:prstGeom>
            <a:noFill/>
            <a:ln>
              <a:noFill/>
            </a:ln>
            <a:effectLst/>
            <a:extLst>
              <a:ext uri="{909E8E84-426E-40DD-AFC4-6F175D3DCCD1}">
                <a14:hiddenFill>
                  <a:solidFill>
                    <a:srgbClr val="C80000"/>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p>
              <a:pPr algn="just">
                <a:lnSpc>
                  <a:spcPct val="114000"/>
                </a:lnSpc>
              </a:pPr>
              <a:r>
                <a:rPr altLang="en-US" lang="zh-CN" sz="1000">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fmla="val 6371"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42" name="圆角矩形 14"/>
            <p:cNvSpPr/>
            <p:nvPr/>
          </p:nvSpPr>
          <p:spPr>
            <a:xfrm>
              <a:off x="4643925" y="1632610"/>
              <a:ext cx="1620675" cy="1172170"/>
            </a:xfrm>
            <a:prstGeom prst="roundRect">
              <a:avLst>
                <a:gd fmla="val 6371" name="adj"/>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43" name="矩形 29"/>
            <p:cNvSpPr/>
            <p:nvPr/>
          </p:nvSpPr>
          <p:spPr>
            <a:xfrm>
              <a:off x="5032445" y="2806203"/>
              <a:ext cx="805269" cy="280009"/>
            </a:xfrm>
            <a:prstGeom prst="rect">
              <a:avLst/>
            </a:prstGeom>
          </p:spPr>
          <p:txBody>
            <a:bodyPr wrap="none">
              <a:spAutoFit/>
            </a:bodyPr>
            <a:lstStyle/>
            <a:p>
              <a:pPr algn="ctr"/>
              <a:r>
                <a:rPr altLang="en-US" b="1" lang="zh-CN" sz="1200">
                  <a:solidFill>
                    <a:schemeClr val="bg1"/>
                  </a:solidFill>
                  <a:latin charset="-122" panose="020b0502040204020203" pitchFamily="34" typeface="微软雅黑 Light"/>
                  <a:ea charset="-122" panose="020b0502040204020203" pitchFamily="34" typeface="微软雅黑 Light"/>
                </a:rPr>
                <a:t>添加内容</a:t>
              </a:r>
            </a:p>
          </p:txBody>
        </p:sp>
        <p:sp>
          <p:nvSpPr>
            <p:cNvPr id="44" name="Text Box 41"/>
            <p:cNvSpPr txBox="1">
              <a:spLocks noChangeArrowheads="1"/>
            </p:cNvSpPr>
            <p:nvPr/>
          </p:nvSpPr>
          <p:spPr bwMode="auto">
            <a:xfrm>
              <a:off x="4632636" y="1824688"/>
              <a:ext cx="1620675" cy="802692"/>
            </a:xfrm>
            <a:prstGeom prst="rect">
              <a:avLst/>
            </a:prstGeom>
            <a:noFill/>
            <a:ln>
              <a:noFill/>
            </a:ln>
            <a:effectLst/>
            <a:extLst>
              <a:ext uri="{909E8E84-426E-40DD-AFC4-6F175D3DCCD1}">
                <a14:hiddenFill>
                  <a:solidFill>
                    <a:srgbClr val="C80000"/>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p>
              <a:pPr algn="just">
                <a:lnSpc>
                  <a:spcPct val="114000"/>
                </a:lnSpc>
              </a:pPr>
              <a:r>
                <a:rPr altLang="en-US" lang="zh-CN" sz="1000">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fmla="val 6371" name="adj"/>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47" name="圆角矩形 16"/>
            <p:cNvSpPr/>
            <p:nvPr/>
          </p:nvSpPr>
          <p:spPr>
            <a:xfrm>
              <a:off x="6407286" y="1632610"/>
              <a:ext cx="1620675" cy="1172170"/>
            </a:xfrm>
            <a:prstGeom prst="roundRect">
              <a:avLst>
                <a:gd fmla="val 6371" name="adj"/>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latin charset="-122" panose="020b0502040204020203" pitchFamily="34" typeface="微软雅黑 Light"/>
                <a:ea charset="-122" panose="020b0502040204020203" pitchFamily="34" typeface="微软雅黑 Light"/>
              </a:endParaRPr>
            </a:p>
          </p:txBody>
        </p:sp>
        <p:sp>
          <p:nvSpPr>
            <p:cNvPr id="48" name="矩形 30"/>
            <p:cNvSpPr/>
            <p:nvPr/>
          </p:nvSpPr>
          <p:spPr>
            <a:xfrm>
              <a:off x="6820541" y="2806203"/>
              <a:ext cx="805269" cy="280009"/>
            </a:xfrm>
            <a:prstGeom prst="rect">
              <a:avLst/>
            </a:prstGeom>
          </p:spPr>
          <p:txBody>
            <a:bodyPr wrap="none">
              <a:spAutoFit/>
            </a:bodyPr>
            <a:lstStyle/>
            <a:p>
              <a:pPr algn="ctr"/>
              <a:r>
                <a:rPr altLang="en-US" b="1" lang="zh-CN" sz="1200">
                  <a:solidFill>
                    <a:schemeClr val="bg1"/>
                  </a:solidFill>
                  <a:latin charset="-122" panose="020b0502040204020203" pitchFamily="34" typeface="微软雅黑 Light"/>
                  <a:ea charset="-122" panose="020b0502040204020203" pitchFamily="34" typeface="微软雅黑 Light"/>
                </a:rPr>
                <a:t>添加内容</a:t>
              </a:r>
            </a:p>
          </p:txBody>
        </p:sp>
        <p:sp>
          <p:nvSpPr>
            <p:cNvPr id="49" name="Text Box 41"/>
            <p:cNvSpPr txBox="1">
              <a:spLocks noChangeArrowheads="1"/>
            </p:cNvSpPr>
            <p:nvPr/>
          </p:nvSpPr>
          <p:spPr bwMode="auto">
            <a:xfrm>
              <a:off x="6458549" y="1834213"/>
              <a:ext cx="1620675" cy="802692"/>
            </a:xfrm>
            <a:prstGeom prst="rect">
              <a:avLst/>
            </a:prstGeom>
            <a:noFill/>
            <a:ln>
              <a:noFill/>
            </a:ln>
            <a:effectLst/>
            <a:extLst>
              <a:ext uri="{909E8E84-426E-40DD-AFC4-6F175D3DCCD1}">
                <a14:hiddenFill>
                  <a:solidFill>
                    <a:srgbClr val="C80000"/>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p>
              <a:pPr algn="just">
                <a:lnSpc>
                  <a:spcPct val="114000"/>
                </a:lnSpc>
              </a:pPr>
              <a:r>
                <a:rPr altLang="en-US" lang="zh-CN" sz="1000">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fmla="val 19149915" name="adj1"/>
                  <a:gd fmla="val 0" name="adj2"/>
                  <a:gd fmla="val 25000" name="adj3"/>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solidFill>
                    <a:schemeClr val="tx1"/>
                  </a:solidFill>
                  <a:latin charset="-122" panose="020b0502040204020203" pitchFamily="34" typeface="微软雅黑 Light"/>
                  <a:ea charset="-122" panose="020b0502040204020203" pitchFamily="34" typeface="微软雅黑 Light"/>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85" name="Freeform 19"/>
                <p:cNvSpPr/>
                <p:nvPr/>
              </p:nvSpPr>
              <p:spPr bwMode="auto">
                <a:xfrm>
                  <a:off x="5511800" y="1344613"/>
                  <a:ext cx="860425" cy="760413"/>
                </a:xfrm>
                <a:custGeom>
                  <a:gdLst>
                    <a:gd fmla="*/ 201 w 301" name="T0"/>
                    <a:gd fmla="*/ 0 h 266" name="T1"/>
                    <a:gd fmla="*/ 151 w 301" name="T2"/>
                    <a:gd fmla="*/ 67 h 266" name="T3"/>
                    <a:gd fmla="*/ 101 w 301" name="T4"/>
                    <a:gd fmla="*/ 0 h 266" name="T5"/>
                    <a:gd fmla="*/ 0 w 301" name="T6"/>
                    <a:gd fmla="*/ 144 h 266" name="T7"/>
                    <a:gd fmla="*/ 0 w 301" name="T8"/>
                    <a:gd fmla="*/ 235 h 266" name="T9"/>
                    <a:gd fmla="*/ 0 w 301" name="T10"/>
                    <a:gd fmla="*/ 235 h 266" name="T11"/>
                    <a:gd fmla="*/ 151 w 301" name="T12"/>
                    <a:gd fmla="*/ 266 h 266" name="T13"/>
                    <a:gd fmla="*/ 301 w 301" name="T14"/>
                    <a:gd fmla="*/ 235 h 266" name="T15"/>
                    <a:gd fmla="*/ 301 w 301" name="T16"/>
                    <a:gd fmla="*/ 235 h 266" name="T17"/>
                    <a:gd fmla="*/ 301 w 301" name="T18"/>
                    <a:gd fmla="*/ 144 h 266" name="T19"/>
                    <a:gd fmla="*/ 201 w 301" name="T20"/>
                    <a:gd fmla="*/ 0 h 26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66" w="301">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86" name="Freeform 20"/>
                <p:cNvSpPr/>
                <p:nvPr/>
              </p:nvSpPr>
              <p:spPr bwMode="auto">
                <a:xfrm>
                  <a:off x="5900738" y="1319213"/>
                  <a:ext cx="85725" cy="50800"/>
                </a:xfrm>
                <a:custGeom>
                  <a:gdLst>
                    <a:gd fmla="*/ 30 w 30" name="T0"/>
                    <a:gd fmla="*/ 1 h 18" name="T1"/>
                    <a:gd fmla="*/ 15 w 30" name="T2"/>
                    <a:gd fmla="*/ 0 h 18" name="T3"/>
                    <a:gd fmla="*/ 1 w 30" name="T4"/>
                    <a:gd fmla="*/ 1 h 18" name="T5"/>
                    <a:gd fmla="*/ 7 w 30" name="T6"/>
                    <a:gd fmla="*/ 18 h 18" name="T7"/>
                    <a:gd fmla="*/ 24 w 30" name="T8"/>
                    <a:gd fmla="*/ 18 h 18" name="T9"/>
                    <a:gd fmla="*/ 30 w 30" name="T10"/>
                    <a:gd fmla="*/ 1 h 18" name="T11"/>
                  </a:gdLst>
                  <a:cxnLst>
                    <a:cxn ang="0">
                      <a:pos x="T0" y="T1"/>
                    </a:cxn>
                    <a:cxn ang="0">
                      <a:pos x="T2" y="T3"/>
                    </a:cxn>
                    <a:cxn ang="0">
                      <a:pos x="T4" y="T5"/>
                    </a:cxn>
                    <a:cxn ang="0">
                      <a:pos x="T6" y="T7"/>
                    </a:cxn>
                    <a:cxn ang="0">
                      <a:pos x="T8" y="T9"/>
                    </a:cxn>
                    <a:cxn ang="0">
                      <a:pos x="T10" y="T11"/>
                    </a:cxn>
                  </a:cxnLst>
                  <a:rect b="b" l="0" r="r" t="0"/>
                  <a:pathLst>
                    <a:path h="18" w="30">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87" name="Freeform 21"/>
                <p:cNvSpPr/>
                <p:nvPr/>
              </p:nvSpPr>
              <p:spPr bwMode="auto">
                <a:xfrm>
                  <a:off x="5894388" y="1377951"/>
                  <a:ext cx="95250" cy="130175"/>
                </a:xfrm>
                <a:custGeom>
                  <a:gdLst>
                    <a:gd fmla="*/ 15 w 60" name="T0"/>
                    <a:gd fmla="*/ 0 h 82" name="T1"/>
                    <a:gd fmla="*/ 47 w 60" name="T2"/>
                    <a:gd fmla="*/ 0 h 82" name="T3"/>
                    <a:gd fmla="*/ 60 w 60" name="T4"/>
                    <a:gd fmla="*/ 47 h 82" name="T5"/>
                    <a:gd fmla="*/ 31 w 60" name="T6"/>
                    <a:gd fmla="*/ 82 h 82" name="T7"/>
                    <a:gd fmla="*/ 0 w 60" name="T8"/>
                    <a:gd fmla="*/ 47 h 82" name="T9"/>
                    <a:gd fmla="*/ 15 w 60" name="T10"/>
                    <a:gd fmla="*/ 0 h 82" name="T11"/>
                  </a:gdLst>
                  <a:cxnLst>
                    <a:cxn ang="0">
                      <a:pos x="T0" y="T1"/>
                    </a:cxn>
                    <a:cxn ang="0">
                      <a:pos x="T2" y="T3"/>
                    </a:cxn>
                    <a:cxn ang="0">
                      <a:pos x="T4" y="T5"/>
                    </a:cxn>
                    <a:cxn ang="0">
                      <a:pos x="T6" y="T7"/>
                    </a:cxn>
                    <a:cxn ang="0">
                      <a:pos x="T8" y="T9"/>
                    </a:cxn>
                    <a:cxn ang="0">
                      <a:pos x="T10" y="T11"/>
                    </a:cxn>
                  </a:cxnLst>
                  <a:rect b="b" l="0" r="r" t="0"/>
                  <a:pathLst>
                    <a:path h="82" w="60">
                      <a:moveTo>
                        <a:pt x="15" y="0"/>
                      </a:moveTo>
                      <a:lnTo>
                        <a:pt x="47" y="0"/>
                      </a:lnTo>
                      <a:lnTo>
                        <a:pt x="60" y="47"/>
                      </a:lnTo>
                      <a:lnTo>
                        <a:pt x="31" y="82"/>
                      </a:lnTo>
                      <a:lnTo>
                        <a:pt x="0" y="47"/>
                      </a:lnTo>
                      <a:lnTo>
                        <a:pt x="15" y="0"/>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88" name="Freeform 22"/>
                <p:cNvSpPr/>
                <p:nvPr/>
              </p:nvSpPr>
              <p:spPr bwMode="auto">
                <a:xfrm>
                  <a:off x="5432425" y="1427163"/>
                  <a:ext cx="71438" cy="96838"/>
                </a:xfrm>
                <a:custGeom>
                  <a:gdLst>
                    <a:gd fmla="*/ 23 w 45" name="T0"/>
                    <a:gd fmla="*/ 61 h 61" name="T1"/>
                    <a:gd fmla="*/ 45 w 45" name="T2"/>
                    <a:gd fmla="*/ 34 h 61" name="T3"/>
                    <a:gd fmla="*/ 34 w 45" name="T4"/>
                    <a:gd fmla="*/ 0 h 61" name="T5"/>
                    <a:gd fmla="*/ 11 w 45" name="T6"/>
                    <a:gd fmla="*/ 0 h 61" name="T7"/>
                    <a:gd fmla="*/ 0 w 45" name="T8"/>
                    <a:gd fmla="*/ 34 h 61" name="T9"/>
                    <a:gd fmla="*/ 23 w 45" name="T10"/>
                    <a:gd fmla="*/ 61 h 61" name="T11"/>
                  </a:gdLst>
                  <a:cxnLst>
                    <a:cxn ang="0">
                      <a:pos x="T0" y="T1"/>
                    </a:cxn>
                    <a:cxn ang="0">
                      <a:pos x="T2" y="T3"/>
                    </a:cxn>
                    <a:cxn ang="0">
                      <a:pos x="T4" y="T5"/>
                    </a:cxn>
                    <a:cxn ang="0">
                      <a:pos x="T6" y="T7"/>
                    </a:cxn>
                    <a:cxn ang="0">
                      <a:pos x="T8" y="T9"/>
                    </a:cxn>
                    <a:cxn ang="0">
                      <a:pos x="T10" y="T11"/>
                    </a:cxn>
                  </a:cxnLst>
                  <a:rect b="b" l="0" r="r" t="0"/>
                  <a:pathLst>
                    <a:path h="61" w="45">
                      <a:moveTo>
                        <a:pt x="23" y="61"/>
                      </a:moveTo>
                      <a:lnTo>
                        <a:pt x="45" y="34"/>
                      </a:lnTo>
                      <a:lnTo>
                        <a:pt x="34" y="0"/>
                      </a:lnTo>
                      <a:lnTo>
                        <a:pt x="11" y="0"/>
                      </a:lnTo>
                      <a:lnTo>
                        <a:pt x="0" y="34"/>
                      </a:lnTo>
                      <a:lnTo>
                        <a:pt x="23" y="61"/>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89" name="Freeform 23"/>
                <p:cNvSpPr/>
                <p:nvPr/>
              </p:nvSpPr>
              <p:spPr bwMode="auto">
                <a:xfrm>
                  <a:off x="5146675" y="1401763"/>
                  <a:ext cx="465138" cy="568325"/>
                </a:xfrm>
                <a:custGeom>
                  <a:gdLst>
                    <a:gd fmla="*/ 150 w 163" name="T0"/>
                    <a:gd fmla="*/ 0 h 199" name="T1"/>
                    <a:gd fmla="*/ 113 w 163" name="T2"/>
                    <a:gd fmla="*/ 50 h 199" name="T3"/>
                    <a:gd fmla="*/ 75 w 163" name="T4"/>
                    <a:gd fmla="*/ 0 h 199" name="T5"/>
                    <a:gd fmla="*/ 0 w 163" name="T6"/>
                    <a:gd fmla="*/ 108 h 199" name="T7"/>
                    <a:gd fmla="*/ 0 w 163" name="T8"/>
                    <a:gd fmla="*/ 176 h 199" name="T9"/>
                    <a:gd fmla="*/ 0 w 163" name="T10"/>
                    <a:gd fmla="*/ 176 h 199" name="T11"/>
                    <a:gd fmla="*/ 113 w 163" name="T12"/>
                    <a:gd fmla="*/ 199 h 199" name="T13"/>
                    <a:gd fmla="*/ 114 w 163" name="T14"/>
                    <a:gd fmla="*/ 199 h 199" name="T15"/>
                    <a:gd fmla="*/ 114 w 163" name="T16"/>
                    <a:gd fmla="*/ 124 h 199" name="T17"/>
                    <a:gd fmla="*/ 163 w 163" name="T18"/>
                    <a:gd fmla="*/ 6 h 199" name="T19"/>
                    <a:gd fmla="*/ 150 w 163" name="T20"/>
                    <a:gd fmla="*/ 0 h 199"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99" w="163">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90" name="Freeform 24"/>
                <p:cNvSpPr/>
                <p:nvPr/>
              </p:nvSpPr>
              <p:spPr bwMode="auto">
                <a:xfrm>
                  <a:off x="5438775" y="1381126"/>
                  <a:ext cx="61913" cy="41275"/>
                </a:xfrm>
                <a:custGeom>
                  <a:gdLst>
                    <a:gd fmla="*/ 18 w 22" name="T0"/>
                    <a:gd fmla="*/ 14 h 14" name="T1"/>
                    <a:gd fmla="*/ 22 w 22" name="T2"/>
                    <a:gd fmla="*/ 1 h 14" name="T3"/>
                    <a:gd fmla="*/ 11 w 22" name="T4"/>
                    <a:gd fmla="*/ 0 h 14" name="T5"/>
                    <a:gd fmla="*/ 0 w 22" name="T6"/>
                    <a:gd fmla="*/ 1 h 14" name="T7"/>
                    <a:gd fmla="*/ 5 w 22" name="T8"/>
                    <a:gd fmla="*/ 14 h 14" name="T9"/>
                    <a:gd fmla="*/ 18 w 22" name="T10"/>
                    <a:gd fmla="*/ 14 h 14" name="T11"/>
                  </a:gdLst>
                  <a:cxnLst>
                    <a:cxn ang="0">
                      <a:pos x="T0" y="T1"/>
                    </a:cxn>
                    <a:cxn ang="0">
                      <a:pos x="T2" y="T3"/>
                    </a:cxn>
                    <a:cxn ang="0">
                      <a:pos x="T4" y="T5"/>
                    </a:cxn>
                    <a:cxn ang="0">
                      <a:pos x="T6" y="T7"/>
                    </a:cxn>
                    <a:cxn ang="0">
                      <a:pos x="T8" y="T9"/>
                    </a:cxn>
                    <a:cxn ang="0">
                      <a:pos x="T10" y="T11"/>
                    </a:cxn>
                  </a:cxnLst>
                  <a:rect b="b" l="0" r="r" t="0"/>
                  <a:pathLst>
                    <a:path h="14" w="22">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92" name="Freeform 26"/>
                <p:cNvSpPr/>
                <p:nvPr/>
              </p:nvSpPr>
              <p:spPr bwMode="auto">
                <a:xfrm>
                  <a:off x="6386513" y="1381126"/>
                  <a:ext cx="61913" cy="41275"/>
                </a:xfrm>
                <a:custGeom>
                  <a:gdLst>
                    <a:gd fmla="*/ 17 w 22" name="T0"/>
                    <a:gd fmla="*/ 14 h 14" name="T1"/>
                    <a:gd fmla="*/ 22 w 22" name="T2"/>
                    <a:gd fmla="*/ 1 h 14" name="T3"/>
                    <a:gd fmla="*/ 11 w 22" name="T4"/>
                    <a:gd fmla="*/ 0 h 14" name="T5"/>
                    <a:gd fmla="*/ 0 w 22" name="T6"/>
                    <a:gd fmla="*/ 1 h 14" name="T7"/>
                    <a:gd fmla="*/ 5 w 22" name="T8"/>
                    <a:gd fmla="*/ 14 h 14" name="T9"/>
                    <a:gd fmla="*/ 17 w 22" name="T10"/>
                    <a:gd fmla="*/ 14 h 14" name="T11"/>
                  </a:gdLst>
                  <a:cxnLst>
                    <a:cxn ang="0">
                      <a:pos x="T0" y="T1"/>
                    </a:cxn>
                    <a:cxn ang="0">
                      <a:pos x="T2" y="T3"/>
                    </a:cxn>
                    <a:cxn ang="0">
                      <a:pos x="T4" y="T5"/>
                    </a:cxn>
                    <a:cxn ang="0">
                      <a:pos x="T6" y="T7"/>
                    </a:cxn>
                    <a:cxn ang="0">
                      <a:pos x="T8" y="T9"/>
                    </a:cxn>
                    <a:cxn ang="0">
                      <a:pos x="T10" y="T11"/>
                    </a:cxn>
                  </a:cxnLst>
                  <a:rect b="b" l="0" r="r" t="0"/>
                  <a:pathLst>
                    <a:path h="14" w="22">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93" name="Freeform 27"/>
                <p:cNvSpPr/>
                <p:nvPr/>
              </p:nvSpPr>
              <p:spPr bwMode="auto">
                <a:xfrm>
                  <a:off x="6380163" y="1427163"/>
                  <a:ext cx="71438" cy="96838"/>
                </a:xfrm>
                <a:custGeom>
                  <a:gdLst>
                    <a:gd fmla="*/ 24 w 45" name="T0"/>
                    <a:gd fmla="*/ 61 h 61" name="T1"/>
                    <a:gd fmla="*/ 45 w 45" name="T2"/>
                    <a:gd fmla="*/ 34 h 61" name="T3"/>
                    <a:gd fmla="*/ 34 w 45" name="T4"/>
                    <a:gd fmla="*/ 0 h 61" name="T5"/>
                    <a:gd fmla="*/ 11 w 45" name="T6"/>
                    <a:gd fmla="*/ 0 h 61" name="T7"/>
                    <a:gd fmla="*/ 0 w 45" name="T8"/>
                    <a:gd fmla="*/ 34 h 61" name="T9"/>
                    <a:gd fmla="*/ 24 w 45" name="T10"/>
                    <a:gd fmla="*/ 61 h 61" name="T11"/>
                  </a:gdLst>
                  <a:cxnLst>
                    <a:cxn ang="0">
                      <a:pos x="T0" y="T1"/>
                    </a:cxn>
                    <a:cxn ang="0">
                      <a:pos x="T2" y="T3"/>
                    </a:cxn>
                    <a:cxn ang="0">
                      <a:pos x="T4" y="T5"/>
                    </a:cxn>
                    <a:cxn ang="0">
                      <a:pos x="T6" y="T7"/>
                    </a:cxn>
                    <a:cxn ang="0">
                      <a:pos x="T8" y="T9"/>
                    </a:cxn>
                    <a:cxn ang="0">
                      <a:pos x="T10" y="T11"/>
                    </a:cxn>
                  </a:cxnLst>
                  <a:rect b="b" l="0" r="r" t="0"/>
                  <a:pathLst>
                    <a:path h="61" w="45">
                      <a:moveTo>
                        <a:pt x="24" y="61"/>
                      </a:moveTo>
                      <a:lnTo>
                        <a:pt x="45" y="34"/>
                      </a:lnTo>
                      <a:lnTo>
                        <a:pt x="34" y="0"/>
                      </a:lnTo>
                      <a:lnTo>
                        <a:pt x="11" y="0"/>
                      </a:lnTo>
                      <a:lnTo>
                        <a:pt x="0" y="34"/>
                      </a:lnTo>
                      <a:lnTo>
                        <a:pt x="24" y="61"/>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95" name="Freeform 29"/>
                <p:cNvSpPr/>
                <p:nvPr/>
              </p:nvSpPr>
              <p:spPr bwMode="auto">
                <a:xfrm>
                  <a:off x="6272213" y="1401763"/>
                  <a:ext cx="465138" cy="568325"/>
                </a:xfrm>
                <a:custGeom>
                  <a:gdLst>
                    <a:gd fmla="*/ 88 w 163" name="T0"/>
                    <a:gd fmla="*/ 0 h 199" name="T1"/>
                    <a:gd fmla="*/ 51 w 163" name="T2"/>
                    <a:gd fmla="*/ 50 h 199" name="T3"/>
                    <a:gd fmla="*/ 13 w 163" name="T4"/>
                    <a:gd fmla="*/ 0 h 199" name="T5"/>
                    <a:gd fmla="*/ 0 w 163" name="T6"/>
                    <a:gd fmla="*/ 6 h 199" name="T7"/>
                    <a:gd fmla="*/ 49 w 163" name="T8"/>
                    <a:gd fmla="*/ 124 h 199" name="T9"/>
                    <a:gd fmla="*/ 49 w 163" name="T10"/>
                    <a:gd fmla="*/ 199 h 199" name="T11"/>
                    <a:gd fmla="*/ 51 w 163" name="T12"/>
                    <a:gd fmla="*/ 199 h 199" name="T13"/>
                    <a:gd fmla="*/ 163 w 163" name="T14"/>
                    <a:gd fmla="*/ 176 h 199" name="T15"/>
                    <a:gd fmla="*/ 163 w 163" name="T16"/>
                    <a:gd fmla="*/ 176 h 199" name="T17"/>
                    <a:gd fmla="*/ 163 w 163" name="T18"/>
                    <a:gd fmla="*/ 108 h 199" name="T19"/>
                    <a:gd fmla="*/ 88 w 163" name="T20"/>
                    <a:gd fmla="*/ 0 h 199"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99" w="163">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fmla="val 18701236" name="adj1"/>
                  <a:gd fmla="val 0" name="adj2"/>
                  <a:gd fmla="val 25000" name="adj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solidFill>
                    <a:schemeClr val="tx1"/>
                  </a:solidFill>
                  <a:latin charset="-122" panose="020b0502040204020203" pitchFamily="34" typeface="微软雅黑 Light"/>
                  <a:ea charset="-122" panose="020b0502040204020203" pitchFamily="34" typeface="微软雅黑 Light"/>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gdLst>
                    <a:gd fmla="*/ 256 w 281" name="T0"/>
                    <a:gd fmla="*/ 26 h 282" name="T1"/>
                    <a:gd fmla="*/ 163 w 281" name="T2"/>
                    <a:gd fmla="*/ 26 h 282" name="T3"/>
                    <a:gd fmla="*/ 0 w 281" name="T4"/>
                    <a:gd fmla="*/ 190 h 282" name="T5"/>
                    <a:gd fmla="*/ 92 w 281" name="T6"/>
                    <a:gd fmla="*/ 282 h 282" name="T7"/>
                    <a:gd fmla="*/ 256 w 281" name="T8"/>
                    <a:gd fmla="*/ 119 h 282" name="T9"/>
                    <a:gd fmla="*/ 256 w 281" name="T10"/>
                    <a:gd fmla="*/ 26 h 282" name="T11"/>
                    <a:gd fmla="*/ 55 w 281" name="T12"/>
                    <a:gd fmla="*/ 192 h 282" name="T13"/>
                    <a:gd fmla="*/ 44 w 281" name="T14"/>
                    <a:gd fmla="*/ 181 h 282" name="T15"/>
                    <a:gd fmla="*/ 183 w 281" name="T16"/>
                    <a:gd fmla="*/ 42 h 282" name="T17"/>
                    <a:gd fmla="*/ 194 w 281" name="T18"/>
                    <a:gd fmla="*/ 42 h 282" name="T19"/>
                    <a:gd fmla="*/ 194 w 281" name="T20"/>
                    <a:gd fmla="*/ 53 h 282" name="T21"/>
                    <a:gd fmla="*/ 55 w 281" name="T22"/>
                    <a:gd fmla="*/ 192 h 282" name="T23"/>
                    <a:gd fmla="*/ 78 w 281" name="T24"/>
                    <a:gd fmla="*/ 215 h 282" name="T25"/>
                    <a:gd fmla="*/ 67 w 281" name="T26"/>
                    <a:gd fmla="*/ 204 h 282" name="T27"/>
                    <a:gd fmla="*/ 217 w 281" name="T28"/>
                    <a:gd fmla="*/ 54 h 282" name="T29"/>
                    <a:gd fmla="*/ 228 w 281" name="T30"/>
                    <a:gd fmla="*/ 54 h 282" name="T31"/>
                    <a:gd fmla="*/ 228 w 281" name="T32"/>
                    <a:gd fmla="*/ 65 h 282" name="T33"/>
                    <a:gd fmla="*/ 78 w 281" name="T34"/>
                    <a:gd fmla="*/ 215 h 282" name="T35"/>
                    <a:gd fmla="*/ 101 w 281" name="T36"/>
                    <a:gd fmla="*/ 238 h 282" name="T37"/>
                    <a:gd fmla="*/ 90 w 281" name="T38"/>
                    <a:gd fmla="*/ 227 h 282" name="T39"/>
                    <a:gd fmla="*/ 229 w 281" name="T40"/>
                    <a:gd fmla="*/ 88 h 282" name="T41"/>
                    <a:gd fmla="*/ 240 w 281" name="T42"/>
                    <a:gd fmla="*/ 88 h 282" name="T43"/>
                    <a:gd fmla="*/ 240 w 281" name="T44"/>
                    <a:gd fmla="*/ 99 h 282" name="T45"/>
                    <a:gd fmla="*/ 101 w 281" name="T46"/>
                    <a:gd fmla="*/ 238 h 282" name="T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b="b" l="0" r="r" t="0"/>
                  <a:pathLst>
                    <a:path h="282" w="281">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sp>
              <p:nvSpPr>
                <p:cNvPr id="79" name="Freeform 68"/>
                <p:cNvSpPr/>
                <p:nvPr/>
              </p:nvSpPr>
              <p:spPr bwMode="auto">
                <a:xfrm>
                  <a:off x="5375275" y="3662363"/>
                  <a:ext cx="554038" cy="558800"/>
                </a:xfrm>
                <a:custGeom>
                  <a:gdLst>
                    <a:gd fmla="*/ 227 w 349" name="T0"/>
                    <a:gd fmla="*/ 209 h 352" name="T1"/>
                    <a:gd fmla="*/ 210 w 349" name="T2"/>
                    <a:gd fmla="*/ 193 h 352" name="T3"/>
                    <a:gd fmla="*/ 349 w 349" name="T4"/>
                    <a:gd fmla="*/ 54 h 352" name="T5"/>
                    <a:gd fmla="*/ 295 w 349" name="T6"/>
                    <a:gd fmla="*/ 0 h 352" name="T7"/>
                    <a:gd fmla="*/ 156 w 349" name="T8"/>
                    <a:gd fmla="*/ 139 h 352" name="T9"/>
                    <a:gd fmla="*/ 142 w 349" name="T10"/>
                    <a:gd fmla="*/ 125 h 352" name="T11"/>
                    <a:gd fmla="*/ 110 w 349" name="T12"/>
                    <a:gd fmla="*/ 141 h 352" name="T13"/>
                    <a:gd fmla="*/ 0 w 349" name="T14"/>
                    <a:gd fmla="*/ 317 h 352" name="T15"/>
                    <a:gd fmla="*/ 32 w 349" name="T16"/>
                    <a:gd fmla="*/ 352 h 352" name="T17"/>
                    <a:gd fmla="*/ 207 w 349" name="T18"/>
                    <a:gd fmla="*/ 242 h 352" name="T19"/>
                    <a:gd fmla="*/ 227 w 349" name="T20"/>
                    <a:gd fmla="*/ 209 h 35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52" w="349">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sp>
              <p:nvSpPr>
                <p:cNvPr id="80" name="Freeform 69"/>
                <p:cNvSpPr/>
                <p:nvPr/>
              </p:nvSpPr>
              <p:spPr bwMode="auto">
                <a:xfrm>
                  <a:off x="5278438" y="2986088"/>
                  <a:ext cx="590550" cy="590550"/>
                </a:xfrm>
                <a:custGeom>
                  <a:gdLst>
                    <a:gd fmla="*/ 104 w 207" name="T0"/>
                    <a:gd fmla="*/ 0 h 207" name="T1"/>
                    <a:gd fmla="*/ 78 w 207" name="T2"/>
                    <a:gd fmla="*/ 3 h 207" name="T3"/>
                    <a:gd fmla="*/ 81 w 207" name="T4"/>
                    <a:gd fmla="*/ 5 h 207" name="T5"/>
                    <a:gd fmla="*/ 118 w 207" name="T6"/>
                    <a:gd fmla="*/ 43 h 207" name="T7"/>
                    <a:gd fmla="*/ 118 w 207" name="T8"/>
                    <a:gd fmla="*/ 112 h 207" name="T9"/>
                    <a:gd fmla="*/ 49 w 207" name="T10"/>
                    <a:gd fmla="*/ 112 h 207" name="T11"/>
                    <a:gd fmla="*/ 12 w 207" name="T12"/>
                    <a:gd fmla="*/ 74 h 207" name="T13"/>
                    <a:gd fmla="*/ 7 w 207" name="T14"/>
                    <a:gd fmla="*/ 68 h 207" name="T15"/>
                    <a:gd fmla="*/ 0 w 207" name="T16"/>
                    <a:gd fmla="*/ 103 h 207" name="T17"/>
                    <a:gd fmla="*/ 104 w 207" name="T18"/>
                    <a:gd fmla="*/ 207 h 207" name="T19"/>
                    <a:gd fmla="*/ 207 w 207" name="T20"/>
                    <a:gd fmla="*/ 103 h 207" name="T21"/>
                    <a:gd fmla="*/ 104 w 207" name="T22"/>
                    <a:gd fmla="*/ 0 h 207"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206" w="206">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sp>
              <p:nvSpPr>
                <p:cNvPr id="81" name="Freeform 70"/>
                <p:cNvSpPr>
                  <a:spLocks noEditPoints="1"/>
                </p:cNvSpPr>
                <p:nvPr/>
              </p:nvSpPr>
              <p:spPr bwMode="auto">
                <a:xfrm>
                  <a:off x="6008688" y="3686176"/>
                  <a:ext cx="531813" cy="531813"/>
                </a:xfrm>
                <a:custGeom>
                  <a:gdLst>
                    <a:gd fmla="*/ 164 w 186" name="T0"/>
                    <a:gd fmla="*/ 164 h 186" name="T1"/>
                    <a:gd fmla="*/ 164 w 186" name="T2"/>
                    <a:gd fmla="*/ 83 h 186" name="T3"/>
                    <a:gd fmla="*/ 81 w 186" name="T4"/>
                    <a:gd fmla="*/ 0 h 186" name="T5"/>
                    <a:gd fmla="*/ 0 w 186" name="T6"/>
                    <a:gd fmla="*/ 81 h 186" name="T7"/>
                    <a:gd fmla="*/ 82 w 186" name="T8"/>
                    <a:gd fmla="*/ 164 h 186" name="T9"/>
                    <a:gd fmla="*/ 164 w 186" name="T10"/>
                    <a:gd fmla="*/ 164 h 186" name="T11"/>
                    <a:gd fmla="*/ 109 w 186" name="T12"/>
                    <a:gd fmla="*/ 109 h 186" name="T13"/>
                    <a:gd fmla="*/ 142 w 186" name="T14"/>
                    <a:gd fmla="*/ 109 h 186" name="T15"/>
                    <a:gd fmla="*/ 142 w 186" name="T16"/>
                    <a:gd fmla="*/ 143 h 186" name="T17"/>
                    <a:gd fmla="*/ 109 w 186" name="T18"/>
                    <a:gd fmla="*/ 143 h 186" name="T19"/>
                    <a:gd fmla="*/ 109 w 186" name="T20"/>
                    <a:gd fmla="*/ 109 h 18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86" w="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20">
                <a:off x="2953610" y="3349506"/>
                <a:ext cx="3123870" cy="3092137"/>
              </a:xfrm>
              <a:prstGeom prst="blockArc">
                <a:avLst>
                  <a:gd fmla="val 18792979" name="adj1"/>
                  <a:gd fmla="val 0" name="adj2"/>
                  <a:gd fmla="val 25000" name="adj3"/>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solidFill>
                    <a:schemeClr val="tx1"/>
                  </a:solidFill>
                  <a:latin charset="-122" panose="020b0502040204020203" pitchFamily="34" typeface="微软雅黑 Light"/>
                  <a:ea charset="-122" panose="020b0502040204020203" pitchFamily="34" typeface="微软雅黑 Light"/>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gdLst>
                    <a:gd fmla="*/ 69 w 79" name="T0"/>
                    <a:gd fmla="*/ 40 h 105" name="T1"/>
                    <a:gd fmla="*/ 70 w 79" name="T2"/>
                    <a:gd fmla="*/ 3 h 105" name="T3"/>
                    <a:gd fmla="*/ 52 w 79" name="T4"/>
                    <a:gd fmla="*/ 0 h 105" name="T5"/>
                    <a:gd fmla="*/ 0 w 79" name="T6"/>
                    <a:gd fmla="*/ 52 h 105" name="T7"/>
                    <a:gd fmla="*/ 52 w 79" name="T8"/>
                    <a:gd fmla="*/ 105 h 105" name="T9"/>
                    <a:gd fmla="*/ 79 w 79" name="T10"/>
                    <a:gd fmla="*/ 97 h 105" name="T11"/>
                    <a:gd fmla="*/ 69 w 79" name="T12"/>
                    <a:gd fmla="*/ 40 h 105" name="T13"/>
                  </a:gdLst>
                  <a:cxnLst>
                    <a:cxn ang="0">
                      <a:pos x="T0" y="T1"/>
                    </a:cxn>
                    <a:cxn ang="0">
                      <a:pos x="T2" y="T3"/>
                    </a:cxn>
                    <a:cxn ang="0">
                      <a:pos x="T4" y="T5"/>
                    </a:cxn>
                    <a:cxn ang="0">
                      <a:pos x="T6" y="T7"/>
                    </a:cxn>
                    <a:cxn ang="0">
                      <a:pos x="T8" y="T9"/>
                    </a:cxn>
                    <a:cxn ang="0">
                      <a:pos x="T10" y="T11"/>
                    </a:cxn>
                    <a:cxn ang="0">
                      <a:pos x="T12" y="T13"/>
                    </a:cxn>
                  </a:cxnLst>
                  <a:rect b="b" l="0" r="r" t="0"/>
                  <a:pathLst>
                    <a:path h="105" w="79">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8" name="Freeform 30"/>
                <p:cNvSpPr/>
                <p:nvPr/>
              </p:nvSpPr>
              <p:spPr bwMode="auto">
                <a:xfrm>
                  <a:off x="3900488" y="2911475"/>
                  <a:ext cx="228600" cy="306388"/>
                </a:xfrm>
                <a:custGeom>
                  <a:gdLst>
                    <a:gd fmla="*/ 10 w 79" name="T0"/>
                    <a:gd fmla="*/ 40 h 105" name="T1"/>
                    <a:gd fmla="*/ 9 w 79" name="T2"/>
                    <a:gd fmla="*/ 3 h 105" name="T3"/>
                    <a:gd fmla="*/ 27 w 79" name="T4"/>
                    <a:gd fmla="*/ 0 h 105" name="T5"/>
                    <a:gd fmla="*/ 79 w 79" name="T6"/>
                    <a:gd fmla="*/ 52 h 105" name="T7"/>
                    <a:gd fmla="*/ 27 w 79" name="T8"/>
                    <a:gd fmla="*/ 105 h 105" name="T9"/>
                    <a:gd fmla="*/ 0 w 79" name="T10"/>
                    <a:gd fmla="*/ 97 h 105" name="T11"/>
                    <a:gd fmla="*/ 10 w 79" name="T12"/>
                    <a:gd fmla="*/ 40 h 105" name="T13"/>
                  </a:gdLst>
                  <a:cxnLst>
                    <a:cxn ang="0">
                      <a:pos x="T0" y="T1"/>
                    </a:cxn>
                    <a:cxn ang="0">
                      <a:pos x="T2" y="T3"/>
                    </a:cxn>
                    <a:cxn ang="0">
                      <a:pos x="T4" y="T5"/>
                    </a:cxn>
                    <a:cxn ang="0">
                      <a:pos x="T6" y="T7"/>
                    </a:cxn>
                    <a:cxn ang="0">
                      <a:pos x="T8" y="T9"/>
                    </a:cxn>
                    <a:cxn ang="0">
                      <a:pos x="T10" y="T11"/>
                    </a:cxn>
                    <a:cxn ang="0">
                      <a:pos x="T12" y="T13"/>
                    </a:cxn>
                  </a:cxnLst>
                  <a:rect b="b" l="0" r="r" t="0"/>
                  <a:pathLst>
                    <a:path h="105" w="79">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9" name="Freeform 31"/>
                <p:cNvSpPr/>
                <p:nvPr/>
              </p:nvSpPr>
              <p:spPr bwMode="auto">
                <a:xfrm>
                  <a:off x="3481388" y="3570288"/>
                  <a:ext cx="147638" cy="328613"/>
                </a:xfrm>
                <a:custGeom>
                  <a:gdLst>
                    <a:gd fmla="*/ 25 w 93" name="T0"/>
                    <a:gd fmla="*/ 0 h 207" name="T1"/>
                    <a:gd fmla="*/ 0 w 93" name="T2"/>
                    <a:gd fmla="*/ 145 h 207" name="T3"/>
                    <a:gd fmla="*/ 47 w 93" name="T4"/>
                    <a:gd fmla="*/ 207 h 207" name="T5"/>
                    <a:gd fmla="*/ 93 w 93" name="T6"/>
                    <a:gd fmla="*/ 143 h 207" name="T7"/>
                    <a:gd fmla="*/ 68 w 93" name="T8"/>
                    <a:gd fmla="*/ 0 h 207" name="T9"/>
                    <a:gd fmla="*/ 25 w 93" name="T10"/>
                    <a:gd fmla="*/ 0 h 207" name="T11"/>
                  </a:gdLst>
                  <a:cxnLst>
                    <a:cxn ang="0">
                      <a:pos x="T0" y="T1"/>
                    </a:cxn>
                    <a:cxn ang="0">
                      <a:pos x="T2" y="T3"/>
                    </a:cxn>
                    <a:cxn ang="0">
                      <a:pos x="T4" y="T5"/>
                    </a:cxn>
                    <a:cxn ang="0">
                      <a:pos x="T6" y="T7"/>
                    </a:cxn>
                    <a:cxn ang="0">
                      <a:pos x="T8" y="T9"/>
                    </a:cxn>
                    <a:cxn ang="0">
                      <a:pos x="T10" y="T11"/>
                    </a:cxn>
                  </a:cxnLst>
                  <a:rect b="b" l="0" r="r" t="0"/>
                  <a:pathLst>
                    <a:path h="206" w="93">
                      <a:moveTo>
                        <a:pt x="25" y="0"/>
                      </a:moveTo>
                      <a:lnTo>
                        <a:pt x="0" y="145"/>
                      </a:lnTo>
                      <a:lnTo>
                        <a:pt x="47" y="207"/>
                      </a:lnTo>
                      <a:lnTo>
                        <a:pt x="93" y="143"/>
                      </a:lnTo>
                      <a:lnTo>
                        <a:pt x="68" y="0"/>
                      </a:lnTo>
                      <a:lnTo>
                        <a:pt x="25" y="0"/>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0" name="Freeform 32"/>
                <p:cNvSpPr/>
                <p:nvPr/>
              </p:nvSpPr>
              <p:spPr bwMode="auto">
                <a:xfrm>
                  <a:off x="3471863" y="3433763"/>
                  <a:ext cx="166688" cy="115888"/>
                </a:xfrm>
                <a:custGeom>
                  <a:gdLst>
                    <a:gd fmla="*/ 21 w 57" name="T0"/>
                    <a:gd fmla="*/ 7 h 40" name="T1"/>
                    <a:gd fmla="*/ 0 w 57" name="T2"/>
                    <a:gd fmla="*/ 5 h 40" name="T3"/>
                    <a:gd fmla="*/ 0 w 57" name="T4"/>
                    <a:gd fmla="*/ 14 h 40" name="T5"/>
                    <a:gd fmla="*/ 1 w 57" name="T6"/>
                    <a:gd fmla="*/ 13 h 40" name="T7"/>
                    <a:gd fmla="*/ 18 w 57" name="T8"/>
                    <a:gd fmla="*/ 40 h 40" name="T9"/>
                    <a:gd fmla="*/ 40 w 57" name="T10"/>
                    <a:gd fmla="*/ 40 h 40" name="T11"/>
                    <a:gd fmla="*/ 56 w 57" name="T12"/>
                    <a:gd fmla="*/ 15 h 40" name="T13"/>
                    <a:gd fmla="*/ 57 w 57" name="T14"/>
                    <a:gd fmla="*/ 0 h 40" name="T15"/>
                    <a:gd fmla="*/ 21 w 57" name="T16"/>
                    <a:gd fmla="*/ 7 h 40"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40" w="57">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1" name="Freeform 33"/>
                <p:cNvSpPr>
                  <a:spLocks noEditPoints="1"/>
                </p:cNvSpPr>
                <p:nvPr/>
              </p:nvSpPr>
              <p:spPr bwMode="auto">
                <a:xfrm>
                  <a:off x="3140075" y="2582863"/>
                  <a:ext cx="827088" cy="827088"/>
                </a:xfrm>
                <a:custGeom>
                  <a:gdLst>
                    <a:gd fmla="*/ 0 w 284" name="T0"/>
                    <a:gd fmla="*/ 142 h 284" name="T1"/>
                    <a:gd fmla="*/ 142 w 284" name="T2"/>
                    <a:gd fmla="*/ 0 h 284" name="T3"/>
                    <a:gd fmla="*/ 142 w 284" name="T4"/>
                    <a:gd fmla="*/ 0 h 284" name="T5"/>
                    <a:gd fmla="*/ 284 w 284" name="T6"/>
                    <a:gd fmla="*/ 142 h 284" name="T7"/>
                    <a:gd fmla="*/ 284 w 284" name="T8"/>
                    <a:gd fmla="*/ 142 h 284" name="T9"/>
                    <a:gd fmla="*/ 142 w 284" name="T10"/>
                    <a:gd fmla="*/ 284 h 284" name="T11"/>
                    <a:gd fmla="*/ 142 w 284" name="T12"/>
                    <a:gd fmla="*/ 284 h 284" name="T13"/>
                    <a:gd fmla="*/ 0 w 284" name="T14"/>
                    <a:gd fmla="*/ 142 h 284" name="T15"/>
                    <a:gd fmla="*/ 25 w 284" name="T16"/>
                    <a:gd fmla="*/ 142 h 284" name="T17"/>
                    <a:gd fmla="*/ 142 w 284" name="T18"/>
                    <a:gd fmla="*/ 260 h 284" name="T19"/>
                    <a:gd fmla="*/ 142 w 284" name="T20"/>
                    <a:gd fmla="*/ 260 h 284" name="T21"/>
                    <a:gd fmla="*/ 260 w 284" name="T22"/>
                    <a:gd fmla="*/ 142 h 284" name="T23"/>
                    <a:gd fmla="*/ 260 w 284" name="T24"/>
                    <a:gd fmla="*/ 142 h 284" name="T25"/>
                    <a:gd fmla="*/ 142 w 284" name="T26"/>
                    <a:gd fmla="*/ 24 h 284" name="T27"/>
                    <a:gd fmla="*/ 142 w 284" name="T28"/>
                    <a:gd fmla="*/ 24 h 284" name="T29"/>
                    <a:gd fmla="*/ 25 w 284" name="T30"/>
                    <a:gd fmla="*/ 142 h 284" name="T31"/>
                    <a:gd fmla="*/ 25 w 284" name="T32"/>
                    <a:gd fmla="*/ 142 h 284"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284" w="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2" name="Freeform 34"/>
                <p:cNvSpPr/>
                <p:nvPr/>
              </p:nvSpPr>
              <p:spPr bwMode="auto">
                <a:xfrm>
                  <a:off x="3068638" y="2495550"/>
                  <a:ext cx="971550" cy="454025"/>
                </a:xfrm>
                <a:custGeom>
                  <a:gdLst>
                    <a:gd fmla="*/ 0 w 334" name="T0"/>
                    <a:gd fmla="*/ 155 h 156" name="T1"/>
                    <a:gd fmla="*/ 167 w 334" name="T2"/>
                    <a:gd fmla="*/ 0 h 156" name="T3"/>
                    <a:gd fmla="*/ 167 w 334" name="T4"/>
                    <a:gd fmla="*/ 0 h 156" name="T5"/>
                    <a:gd fmla="*/ 334 w 334" name="T6"/>
                    <a:gd fmla="*/ 155 h 156" name="T7"/>
                    <a:gd fmla="*/ 334 w 334" name="T8"/>
                    <a:gd fmla="*/ 155 h 156" name="T9"/>
                    <a:gd fmla="*/ 322 w 334" name="T10"/>
                    <a:gd fmla="*/ 155 h 156" name="T11"/>
                    <a:gd fmla="*/ 167 w 334" name="T12"/>
                    <a:gd fmla="*/ 12 h 156" name="T13"/>
                    <a:gd fmla="*/ 167 w 334" name="T14"/>
                    <a:gd fmla="*/ 12 h 156" name="T15"/>
                    <a:gd fmla="*/ 12 w 334" name="T16"/>
                    <a:gd fmla="*/ 156 h 156" name="T17"/>
                    <a:gd fmla="*/ 12 w 334" name="T18"/>
                    <a:gd fmla="*/ 156 h 156" name="T19"/>
                    <a:gd fmla="*/ 0 w 334" name="T20"/>
                    <a:gd fmla="*/ 155 h 15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56" w="334">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3" name="Freeform 35"/>
                <p:cNvSpPr/>
                <p:nvPr/>
              </p:nvSpPr>
              <p:spPr bwMode="auto">
                <a:xfrm>
                  <a:off x="2951163" y="3378200"/>
                  <a:ext cx="1208088" cy="698500"/>
                </a:xfrm>
                <a:custGeom>
                  <a:gdLst>
                    <a:gd fmla="*/ 382 w 415" name="T0"/>
                    <a:gd fmla="*/ 223 h 240" name="T1"/>
                    <a:gd fmla="*/ 326 w 415" name="T2"/>
                    <a:gd fmla="*/ 80 h 240" name="T3"/>
                    <a:gd fmla="*/ 326 w 415" name="T4"/>
                    <a:gd fmla="*/ 80 h 240" name="T5"/>
                    <a:gd fmla="*/ 207 w 415" name="T6"/>
                    <a:gd fmla="*/ 33 h 240" name="T7"/>
                    <a:gd fmla="*/ 207 w 415" name="T8"/>
                    <a:gd fmla="*/ 33 h 240" name="T9"/>
                    <a:gd fmla="*/ 161 w 415" name="T10"/>
                    <a:gd fmla="*/ 39 h 240" name="T11"/>
                    <a:gd fmla="*/ 161 w 415" name="T12"/>
                    <a:gd fmla="*/ 39 h 240" name="T13"/>
                    <a:gd fmla="*/ 60 w 415" name="T14"/>
                    <a:gd fmla="*/ 114 h 240" name="T15"/>
                    <a:gd fmla="*/ 60 w 415" name="T16"/>
                    <a:gd fmla="*/ 114 h 240" name="T17"/>
                    <a:gd fmla="*/ 33 w 415" name="T18"/>
                    <a:gd fmla="*/ 223 h 240" name="T19"/>
                    <a:gd fmla="*/ 33 w 415" name="T20"/>
                    <a:gd fmla="*/ 223 h 240" name="T21"/>
                    <a:gd fmla="*/ 16 w 415" name="T22"/>
                    <a:gd fmla="*/ 240 h 240" name="T23"/>
                    <a:gd fmla="*/ 16 w 415" name="T24"/>
                    <a:gd fmla="*/ 240 h 240" name="T25"/>
                    <a:gd fmla="*/ 0 w 415" name="T26"/>
                    <a:gd fmla="*/ 223 h 240" name="T27"/>
                    <a:gd fmla="*/ 0 w 415" name="T28"/>
                    <a:gd fmla="*/ 223 h 240" name="T29"/>
                    <a:gd fmla="*/ 32 w 415" name="T30"/>
                    <a:gd fmla="*/ 97 h 240" name="T31"/>
                    <a:gd fmla="*/ 32 w 415" name="T32"/>
                    <a:gd fmla="*/ 97 h 240" name="T33"/>
                    <a:gd fmla="*/ 152 w 415" name="T34"/>
                    <a:gd fmla="*/ 8 h 240" name="T35"/>
                    <a:gd fmla="*/ 152 w 415" name="T36"/>
                    <a:gd fmla="*/ 8 h 240" name="T37"/>
                    <a:gd fmla="*/ 207 w 415" name="T38"/>
                    <a:gd fmla="*/ 0 h 240" name="T39"/>
                    <a:gd fmla="*/ 207 w 415" name="T40"/>
                    <a:gd fmla="*/ 0 h 240" name="T41"/>
                    <a:gd fmla="*/ 349 w 415" name="T42"/>
                    <a:gd fmla="*/ 56 h 240" name="T43"/>
                    <a:gd fmla="*/ 349 w 415" name="T44"/>
                    <a:gd fmla="*/ 56 h 240" name="T45"/>
                    <a:gd fmla="*/ 414 w 415" name="T46"/>
                    <a:gd fmla="*/ 223 h 240" name="T47"/>
                    <a:gd fmla="*/ 414 w 415" name="T48"/>
                    <a:gd fmla="*/ 223 h 240" name="T49"/>
                    <a:gd fmla="*/ 398 w 415" name="T50"/>
                    <a:gd fmla="*/ 240 h 240" name="T51"/>
                    <a:gd fmla="*/ 398 w 415" name="T52"/>
                    <a:gd fmla="*/ 240 h 240" name="T53"/>
                    <a:gd fmla="*/ 382 w 415" name="T54"/>
                    <a:gd fmla="*/ 223 h 240"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240" w="415">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4" name="Freeform 36"/>
                <p:cNvSpPr/>
                <p:nvPr/>
              </p:nvSpPr>
              <p:spPr bwMode="auto">
                <a:xfrm>
                  <a:off x="3446463" y="3189288"/>
                  <a:ext cx="165100" cy="88900"/>
                </a:xfrm>
                <a:custGeom>
                  <a:gdLst>
                    <a:gd fmla="*/ 57 w 57" name="T0"/>
                    <a:gd fmla="*/ 15 h 31" name="T1"/>
                    <a:gd fmla="*/ 41 w 57" name="T2"/>
                    <a:gd fmla="*/ 31 h 31" name="T3"/>
                    <a:gd fmla="*/ 16 w 57" name="T4"/>
                    <a:gd fmla="*/ 31 h 31" name="T5"/>
                    <a:gd fmla="*/ 0 w 57" name="T6"/>
                    <a:gd fmla="*/ 15 h 31" name="T7"/>
                    <a:gd fmla="*/ 0 w 57" name="T8"/>
                    <a:gd fmla="*/ 15 h 31" name="T9"/>
                    <a:gd fmla="*/ 16 w 57" name="T10"/>
                    <a:gd fmla="*/ 0 h 31" name="T11"/>
                    <a:gd fmla="*/ 41 w 57" name="T12"/>
                    <a:gd fmla="*/ 0 h 31" name="T13"/>
                    <a:gd fmla="*/ 57 w 57" name="T14"/>
                    <a:gd fmla="*/ 15 h 31"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31" w="57">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5" name="Freeform 37"/>
                <p:cNvSpPr/>
                <p:nvPr/>
              </p:nvSpPr>
              <p:spPr bwMode="auto">
                <a:xfrm>
                  <a:off x="3117850" y="3168650"/>
                  <a:ext cx="349250" cy="92075"/>
                </a:xfrm>
                <a:custGeom>
                  <a:gdLst>
                    <a:gd fmla="*/ 34 w 120" name="T0"/>
                    <a:gd fmla="*/ 32 h 32" name="T1"/>
                    <a:gd fmla="*/ 0 w 120" name="T2"/>
                    <a:gd fmla="*/ 2 h 32" name="T3"/>
                    <a:gd fmla="*/ 0 w 120" name="T4"/>
                    <a:gd fmla="*/ 2 h 32" name="T5"/>
                    <a:gd fmla="*/ 12 w 120" name="T6"/>
                    <a:gd fmla="*/ 0 h 32" name="T7"/>
                    <a:gd fmla="*/ 34 w 120" name="T8"/>
                    <a:gd fmla="*/ 20 h 32" name="T9"/>
                    <a:gd fmla="*/ 34 w 120" name="T10"/>
                    <a:gd fmla="*/ 20 h 32" name="T11"/>
                    <a:gd fmla="*/ 120 w 120" name="T12"/>
                    <a:gd fmla="*/ 20 h 32" name="T13"/>
                    <a:gd fmla="*/ 120 w 120" name="T14"/>
                    <a:gd fmla="*/ 20 h 32" name="T15"/>
                    <a:gd fmla="*/ 120 w 120" name="T16"/>
                    <a:gd fmla="*/ 32 h 32" name="T17"/>
                    <a:gd fmla="*/ 34 w 120" name="T18"/>
                    <a:gd fmla="*/ 32 h 32"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2" w="120">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fmla="val 19121810" name="adj1"/>
                  <a:gd fmla="val 0" name="adj2"/>
                  <a:gd fmla="val 25000" name="adj3"/>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200">
                  <a:solidFill>
                    <a:schemeClr val="tx1"/>
                  </a:solidFill>
                  <a:latin charset="-122" panose="020b0502040204020203" pitchFamily="34" typeface="微软雅黑 Light"/>
                  <a:ea charset="-122" panose="020b0502040204020203" pitchFamily="34" typeface="微软雅黑 Light"/>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gdLst>
                    <a:gd fmla="*/ 250 w 501" name="T0"/>
                    <a:gd fmla="*/ 0 h 501" name="T1"/>
                    <a:gd fmla="*/ 0 w 501" name="T2"/>
                    <a:gd fmla="*/ 251 h 501" name="T3"/>
                    <a:gd fmla="*/ 250 w 501" name="T4"/>
                    <a:gd fmla="*/ 501 h 501" name="T5"/>
                    <a:gd fmla="*/ 501 w 501" name="T6"/>
                    <a:gd fmla="*/ 251 h 501" name="T7"/>
                    <a:gd fmla="*/ 250 w 501" name="T8"/>
                    <a:gd fmla="*/ 0 h 501" name="T9"/>
                    <a:gd fmla="*/ 455 w 501" name="T10"/>
                    <a:gd fmla="*/ 267 h 501" name="T11"/>
                    <a:gd fmla="*/ 446 w 501" name="T12"/>
                    <a:gd fmla="*/ 267 h 501" name="T13"/>
                    <a:gd fmla="*/ 389 w 501" name="T14"/>
                    <a:gd fmla="*/ 390 h 501" name="T15"/>
                    <a:gd fmla="*/ 267 w 501" name="T16"/>
                    <a:gd fmla="*/ 447 h 501" name="T17"/>
                    <a:gd fmla="*/ 267 w 501" name="T18"/>
                    <a:gd fmla="*/ 455 h 501" name="T19"/>
                    <a:gd fmla="*/ 250 w 501" name="T20"/>
                    <a:gd fmla="*/ 471 h 501" name="T21"/>
                    <a:gd fmla="*/ 234 w 501" name="T22"/>
                    <a:gd fmla="*/ 455 h 501" name="T23"/>
                    <a:gd fmla="*/ 234 w 501" name="T24"/>
                    <a:gd fmla="*/ 447 h 501" name="T25"/>
                    <a:gd fmla="*/ 111 w 501" name="T26"/>
                    <a:gd fmla="*/ 390 h 501" name="T27"/>
                    <a:gd fmla="*/ 54 w 501" name="T28"/>
                    <a:gd fmla="*/ 267 h 501" name="T29"/>
                    <a:gd fmla="*/ 46 w 501" name="T30"/>
                    <a:gd fmla="*/ 267 h 501" name="T31"/>
                    <a:gd fmla="*/ 30 w 501" name="T32"/>
                    <a:gd fmla="*/ 251 h 501" name="T33"/>
                    <a:gd fmla="*/ 46 w 501" name="T34"/>
                    <a:gd fmla="*/ 234 h 501" name="T35"/>
                    <a:gd fmla="*/ 54 w 501" name="T36"/>
                    <a:gd fmla="*/ 234 h 501" name="T37"/>
                    <a:gd fmla="*/ 111 w 501" name="T38"/>
                    <a:gd fmla="*/ 111 h 501" name="T39"/>
                    <a:gd fmla="*/ 234 w 501" name="T40"/>
                    <a:gd fmla="*/ 54 h 501" name="T41"/>
                    <a:gd fmla="*/ 234 w 501" name="T42"/>
                    <a:gd fmla="*/ 46 h 501" name="T43"/>
                    <a:gd fmla="*/ 250 w 501" name="T44"/>
                    <a:gd fmla="*/ 30 h 501" name="T45"/>
                    <a:gd fmla="*/ 267 w 501" name="T46"/>
                    <a:gd fmla="*/ 46 h 501" name="T47"/>
                    <a:gd fmla="*/ 267 w 501" name="T48"/>
                    <a:gd fmla="*/ 54 h 501" name="T49"/>
                    <a:gd fmla="*/ 389 w 501" name="T50"/>
                    <a:gd fmla="*/ 111 h 501" name="T51"/>
                    <a:gd fmla="*/ 446 w 501" name="T52"/>
                    <a:gd fmla="*/ 234 h 501" name="T53"/>
                    <a:gd fmla="*/ 455 w 501" name="T54"/>
                    <a:gd fmla="*/ 234 h 501" name="T55"/>
                    <a:gd fmla="*/ 471 w 501" name="T56"/>
                    <a:gd fmla="*/ 251 h 501" name="T57"/>
                    <a:gd fmla="*/ 455 w 501" name="T58"/>
                    <a:gd fmla="*/ 267 h 501"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501" w="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58" name="Freeform 46"/>
                <p:cNvSpPr/>
                <p:nvPr/>
              </p:nvSpPr>
              <p:spPr bwMode="auto">
                <a:xfrm>
                  <a:off x="966788" y="3043238"/>
                  <a:ext cx="96838" cy="117475"/>
                </a:xfrm>
                <a:custGeom>
                  <a:gdLst>
                    <a:gd fmla="*/ 16 w 33" name="T0"/>
                    <a:gd fmla="*/ 40 h 40" name="T1"/>
                    <a:gd fmla="*/ 33 w 33" name="T2"/>
                    <a:gd fmla="*/ 24 h 40" name="T3"/>
                    <a:gd fmla="*/ 33 w 33" name="T4"/>
                    <a:gd fmla="*/ 0 h 40" name="T5"/>
                    <a:gd fmla="*/ 16 w 33" name="T6"/>
                    <a:gd fmla="*/ 0 h 40" name="T7"/>
                    <a:gd fmla="*/ 0 w 33" name="T8"/>
                    <a:gd fmla="*/ 0 h 40" name="T9"/>
                    <a:gd fmla="*/ 0 w 33" name="T10"/>
                    <a:gd fmla="*/ 24 h 40" name="T11"/>
                    <a:gd fmla="*/ 16 w 33" name="T12"/>
                    <a:gd fmla="*/ 40 h 40" name="T13"/>
                  </a:gdLst>
                  <a:cxnLst>
                    <a:cxn ang="0">
                      <a:pos x="T0" y="T1"/>
                    </a:cxn>
                    <a:cxn ang="0">
                      <a:pos x="T2" y="T3"/>
                    </a:cxn>
                    <a:cxn ang="0">
                      <a:pos x="T4" y="T5"/>
                    </a:cxn>
                    <a:cxn ang="0">
                      <a:pos x="T6" y="T7"/>
                    </a:cxn>
                    <a:cxn ang="0">
                      <a:pos x="T8" y="T9"/>
                    </a:cxn>
                    <a:cxn ang="0">
                      <a:pos x="T10" y="T11"/>
                    </a:cxn>
                    <a:cxn ang="0">
                      <a:pos x="T12" y="T13"/>
                    </a:cxn>
                  </a:cxnLst>
                  <a:rect b="b" l="0" r="r" t="0"/>
                  <a:pathLst>
                    <a:path h="40" w="33">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59" name="Freeform 47"/>
                <p:cNvSpPr/>
                <p:nvPr/>
              </p:nvSpPr>
              <p:spPr bwMode="auto">
                <a:xfrm>
                  <a:off x="966788" y="4079875"/>
                  <a:ext cx="96838" cy="115888"/>
                </a:xfrm>
                <a:custGeom>
                  <a:gdLst>
                    <a:gd fmla="*/ 16 w 33" name="T0"/>
                    <a:gd fmla="*/ 0 h 40" name="T1"/>
                    <a:gd fmla="*/ 0 w 33" name="T2"/>
                    <a:gd fmla="*/ 17 h 40" name="T3"/>
                    <a:gd fmla="*/ 0 w 33" name="T4"/>
                    <a:gd fmla="*/ 40 h 40" name="T5"/>
                    <a:gd fmla="*/ 16 w 33" name="T6"/>
                    <a:gd fmla="*/ 40 h 40" name="T7"/>
                    <a:gd fmla="*/ 33 w 33" name="T8"/>
                    <a:gd fmla="*/ 40 h 40" name="T9"/>
                    <a:gd fmla="*/ 33 w 33" name="T10"/>
                    <a:gd fmla="*/ 17 h 40" name="T11"/>
                    <a:gd fmla="*/ 16 w 33" name="T12"/>
                    <a:gd fmla="*/ 0 h 40" name="T13"/>
                  </a:gdLst>
                  <a:cxnLst>
                    <a:cxn ang="0">
                      <a:pos x="T0" y="T1"/>
                    </a:cxn>
                    <a:cxn ang="0">
                      <a:pos x="T2" y="T3"/>
                    </a:cxn>
                    <a:cxn ang="0">
                      <a:pos x="T4" y="T5"/>
                    </a:cxn>
                    <a:cxn ang="0">
                      <a:pos x="T6" y="T7"/>
                    </a:cxn>
                    <a:cxn ang="0">
                      <a:pos x="T8" y="T9"/>
                    </a:cxn>
                    <a:cxn ang="0">
                      <a:pos x="T10" y="T11"/>
                    </a:cxn>
                    <a:cxn ang="0">
                      <a:pos x="T12" y="T13"/>
                    </a:cxn>
                  </a:cxnLst>
                  <a:rect b="b" l="0" r="r" t="0"/>
                  <a:pathLst>
                    <a:path h="40" w="33">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0" name="Freeform 48"/>
                <p:cNvSpPr/>
                <p:nvPr/>
              </p:nvSpPr>
              <p:spPr bwMode="auto">
                <a:xfrm>
                  <a:off x="434976" y="3571875"/>
                  <a:ext cx="120650" cy="96838"/>
                </a:xfrm>
                <a:custGeom>
                  <a:gdLst>
                    <a:gd fmla="*/ 41 w 41" name="T0"/>
                    <a:gd fmla="*/ 17 h 33" name="T1"/>
                    <a:gd fmla="*/ 24 w 41" name="T2"/>
                    <a:gd fmla="*/ 0 h 33" name="T3"/>
                    <a:gd fmla="*/ 1 w 41" name="T4"/>
                    <a:gd fmla="*/ 0 h 33" name="T5"/>
                    <a:gd fmla="*/ 0 w 41" name="T6"/>
                    <a:gd fmla="*/ 17 h 33" name="T7"/>
                    <a:gd fmla="*/ 1 w 41" name="T8"/>
                    <a:gd fmla="*/ 33 h 33" name="T9"/>
                    <a:gd fmla="*/ 24 w 41" name="T10"/>
                    <a:gd fmla="*/ 33 h 33" name="T11"/>
                    <a:gd fmla="*/ 41 w 41" name="T12"/>
                    <a:gd fmla="*/ 17 h 33" name="T13"/>
                  </a:gdLst>
                  <a:cxnLst>
                    <a:cxn ang="0">
                      <a:pos x="T0" y="T1"/>
                    </a:cxn>
                    <a:cxn ang="0">
                      <a:pos x="T2" y="T3"/>
                    </a:cxn>
                    <a:cxn ang="0">
                      <a:pos x="T4" y="T5"/>
                    </a:cxn>
                    <a:cxn ang="0">
                      <a:pos x="T6" y="T7"/>
                    </a:cxn>
                    <a:cxn ang="0">
                      <a:pos x="T8" y="T9"/>
                    </a:cxn>
                    <a:cxn ang="0">
                      <a:pos x="T10" y="T11"/>
                    </a:cxn>
                    <a:cxn ang="0">
                      <a:pos x="T12" y="T13"/>
                    </a:cxn>
                  </a:cxnLst>
                  <a:rect b="b" l="0" r="r" t="0"/>
                  <a:pathLst>
                    <a:path h="33" w="41">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1" name="Freeform 49"/>
                <p:cNvSpPr/>
                <p:nvPr/>
              </p:nvSpPr>
              <p:spPr bwMode="auto">
                <a:xfrm>
                  <a:off x="1474788" y="3571875"/>
                  <a:ext cx="119063" cy="96838"/>
                </a:xfrm>
                <a:custGeom>
                  <a:gdLst>
                    <a:gd fmla="*/ 39 w 40" name="T0"/>
                    <a:gd fmla="*/ 0 h 33" name="T1"/>
                    <a:gd fmla="*/ 16 w 40" name="T2"/>
                    <a:gd fmla="*/ 0 h 33" name="T3"/>
                    <a:gd fmla="*/ 0 w 40" name="T4"/>
                    <a:gd fmla="*/ 17 h 33" name="T5"/>
                    <a:gd fmla="*/ 16 w 40" name="T6"/>
                    <a:gd fmla="*/ 33 h 33" name="T7"/>
                    <a:gd fmla="*/ 39 w 40" name="T8"/>
                    <a:gd fmla="*/ 33 h 33" name="T9"/>
                    <a:gd fmla="*/ 40 w 40" name="T10"/>
                    <a:gd fmla="*/ 17 h 33" name="T11"/>
                    <a:gd fmla="*/ 39 w 40" name="T12"/>
                    <a:gd fmla="*/ 0 h 33" name="T13"/>
                  </a:gdLst>
                  <a:cxnLst>
                    <a:cxn ang="0">
                      <a:pos x="T0" y="T1"/>
                    </a:cxn>
                    <a:cxn ang="0">
                      <a:pos x="T2" y="T3"/>
                    </a:cxn>
                    <a:cxn ang="0">
                      <a:pos x="T4" y="T5"/>
                    </a:cxn>
                    <a:cxn ang="0">
                      <a:pos x="T6" y="T7"/>
                    </a:cxn>
                    <a:cxn ang="0">
                      <a:pos x="T8" y="T9"/>
                    </a:cxn>
                    <a:cxn ang="0">
                      <a:pos x="T10" y="T11"/>
                    </a:cxn>
                    <a:cxn ang="0">
                      <a:pos x="T12" y="T13"/>
                    </a:cxn>
                  </a:cxnLst>
                  <a:rect b="b" l="0" r="r" t="0"/>
                  <a:pathLst>
                    <a:path h="33" w="40">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3" name="Freeform 51"/>
                <p:cNvSpPr>
                  <a:spLocks noEditPoints="1"/>
                </p:cNvSpPr>
                <p:nvPr/>
              </p:nvSpPr>
              <p:spPr bwMode="auto">
                <a:xfrm>
                  <a:off x="652463" y="3254375"/>
                  <a:ext cx="723900" cy="730250"/>
                </a:xfrm>
                <a:custGeom>
                  <a:gdLst>
                    <a:gd fmla="*/ 106 w 246" name="T0"/>
                    <a:gd fmla="*/ 86 h 249" name="T1"/>
                    <a:gd fmla="*/ 109 w 246" name="T2"/>
                    <a:gd fmla="*/ 89 h 249" name="T3"/>
                    <a:gd fmla="*/ 123 w 246" name="T4"/>
                    <a:gd fmla="*/ 86 h 249" name="T5"/>
                    <a:gd fmla="*/ 162 w 246" name="T6"/>
                    <a:gd fmla="*/ 125 h 249" name="T7"/>
                    <a:gd fmla="*/ 159 w 246" name="T8"/>
                    <a:gd fmla="*/ 139 h 249" name="T9"/>
                    <a:gd fmla="*/ 162 w 246" name="T10"/>
                    <a:gd fmla="*/ 142 h 249" name="T11"/>
                    <a:gd fmla="*/ 246 w 246" name="T12"/>
                    <a:gd fmla="*/ 0 h 249" name="T13"/>
                    <a:gd fmla="*/ 106 w 246" name="T14"/>
                    <a:gd fmla="*/ 86 h 249" name="T15"/>
                    <a:gd fmla="*/ 123 w 246" name="T16"/>
                    <a:gd fmla="*/ 163 h 249" name="T17"/>
                    <a:gd fmla="*/ 84 w 246" name="T18"/>
                    <a:gd fmla="*/ 125 h 249" name="T19"/>
                    <a:gd fmla="*/ 87 w 246" name="T20"/>
                    <a:gd fmla="*/ 110 h 249" name="T21"/>
                    <a:gd fmla="*/ 85 w 246" name="T22"/>
                    <a:gd fmla="*/ 107 h 249" name="T23"/>
                    <a:gd fmla="*/ 0 w 246" name="T24"/>
                    <a:gd fmla="*/ 249 h 249" name="T25"/>
                    <a:gd fmla="*/ 140 w 246" name="T26"/>
                    <a:gd fmla="*/ 163 h 249" name="T27"/>
                    <a:gd fmla="*/ 138 w 246" name="T28"/>
                    <a:gd fmla="*/ 160 h 249" name="T29"/>
                    <a:gd fmla="*/ 123 w 246" name="T30"/>
                    <a:gd fmla="*/ 163 h 249"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249" w="246">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4" name="Freeform 52"/>
                <p:cNvSpPr/>
                <p:nvPr/>
              </p:nvSpPr>
              <p:spPr bwMode="auto">
                <a:xfrm>
                  <a:off x="935038" y="2698750"/>
                  <a:ext cx="158750" cy="158750"/>
                </a:xfrm>
                <a:custGeom>
                  <a:gdLst>
                    <a:gd fmla="*/ 27 w 54" name="T0"/>
                    <a:gd fmla="*/ 0 h 54" name="T1"/>
                    <a:gd fmla="*/ 0 w 54" name="T2"/>
                    <a:gd fmla="*/ 27 h 54" name="T3"/>
                    <a:gd fmla="*/ 0 w 54" name="T4"/>
                    <a:gd fmla="*/ 54 h 54" name="T5"/>
                    <a:gd fmla="*/ 29 w 54" name="T6"/>
                    <a:gd fmla="*/ 52 h 54" name="T7"/>
                    <a:gd fmla="*/ 29 w 54" name="T8"/>
                    <a:gd fmla="*/ 52 h 54" name="T9"/>
                    <a:gd fmla="*/ 54 w 54" name="T10"/>
                    <a:gd fmla="*/ 53 h 54" name="T11"/>
                    <a:gd fmla="*/ 54 w 54" name="T12"/>
                    <a:gd fmla="*/ 27 h 54" name="T13"/>
                    <a:gd fmla="*/ 27 w 54" name="T14"/>
                    <a:gd fmla="*/ 0 h 54"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54" w="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grpSp>
        </p:grpSp>
      </p:grpSp>
      <p:sp>
        <p:nvSpPr>
          <p:cNvPr id="96" name="平行四边形 95"/>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7" name="平行四边形 96"/>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8" name="平行四边形 97"/>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9" name="平行四边形 98"/>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102" name="Group 7"/>
          <p:cNvGrpSpPr/>
          <p:nvPr/>
        </p:nvGrpSpPr>
        <p:grpSpPr>
          <a:xfrm>
            <a:off x="180202" y="181952"/>
            <a:ext cx="216018" cy="113981"/>
            <a:chExt cx="1041399" cy="549275"/>
          </a:xfrm>
          <a:solidFill>
            <a:srgbClr val="133E73"/>
          </a:solidFill>
        </p:grpSpPr>
        <p:sp>
          <p:nvSpPr>
            <p:cNvPr id="103"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04"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05"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106"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102"/>
                                        </p:tgtEl>
                                        <p:attrNameLst>
                                          <p:attrName>style.visibility</p:attrName>
                                        </p:attrNameLst>
                                      </p:cBhvr>
                                      <p:to>
                                        <p:strVal val="visible"/>
                                      </p:to>
                                    </p:set>
                                    <p:anim calcmode="lin" valueType="num">
                                      <p:cBhvr additive="base">
                                        <p:cTn dur="500" fill="hold" id="7"/>
                                        <p:tgtEl>
                                          <p:spTgt spid="102"/>
                                        </p:tgtEl>
                                        <p:attrNameLst>
                                          <p:attrName>ppt_x</p:attrName>
                                        </p:attrNameLst>
                                      </p:cBhvr>
                                      <p:tavLst>
                                        <p:tav tm="0">
                                          <p:val>
                                            <p:strVal val="0-#ppt_w/2"/>
                                          </p:val>
                                        </p:tav>
                                        <p:tav tm="100000">
                                          <p:val>
                                            <p:strVal val="#ppt_x"/>
                                          </p:val>
                                        </p:tav>
                                      </p:tavLst>
                                    </p:anim>
                                    <p:anim calcmode="lin" valueType="num">
                                      <p:cBhvr additive="base">
                                        <p:cTn dur="500" fill="hold" id="8"/>
                                        <p:tgtEl>
                                          <p:spTgt spid="102"/>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101"/>
                                        </p:tgtEl>
                                        <p:attrNameLst>
                                          <p:attrName>style.visibility</p:attrName>
                                        </p:attrNameLst>
                                      </p:cBhvr>
                                      <p:to>
                                        <p:strVal val="visible"/>
                                      </p:to>
                                    </p:set>
                                    <p:anim calcmode="lin" valueType="num">
                                      <p:cBhvr>
                                        <p:cTn dur="500" fill="hold" id="12"/>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101"/>
                                        </p:tgtEl>
                                        <p:attrNameLst>
                                          <p:attrName>ppt_y</p:attrName>
                                        </p:attrNameLst>
                                      </p:cBhvr>
                                      <p:tavLst>
                                        <p:tav tm="0">
                                          <p:val>
                                            <p:strVal val="#ppt_y"/>
                                          </p:val>
                                        </p:tav>
                                        <p:tav tm="100000">
                                          <p:val>
                                            <p:strVal val="#ppt_y"/>
                                          </p:val>
                                        </p:tav>
                                      </p:tavLst>
                                    </p:anim>
                                    <p:anim calcmode="lin" valueType="num">
                                      <p:cBhvr>
                                        <p:cTn dur="500" fill="hold" id="14"/>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101"/>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101"/>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98"/>
                                        </p:tgtEl>
                                        <p:attrNameLst>
                                          <p:attrName>fillcolor</p:attrName>
                                        </p:attrNameLst>
                                      </p:cBhvr>
                                      <p:to>
                                        <a:srgbClr val="00AEEF"/>
                                      </p:to>
                                    </p:animClr>
                                    <p:set>
                                      <p:cBhvr>
                                        <p:cTn dur="300" fill="hold" id="20"/>
                                        <p:tgtEl>
                                          <p:spTgt spid="98"/>
                                        </p:tgtEl>
                                        <p:attrNameLst>
                                          <p:attrName>fill.type</p:attrName>
                                        </p:attrNameLst>
                                      </p:cBhvr>
                                      <p:to>
                                        <p:strVal val="solid"/>
                                      </p:to>
                                    </p:set>
                                    <p:set>
                                      <p:cBhvr>
                                        <p:cTn dur="300" fill="hold" id="21"/>
                                        <p:tgtEl>
                                          <p:spTgt spid="98"/>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17" presetSubtype="10">
                                  <p:stCondLst>
                                    <p:cond delay="0"/>
                                  </p:stCondLst>
                                  <p:childTnLst>
                                    <p:set>
                                      <p:cBhvr>
                                        <p:cTn dur="1" fill="hold" id="24">
                                          <p:stCondLst>
                                            <p:cond delay="0"/>
                                          </p:stCondLst>
                                        </p:cTn>
                                        <p:tgtEl>
                                          <p:spTgt spid="50"/>
                                        </p:tgtEl>
                                        <p:attrNameLst>
                                          <p:attrName>style.visibility</p:attrName>
                                        </p:attrNameLst>
                                      </p:cBhvr>
                                      <p:to>
                                        <p:strVal val="visible"/>
                                      </p:to>
                                    </p:set>
                                    <p:anim calcmode="lin" valueType="num">
                                      <p:cBhvr>
                                        <p:cTn dur="500" fill="hold" id="25"/>
                                        <p:tgtEl>
                                          <p:spTgt spid="50"/>
                                        </p:tgtEl>
                                        <p:attrNameLst>
                                          <p:attrName>ppt_w</p:attrName>
                                        </p:attrNameLst>
                                      </p:cBhvr>
                                      <p:tavLst>
                                        <p:tav tm="0">
                                          <p:val>
                                            <p:fltVal val="0"/>
                                          </p:val>
                                        </p:tav>
                                        <p:tav tm="100000">
                                          <p:val>
                                            <p:strVal val="#ppt_w"/>
                                          </p:val>
                                        </p:tav>
                                      </p:tavLst>
                                    </p:anim>
                                    <p:anim calcmode="lin" valueType="num">
                                      <p:cBhvr>
                                        <p:cTn dur="500" fill="hold" id="26"/>
                                        <p:tgtEl>
                                          <p:spTgt spid="50"/>
                                        </p:tgtEl>
                                        <p:attrNameLst>
                                          <p:attrName>ppt_h</p:attrName>
                                        </p:attrNameLst>
                                      </p:cBhvr>
                                      <p:tavLst>
                                        <p:tav tm="0">
                                          <p:val>
                                            <p:strVal val="#ppt_h"/>
                                          </p:val>
                                        </p:tav>
                                        <p:tav tm="100000">
                                          <p:val>
                                            <p:strVal val="#ppt_h"/>
                                          </p:val>
                                        </p:tav>
                                      </p:tavLst>
                                    </p:anim>
                                  </p:childTnLst>
                                </p:cTn>
                              </p:par>
                            </p:childTnLst>
                          </p:cTn>
                        </p:par>
                        <p:par>
                          <p:cTn fill="hold" id="27" nodeType="afterGroup">
                            <p:stCondLst>
                              <p:cond delay="1800"/>
                            </p:stCondLst>
                            <p:childTnLst>
                              <p:par>
                                <p:cTn fill="hold" grpId="0" id="28" nodeType="afterEffect" presetClass="entr" presetID="23" presetSubtype="16">
                                  <p:stCondLst>
                                    <p:cond delay="0"/>
                                  </p:stCondLst>
                                  <p:childTnLst>
                                    <p:set>
                                      <p:cBhvr>
                                        <p:cTn dur="1" fill="hold" id="29">
                                          <p:stCondLst>
                                            <p:cond delay="0"/>
                                          </p:stCondLst>
                                        </p:cTn>
                                        <p:tgtEl>
                                          <p:spTgt spid="29"/>
                                        </p:tgtEl>
                                        <p:attrNameLst>
                                          <p:attrName>style.visibility</p:attrName>
                                        </p:attrNameLst>
                                      </p:cBhvr>
                                      <p:to>
                                        <p:strVal val="visible"/>
                                      </p:to>
                                    </p:set>
                                    <p:anim calcmode="lin" valueType="num">
                                      <p:cBhvr>
                                        <p:cTn dur="500" fill="hold" id="30"/>
                                        <p:tgtEl>
                                          <p:spTgt spid="29"/>
                                        </p:tgtEl>
                                        <p:attrNameLst>
                                          <p:attrName>ppt_w</p:attrName>
                                        </p:attrNameLst>
                                      </p:cBhvr>
                                      <p:tavLst>
                                        <p:tav tm="0">
                                          <p:val>
                                            <p:fltVal val="0"/>
                                          </p:val>
                                        </p:tav>
                                        <p:tav tm="100000">
                                          <p:val>
                                            <p:strVal val="#ppt_w"/>
                                          </p:val>
                                        </p:tav>
                                      </p:tavLst>
                                    </p:anim>
                                    <p:anim calcmode="lin" valueType="num">
                                      <p:cBhvr>
                                        <p:cTn dur="500" fill="hold" id="31"/>
                                        <p:tgtEl>
                                          <p:spTgt spid="29"/>
                                        </p:tgtEl>
                                        <p:attrNameLst>
                                          <p:attrName>ppt_h</p:attrName>
                                        </p:attrNameLst>
                                      </p:cBhvr>
                                      <p:tavLst>
                                        <p:tav tm="0">
                                          <p:val>
                                            <p:fltVal val="0"/>
                                          </p:val>
                                        </p:tav>
                                        <p:tav tm="100000">
                                          <p:val>
                                            <p:strVal val="#ppt_h"/>
                                          </p:val>
                                        </p:tav>
                                      </p:tavLst>
                                    </p:anim>
                                  </p:childTnLst>
                                </p:cTn>
                              </p:par>
                            </p:childTnLst>
                          </p:cTn>
                        </p:par>
                        <p:par>
                          <p:cTn fill="hold" id="32" nodeType="afterGroup">
                            <p:stCondLst>
                              <p:cond delay="2300"/>
                            </p:stCondLst>
                            <p:childTnLst>
                              <p:par>
                                <p:cTn fill="hold" id="33" nodeType="afterEffect" presetClass="entr" presetID="29" presetSubtype="0">
                                  <p:stCondLst>
                                    <p:cond delay="0"/>
                                  </p:stCondLst>
                                  <p:childTnLst>
                                    <p:set>
                                      <p:cBhvr>
                                        <p:cTn dur="1" fill="hold" id="34">
                                          <p:stCondLst>
                                            <p:cond delay="0"/>
                                          </p:stCondLst>
                                        </p:cTn>
                                        <p:tgtEl>
                                          <p:spTgt spid="30"/>
                                        </p:tgtEl>
                                        <p:attrNameLst>
                                          <p:attrName>style.visibility</p:attrName>
                                        </p:attrNameLst>
                                      </p:cBhvr>
                                      <p:to>
                                        <p:strVal val="visible"/>
                                      </p:to>
                                    </p:set>
                                    <p:anim calcmode="lin" valueType="num">
                                      <p:cBhvr>
                                        <p:cTn dur="1000" fill="hold" id="35"/>
                                        <p:tgtEl>
                                          <p:spTgt spid="30"/>
                                        </p:tgtEl>
                                        <p:attrNameLst>
                                          <p:attrName>ppt_x</p:attrName>
                                        </p:attrNameLst>
                                      </p:cBhvr>
                                      <p:tavLst>
                                        <p:tav tm="0">
                                          <p:val>
                                            <p:strVal val="#ppt_x-.2"/>
                                          </p:val>
                                        </p:tav>
                                        <p:tav tm="100000">
                                          <p:val>
                                            <p:strVal val="#ppt_x"/>
                                          </p:val>
                                        </p:tav>
                                      </p:tavLst>
                                    </p:anim>
                                    <p:anim calcmode="lin" valueType="num">
                                      <p:cBhvr>
                                        <p:cTn dur="1000" fill="hold" id="36"/>
                                        <p:tgtEl>
                                          <p:spTgt spid="30"/>
                                        </p:tgtEl>
                                        <p:attrNameLst>
                                          <p:attrName>ppt_y</p:attrName>
                                        </p:attrNameLst>
                                      </p:cBhvr>
                                      <p:tavLst>
                                        <p:tav tm="0">
                                          <p:val>
                                            <p:strVal val="#ppt_y"/>
                                          </p:val>
                                        </p:tav>
                                        <p:tav tm="100000">
                                          <p:val>
                                            <p:strVal val="#ppt_y"/>
                                          </p:val>
                                        </p:tav>
                                      </p:tavLst>
                                    </p:anim>
                                    <p:animEffect filter="wipe(right)" prLst="gradientSize: 0.1" transition="in">
                                      <p:cBhvr>
                                        <p:cTn dur="1000" id="37"/>
                                        <p:tgtEl>
                                          <p:spTgt spid="30"/>
                                        </p:tgtEl>
                                      </p:cBhvr>
                                    </p:animEffect>
                                  </p:childTnLst>
                                </p:cTn>
                              </p:par>
                            </p:childTnLst>
                          </p:cTn>
                        </p:par>
                        <p:par>
                          <p:cTn fill="hold" id="38" nodeType="afterGroup">
                            <p:stCondLst>
                              <p:cond delay="3300"/>
                            </p:stCondLst>
                            <p:childTnLst>
                              <p:par>
                                <p:cTn fill="hold" id="39" nodeType="afterEffect" presetClass="entr" presetID="29" presetSubtype="0">
                                  <p:stCondLst>
                                    <p:cond delay="0"/>
                                  </p:stCondLst>
                                  <p:childTnLst>
                                    <p:set>
                                      <p:cBhvr>
                                        <p:cTn dur="1" fill="hold" id="40">
                                          <p:stCondLst>
                                            <p:cond delay="0"/>
                                          </p:stCondLst>
                                        </p:cTn>
                                        <p:tgtEl>
                                          <p:spTgt spid="35"/>
                                        </p:tgtEl>
                                        <p:attrNameLst>
                                          <p:attrName>style.visibility</p:attrName>
                                        </p:attrNameLst>
                                      </p:cBhvr>
                                      <p:to>
                                        <p:strVal val="visible"/>
                                      </p:to>
                                    </p:set>
                                    <p:anim calcmode="lin" valueType="num">
                                      <p:cBhvr>
                                        <p:cTn dur="1000" fill="hold" id="41"/>
                                        <p:tgtEl>
                                          <p:spTgt spid="35"/>
                                        </p:tgtEl>
                                        <p:attrNameLst>
                                          <p:attrName>ppt_x</p:attrName>
                                        </p:attrNameLst>
                                      </p:cBhvr>
                                      <p:tavLst>
                                        <p:tav tm="0">
                                          <p:val>
                                            <p:strVal val="#ppt_x-.2"/>
                                          </p:val>
                                        </p:tav>
                                        <p:tav tm="100000">
                                          <p:val>
                                            <p:strVal val="#ppt_x"/>
                                          </p:val>
                                        </p:tav>
                                      </p:tavLst>
                                    </p:anim>
                                    <p:anim calcmode="lin" valueType="num">
                                      <p:cBhvr>
                                        <p:cTn dur="1000" fill="hold" id="42"/>
                                        <p:tgtEl>
                                          <p:spTgt spid="35"/>
                                        </p:tgtEl>
                                        <p:attrNameLst>
                                          <p:attrName>ppt_y</p:attrName>
                                        </p:attrNameLst>
                                      </p:cBhvr>
                                      <p:tavLst>
                                        <p:tav tm="0">
                                          <p:val>
                                            <p:strVal val="#ppt_y"/>
                                          </p:val>
                                        </p:tav>
                                        <p:tav tm="100000">
                                          <p:val>
                                            <p:strVal val="#ppt_y"/>
                                          </p:val>
                                        </p:tav>
                                      </p:tavLst>
                                    </p:anim>
                                    <p:animEffect filter="wipe(right)" prLst="gradientSize: 0.1" transition="in">
                                      <p:cBhvr>
                                        <p:cTn dur="1000" id="43"/>
                                        <p:tgtEl>
                                          <p:spTgt spid="35"/>
                                        </p:tgtEl>
                                      </p:cBhvr>
                                    </p:animEffect>
                                  </p:childTnLst>
                                </p:cTn>
                              </p:par>
                            </p:childTnLst>
                          </p:cTn>
                        </p:par>
                      </p:childTnLst>
                    </p:cTn>
                  </p:par>
                  <p:par>
                    <p:cTn fill="hold" id="44" nodeType="clickPar">
                      <p:stCondLst>
                        <p:cond delay="indefinite"/>
                        <p:cond delay="0" evt="onBegin">
                          <p:tn val="43"/>
                        </p:cond>
                      </p:stCondLst>
                      <p:childTnLst>
                        <p:par>
                          <p:cTn fill="hold" id="45" nodeType="afterGroup">
                            <p:stCondLst>
                              <p:cond delay="0"/>
                            </p:stCondLst>
                            <p:childTnLst>
                              <p:par>
                                <p:cTn fill="hold" id="46" nodeType="clickEffect" presetClass="mediacall" presetID="1" presetSubtype="0">
                                  <p:stCondLst>
                                    <p:cond delay="0"/>
                                  </p:stCondLst>
                                  <p:childTnLst>
                                    <p:cmd cmd="playFrom(0.0)" type="call">
                                      <p:cBhvr>
                                        <p:cTn dur="705" fill="hold" id="47"/>
                                        <p:tgtEl>
                                          <p:spTgt spid="106"/>
                                        </p:tgtEl>
                                      </p:cBhvr>
                                    </p:cmd>
                                  </p:childTnLst>
                                </p:cTn>
                              </p:par>
                            </p:childTnLst>
                          </p:cTn>
                        </p:par>
                        <p:par>
                          <p:cTn fill="hold" id="49" nodeType="afterGroup">
                            <p:stCondLst>
                              <p:cond delay="705"/>
                            </p:stCondLst>
                            <p:childTnLst>
                              <p:par>
                                <p:cTn fill="hold" id="50" nodeType="afterEffect" presetClass="entr" presetID="29" presetSubtype="0">
                                  <p:stCondLst>
                                    <p:cond delay="0"/>
                                  </p:stCondLst>
                                  <p:childTnLst>
                                    <p:set>
                                      <p:cBhvr>
                                        <p:cTn dur="1" fill="hold" id="51">
                                          <p:stCondLst>
                                            <p:cond delay="0"/>
                                          </p:stCondLst>
                                        </p:cTn>
                                        <p:tgtEl>
                                          <p:spTgt spid="40"/>
                                        </p:tgtEl>
                                        <p:attrNameLst>
                                          <p:attrName>style.visibility</p:attrName>
                                        </p:attrNameLst>
                                      </p:cBhvr>
                                      <p:to>
                                        <p:strVal val="visible"/>
                                      </p:to>
                                    </p:set>
                                    <p:anim calcmode="lin" valueType="num">
                                      <p:cBhvr>
                                        <p:cTn dur="1000" fill="hold" id="52"/>
                                        <p:tgtEl>
                                          <p:spTgt spid="40"/>
                                        </p:tgtEl>
                                        <p:attrNameLst>
                                          <p:attrName>ppt_x</p:attrName>
                                        </p:attrNameLst>
                                      </p:cBhvr>
                                      <p:tavLst>
                                        <p:tav tm="0">
                                          <p:val>
                                            <p:strVal val="#ppt_x-.2"/>
                                          </p:val>
                                        </p:tav>
                                        <p:tav tm="100000">
                                          <p:val>
                                            <p:strVal val="#ppt_x"/>
                                          </p:val>
                                        </p:tav>
                                      </p:tavLst>
                                    </p:anim>
                                    <p:anim calcmode="lin" valueType="num">
                                      <p:cBhvr>
                                        <p:cTn dur="1000" fill="hold" id="53"/>
                                        <p:tgtEl>
                                          <p:spTgt spid="40"/>
                                        </p:tgtEl>
                                        <p:attrNameLst>
                                          <p:attrName>ppt_y</p:attrName>
                                        </p:attrNameLst>
                                      </p:cBhvr>
                                      <p:tavLst>
                                        <p:tav tm="0">
                                          <p:val>
                                            <p:strVal val="#ppt_y"/>
                                          </p:val>
                                        </p:tav>
                                        <p:tav tm="100000">
                                          <p:val>
                                            <p:strVal val="#ppt_y"/>
                                          </p:val>
                                        </p:tav>
                                      </p:tavLst>
                                    </p:anim>
                                    <p:animEffect filter="wipe(right)" prLst="gradientSize: 0.1" transition="in">
                                      <p:cBhvr>
                                        <p:cTn dur="1000" id="54"/>
                                        <p:tgtEl>
                                          <p:spTgt spid="40"/>
                                        </p:tgtEl>
                                      </p:cBhvr>
                                    </p:animEffect>
                                  </p:childTnLst>
                                </p:cTn>
                              </p:par>
                            </p:childTnLst>
                          </p:cTn>
                        </p:par>
                        <p:par>
                          <p:cTn fill="hold" id="55" nodeType="afterGroup">
                            <p:stCondLst>
                              <p:cond delay="1705"/>
                            </p:stCondLst>
                            <p:childTnLst>
                              <p:par>
                                <p:cTn fill="hold" id="56" nodeType="afterEffect" presetClass="entr" presetID="29" presetSubtype="0">
                                  <p:stCondLst>
                                    <p:cond delay="0"/>
                                  </p:stCondLst>
                                  <p:childTnLst>
                                    <p:set>
                                      <p:cBhvr>
                                        <p:cTn dur="1" fill="hold" id="57">
                                          <p:stCondLst>
                                            <p:cond delay="0"/>
                                          </p:stCondLst>
                                        </p:cTn>
                                        <p:tgtEl>
                                          <p:spTgt spid="45"/>
                                        </p:tgtEl>
                                        <p:attrNameLst>
                                          <p:attrName>style.visibility</p:attrName>
                                        </p:attrNameLst>
                                      </p:cBhvr>
                                      <p:to>
                                        <p:strVal val="visible"/>
                                      </p:to>
                                    </p:set>
                                    <p:anim calcmode="lin" valueType="num">
                                      <p:cBhvr>
                                        <p:cTn dur="1000" fill="hold" id="58"/>
                                        <p:tgtEl>
                                          <p:spTgt spid="45"/>
                                        </p:tgtEl>
                                        <p:attrNameLst>
                                          <p:attrName>ppt_x</p:attrName>
                                        </p:attrNameLst>
                                      </p:cBhvr>
                                      <p:tavLst>
                                        <p:tav tm="0">
                                          <p:val>
                                            <p:strVal val="#ppt_x-.2"/>
                                          </p:val>
                                        </p:tav>
                                        <p:tav tm="100000">
                                          <p:val>
                                            <p:strVal val="#ppt_x"/>
                                          </p:val>
                                        </p:tav>
                                      </p:tavLst>
                                    </p:anim>
                                    <p:anim calcmode="lin" valueType="num">
                                      <p:cBhvr>
                                        <p:cTn dur="1000" fill="hold" id="59"/>
                                        <p:tgtEl>
                                          <p:spTgt spid="45"/>
                                        </p:tgtEl>
                                        <p:attrNameLst>
                                          <p:attrName>ppt_y</p:attrName>
                                        </p:attrNameLst>
                                      </p:cBhvr>
                                      <p:tavLst>
                                        <p:tav tm="0">
                                          <p:val>
                                            <p:strVal val="#ppt_y"/>
                                          </p:val>
                                        </p:tav>
                                        <p:tav tm="100000">
                                          <p:val>
                                            <p:strVal val="#ppt_y"/>
                                          </p:val>
                                        </p:tav>
                                      </p:tavLst>
                                    </p:anim>
                                    <p:animEffect filter="wipe(right)" prLst="gradientSize: 0.1" transition="in">
                                      <p:cBhvr>
                                        <p:cTn dur="1000" id="60"/>
                                        <p:tgtEl>
                                          <p:spTgt spid="45"/>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vol="80000">
                <p:cTn display="0" fill="hold" id="48">
                  <p:stCondLst>
                    <p:cond delay="indefinite"/>
                  </p:stCondLst>
                  <p:endCondLst>
                    <p:cond delay="0" evt="onPrev">
                      <p:tgtEl>
                        <p:sldTgt/>
                      </p:tgtEl>
                    </p:cond>
                    <p:cond delay="0" evt="onStopAudio">
                      <p:tgtEl>
                        <p:sldTgt/>
                      </p:tgtEl>
                    </p:cond>
                  </p:endCondLst>
                </p:cTn>
                <p:tgtEl>
                  <p:spTgt spid="106"/>
                </p:tgtEl>
              </p:cMediaNode>
            </p:audio>
          </p:childTnLst>
        </p:cTn>
      </p:par>
    </p:tnLst>
    <p:bldLst>
      <p:bldP grpId="0" spid="29"/>
      <p:bldP grpId="0" spid="98"/>
      <p:bldP grpId="0" spid="101"/>
    </p:bldLst>
  </p:timing>
  <p:extLst mod="1">
    <p:ext uri="{E180D4A7-C9FB-4DFB-919C-405C955672EB}">
      <p14:showEvtLst>
        <p14:playEvt objId="106" time="1315"/>
        <p14:stopEvt objId="106" time="2081"/>
      </p14:showEvtLst>
    </p:ext>
  </p:extLst>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8" name="图片 17"/>
          <p:cNvPicPr>
            <a:picLocks noChangeAspect="1"/>
          </p:cNvPicPr>
          <p:nvPr/>
        </p:nvPicPr>
        <p:blipFill>
          <a:blip r:embed="rId3">
            <a:extLst>
              <a:ext uri="{28A0092B-C50C-407E-A947-70E740481C1C}">
                <a14:useLocalDpi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45080" cy="518160"/>
          </a:xfrm>
          <a:prstGeom prst="rect">
            <a:avLst/>
          </a:prstGeom>
          <a:noFill/>
        </p:spPr>
        <p:txBody>
          <a:bodyPr rtlCol="0" wrap="none">
            <a:spAutoFit/>
          </a:bodyPr>
          <a:lstStyle/>
          <a:p>
            <a:r>
              <a:rPr altLang="en-US" lang="zh-CN" spc="300" sz="2800">
                <a:solidFill>
                  <a:srgbClr val="0070C0"/>
                </a:solidFill>
                <a:latin charset="-122" panose="02010600030101010101" pitchFamily="2" typeface="黑体"/>
                <a:ea charset="-122" panose="02010600030101010101" pitchFamily="2" typeface="黑体"/>
              </a:rPr>
              <a:t>单击添加标题</a:t>
            </a:r>
          </a:p>
        </p:txBody>
      </p:sp>
      <p:sp>
        <p:nvSpPr>
          <p:cNvPr id="7" name="TextBox 11"/>
          <p:cNvSpPr txBox="1"/>
          <p:nvPr/>
        </p:nvSpPr>
        <p:spPr>
          <a:xfrm>
            <a:off x="1260292" y="3564725"/>
            <a:ext cx="3884930" cy="426720"/>
          </a:xfrm>
          <a:prstGeom prst="rect">
            <a:avLst/>
          </a:prstGeom>
          <a:noFill/>
        </p:spPr>
        <p:txBody>
          <a:bodyPr rtlCol="0" wrap="none">
            <a:spAutoFit/>
          </a:bodyPr>
          <a:lstStyle/>
          <a:p>
            <a:r>
              <a:rPr altLang="zh-CN" lang="en-US" sz="1100">
                <a:solidFill>
                  <a:schemeClr val="bg1"/>
                </a:solidFill>
                <a:latin charset="-122" panose="01010104010101010101" pitchFamily="2" typeface="汉仪细等线"/>
                <a:ea charset="-122" panose="01010104010101010101" pitchFamily="2" typeface="汉仪细等线"/>
              </a:rPr>
              <a:t>Please click enter to Please click enter add</a:t>
            </a:r>
          </a:p>
          <a:p>
            <a:r>
              <a:rPr altLang="zh-CN" lang="en-US" sz="1100">
                <a:solidFill>
                  <a:schemeClr val="bg1"/>
                </a:solidFill>
                <a:latin charset="-122" panose="01010104010101010101" pitchFamily="2" typeface="汉仪细等线"/>
                <a:ea charset="-122" panose="01010104010101010101" pitchFamily="2" typeface="汉仪细等线"/>
              </a:rPr>
              <a:t>text content Please click enter </a:t>
            </a:r>
          </a:p>
        </p:txBody>
      </p:sp>
      <p:sp>
        <p:nvSpPr>
          <p:cNvPr id="8" name="TextBox 21"/>
          <p:cNvSpPr txBox="1"/>
          <p:nvPr/>
        </p:nvSpPr>
        <p:spPr>
          <a:xfrm>
            <a:off x="1188194" y="1306180"/>
            <a:ext cx="2487930" cy="1844040"/>
          </a:xfrm>
          <a:prstGeom prst="rect">
            <a:avLst/>
          </a:prstGeom>
          <a:noFill/>
        </p:spPr>
        <p:txBody>
          <a:bodyPr rtlCol="0" wrap="none">
            <a:spAutoFit/>
          </a:bodyPr>
          <a:lstStyle/>
          <a:p>
            <a:r>
              <a:rPr altLang="zh-CN" lang="en-US" spc="300" sz="11500">
                <a:solidFill>
                  <a:srgbClr val="0070C0"/>
                </a:solidFill>
                <a:latin charset="-122" panose="02010600030101010101" pitchFamily="2" typeface="黑体"/>
                <a:ea charset="-122" panose="02010600030101010101" pitchFamily="2" typeface="黑体"/>
              </a:rPr>
              <a:t>04.</a:t>
            </a:r>
          </a:p>
        </p:txBody>
      </p:sp>
    </p:spTree>
    <p:extLst>
      <p:ext uri="{BB962C8B-B14F-4D97-AF65-F5344CB8AC3E}">
        <p14:creationId val="2271621190"/>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2" id="5" nodeType="afterEffect" presetClass="entr" presetID="10"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500" id="7"/>
                                        <p:tgtEl>
                                          <p:spTgt spid="8"/>
                                        </p:tgtEl>
                                      </p:cBhvr>
                                    </p:animEffect>
                                  </p:childTnLst>
                                </p:cTn>
                              </p:par>
                            </p:childTnLst>
                          </p:cTn>
                        </p:par>
                        <p:par>
                          <p:cTn fill="hold" id="8" nodeType="afterGroup">
                            <p:stCondLst>
                              <p:cond delay="500"/>
                            </p:stCondLst>
                            <p:childTnLst>
                              <p:par>
                                <p:cTn fill="hold" grpId="0" id="9" nodeType="afterEffect" presetClass="emph" presetID="35" presetSubtype="0">
                                  <p:stCondLst>
                                    <p:cond delay="0"/>
                                  </p:stCondLst>
                                  <p:childTnLst>
                                    <p:anim calcmode="discrete" valueType="str">
                                      <p:cBhvr>
                                        <p:cTn dur="1000" fill="hold" id="10"/>
                                        <p:tgtEl>
                                          <p:spTgt spid="8"/>
                                        </p:tgtEl>
                                        <p:attrNameLst>
                                          <p:attrName>style.visibility</p:attrName>
                                        </p:attrNameLst>
                                      </p:cBhvr>
                                      <p:tavLst>
                                        <p:tav tm="0">
                                          <p:val>
                                            <p:strVal val="hidden"/>
                                          </p:val>
                                        </p:tav>
                                        <p:tav tm="50000">
                                          <p:val>
                                            <p:strVal val="visible"/>
                                          </p:val>
                                        </p:tav>
                                      </p:tavLst>
                                    </p:anim>
                                  </p:childTnLst>
                                </p:cTn>
                              </p:par>
                            </p:childTnLst>
                          </p:cTn>
                        </p:par>
                        <p:par>
                          <p:cTn fill="hold" id="11" nodeType="afterGroup">
                            <p:stCondLst>
                              <p:cond delay="1500"/>
                            </p:stCondLst>
                            <p:childTnLst>
                              <p:par>
                                <p:cTn fill="hold" grpId="1" id="12" nodeType="afterEffect" presetClass="emph" presetID="35" presetSubtype="0">
                                  <p:stCondLst>
                                    <p:cond delay="0"/>
                                  </p:stCondLst>
                                  <p:childTnLst>
                                    <p:anim calcmode="discrete" valueType="str">
                                      <p:cBhvr>
                                        <p:cTn dur="1000" fill="hold" id="13"/>
                                        <p:tgtEl>
                                          <p:spTgt spid="8"/>
                                        </p:tgtEl>
                                        <p:attrNameLst>
                                          <p:attrName>style.visibility</p:attrName>
                                        </p:attrNameLst>
                                      </p:cBhvr>
                                      <p:tavLst>
                                        <p:tav tm="0">
                                          <p:val>
                                            <p:strVal val="hidden"/>
                                          </p:val>
                                        </p:tav>
                                        <p:tav tm="50000">
                                          <p:val>
                                            <p:strVal val="visible"/>
                                          </p:val>
                                        </p:tav>
                                      </p:tavLst>
                                    </p:anim>
                                  </p:childTnLst>
                                </p:cTn>
                              </p:par>
                            </p:childTnLst>
                          </p:cTn>
                        </p:par>
                        <p:par>
                          <p:cTn fill="hold" id="14" nodeType="afterGroup">
                            <p:stCondLst>
                              <p:cond delay="2500"/>
                            </p:stCondLst>
                            <p:childTnLst>
                              <p:par>
                                <p:cTn fill="hold" grpId="0" id="15" nodeType="afterEffect" presetClass="entr" presetID="10" presetSubtype="0">
                                  <p:stCondLst>
                                    <p:cond delay="0"/>
                                  </p:stCondLst>
                                  <p:childTnLst>
                                    <p:set>
                                      <p:cBhvr>
                                        <p:cTn dur="1" fill="hold" id="16">
                                          <p:stCondLst>
                                            <p:cond delay="0"/>
                                          </p:stCondLst>
                                        </p:cTn>
                                        <p:tgtEl>
                                          <p:spTgt spid="6"/>
                                        </p:tgtEl>
                                        <p:attrNameLst>
                                          <p:attrName>style.visibility</p:attrName>
                                        </p:attrNameLst>
                                      </p:cBhvr>
                                      <p:to>
                                        <p:strVal val="visible"/>
                                      </p:to>
                                    </p:set>
                                    <p:animEffect filter="fade" transition="in">
                                      <p:cBhvr>
                                        <p:cTn dur="500" id="17"/>
                                        <p:tgtEl>
                                          <p:spTgt spid="6"/>
                                        </p:tgtEl>
                                      </p:cBhvr>
                                    </p:animEffect>
                                  </p:childTnLst>
                                </p:cTn>
                              </p:par>
                            </p:childTnLst>
                          </p:cTn>
                        </p:par>
                        <p:par>
                          <p:cTn fill="hold" id="18" nodeType="afterGroup">
                            <p:stCondLst>
                              <p:cond delay="3000"/>
                            </p:stCondLst>
                            <p:childTnLst>
                              <p:par>
                                <p:cTn fill="hold" grpId="1" id="19" nodeType="afterEffect" presetClass="emph" presetID="26" presetSubtype="0">
                                  <p:stCondLst>
                                    <p:cond delay="0"/>
                                  </p:stCondLst>
                                  <p:childTnLst>
                                    <p:animEffect filter="fade" transition="out">
                                      <p:cBhvr>
                                        <p:cTn dur="500" id="20" tmFilter="0, 0; .2, .5; .8, .5; 1, 0"/>
                                        <p:tgtEl>
                                          <p:spTgt spid="6"/>
                                        </p:tgtEl>
                                      </p:cBhvr>
                                    </p:animEffect>
                                    <p:animScale>
                                      <p:cBhvr>
                                        <p:cTn autoRev="1" dur="250" fill="hold" id="21"/>
                                        <p:tgtEl>
                                          <p:spTgt spid="6"/>
                                        </p:tgtEl>
                                      </p:cBhvr>
                                      <p:by x="105000" y="105000"/>
                                    </p:animScale>
                                  </p:childTnLst>
                                </p:cTn>
                              </p:par>
                            </p:childTnLst>
                          </p:cTn>
                        </p:par>
                        <p:par>
                          <p:cTn fill="hold" id="22" nodeType="afterGroup">
                            <p:stCondLst>
                              <p:cond delay="3500"/>
                            </p:stCondLst>
                            <p:childTnLst>
                              <p:par>
                                <p:cTn fill="hold" grpId="0" id="23" nodeType="afterEffect" presetClass="entr" presetID="41" presetSubtype="0">
                                  <p:stCondLst>
                                    <p:cond delay="0"/>
                                  </p:stCondLst>
                                  <p:iterate type="lt">
                                    <p:tmPct val="10000"/>
                                  </p:iterate>
                                  <p:childTnLst>
                                    <p:set>
                                      <p:cBhvr>
                                        <p:cTn dur="1" fill="hold" id="24">
                                          <p:stCondLst>
                                            <p:cond delay="0"/>
                                          </p:stCondLst>
                                        </p:cTn>
                                        <p:tgtEl>
                                          <p:spTgt spid="7"/>
                                        </p:tgtEl>
                                        <p:attrNameLst>
                                          <p:attrName>style.visibility</p:attrName>
                                        </p:attrNameLst>
                                      </p:cBhvr>
                                      <p:to>
                                        <p:strVal val="visible"/>
                                      </p:to>
                                    </p:set>
                                    <p:anim calcmode="lin" valueType="num">
                                      <p:cBhvr>
                                        <p:cTn dur="200" fill="hold" id="25"/>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dur="200" fill="hold" id="26"/>
                                        <p:tgtEl>
                                          <p:spTgt spid="7"/>
                                        </p:tgtEl>
                                        <p:attrNameLst>
                                          <p:attrName>ppt_y</p:attrName>
                                        </p:attrNameLst>
                                      </p:cBhvr>
                                      <p:tavLst>
                                        <p:tav tm="0">
                                          <p:val>
                                            <p:strVal val="#ppt_y"/>
                                          </p:val>
                                        </p:tav>
                                        <p:tav tm="100000">
                                          <p:val>
                                            <p:strVal val="#ppt_y"/>
                                          </p:val>
                                        </p:tav>
                                      </p:tavLst>
                                    </p:anim>
                                    <p:anim calcmode="lin" valueType="num">
                                      <p:cBhvr>
                                        <p:cTn dur="200" fill="hold" id="27"/>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dur="200" fill="hold" id="28"/>
                                        <p:tgtEl>
                                          <p:spTgt spid="7"/>
                                        </p:tgtEl>
                                        <p:attrNameLst>
                                          <p:attrName>ppt_w</p:attrName>
                                        </p:attrNameLst>
                                      </p:cBhvr>
                                      <p:tavLst>
                                        <p:tav tm="0">
                                          <p:val>
                                            <p:strVal val="#ppt_w/10"/>
                                          </p:val>
                                        </p:tav>
                                        <p:tav tm="50000">
                                          <p:val>
                                            <p:strVal val="#ppt_w+.01"/>
                                          </p:val>
                                        </p:tav>
                                        <p:tav tm="100000">
                                          <p:val>
                                            <p:strVal val="#ppt_w"/>
                                          </p:val>
                                        </p:tav>
                                      </p:tavLst>
                                    </p:anim>
                                    <p:animEffect filter="fade" transition="in">
                                      <p:cBhvr>
                                        <p:cTn dur="200" id="29" tmFilter="0,0; .5, 1; 1, 1"/>
                                        <p:tgtEl>
                                          <p:spTgt spid="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
      <p:bldP grpId="1" spid="6"/>
      <p:bldP grpId="0" spid="7"/>
      <p:bldP grpId="0" spid="8"/>
      <p:bldP grpId="1" spid="8"/>
      <p:bldP grpId="2" spid="8"/>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TextBox 9"/>
          <p:cNvSpPr txBox="1"/>
          <p:nvPr/>
        </p:nvSpPr>
        <p:spPr>
          <a:xfrm>
            <a:off x="3708496" y="648000"/>
            <a:ext cx="3599180" cy="762000"/>
          </a:xfrm>
          <a:prstGeom prst="rect">
            <a:avLst/>
          </a:prstGeom>
          <a:noFill/>
        </p:spPr>
        <p:txBody>
          <a:bodyPr rtlCol="0" wrap="none">
            <a:spAutoFit/>
          </a:bodyPr>
          <a:lstStyle/>
          <a:p>
            <a:r>
              <a:rPr altLang="en-US" lang="zh-CN" spc="300" sz="4400">
                <a:solidFill>
                  <a:srgbClr val="0070C0"/>
                </a:solidFill>
                <a:latin charset="-122" panose="02010600030101010101" pitchFamily="2" typeface="黑体"/>
                <a:ea charset="-122" panose="02010600030101010101" pitchFamily="2" typeface="黑体"/>
              </a:rPr>
              <a:t>目录Catalog</a:t>
            </a: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3600"/>
              <a:t>1</a:t>
            </a:r>
          </a:p>
        </p:txBody>
      </p:sp>
      <p:sp>
        <p:nvSpPr>
          <p:cNvPr id="4" name="TextBox 10"/>
          <p:cNvSpPr txBox="1"/>
          <p:nvPr/>
        </p:nvSpPr>
        <p:spPr>
          <a:xfrm>
            <a:off x="2412330" y="2016114"/>
            <a:ext cx="1783080" cy="365760"/>
          </a:xfrm>
          <a:prstGeom prst="rect">
            <a:avLst/>
          </a:prstGeom>
          <a:noFill/>
        </p:spPr>
        <p:txBody>
          <a:bodyPr rtlCol="0" wrap="none">
            <a:spAutoFit/>
          </a:bodyPr>
          <a:lstStyle/>
          <a:p>
            <a:r>
              <a:rPr altLang="en-US" lang="zh-CN" spc="300" sz="1800">
                <a:solidFill>
                  <a:srgbClr val="0070C0"/>
                </a:solidFill>
                <a:latin charset="-122" panose="02010600030101010101" pitchFamily="2" typeface="黑体"/>
                <a:ea charset="-122" panose="02010600030101010101" pitchFamily="2" typeface="黑体"/>
              </a:rPr>
              <a:t>单击添加标题</a:t>
            </a:r>
          </a:p>
        </p:txBody>
      </p:sp>
      <p:sp>
        <p:nvSpPr>
          <p:cNvPr id="5" name="TextBox 11"/>
          <p:cNvSpPr txBox="1"/>
          <p:nvPr/>
        </p:nvSpPr>
        <p:spPr>
          <a:xfrm>
            <a:off x="2422748" y="2366267"/>
            <a:ext cx="2484755" cy="304800"/>
          </a:xfrm>
          <a:prstGeom prst="rect">
            <a:avLst/>
          </a:prstGeom>
          <a:noFill/>
        </p:spPr>
        <p:txBody>
          <a:bodyPr rtlCol="0" wrap="none">
            <a:spAutoFit/>
          </a:bodyPr>
          <a:lstStyle/>
          <a:p>
            <a:r>
              <a:rPr altLang="zh-CN" lang="en-US" spc="300" sz="700">
                <a:solidFill>
                  <a:schemeClr val="bg1"/>
                </a:solidFill>
                <a:latin charset="-122" panose="01010104010101010101" pitchFamily="2" typeface="汉仪细等线"/>
                <a:ea charset="-122" panose="01010104010101010101" pitchFamily="2" typeface="汉仪细等线"/>
              </a:rPr>
              <a:t>Please click enter to add</a:t>
            </a:r>
          </a:p>
          <a:p>
            <a:r>
              <a:rPr altLang="zh-CN" lang="en-US" spc="300" sz="700">
                <a:solidFill>
                  <a:schemeClr val="bg1"/>
                </a:solidFill>
                <a:latin charset="-122" panose="01010104010101010101" pitchFamily="2" typeface="汉仪细等线"/>
                <a:ea charset="-122" panose="01010104010101010101" pitchFamily="2" typeface="汉仪细等线"/>
              </a:rPr>
              <a:t> text content</a:t>
            </a: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3600"/>
              <a:t>2</a:t>
            </a:r>
          </a:p>
        </p:txBody>
      </p:sp>
      <p:sp>
        <p:nvSpPr>
          <p:cNvPr id="7" name="TextBox 13"/>
          <p:cNvSpPr txBox="1"/>
          <p:nvPr/>
        </p:nvSpPr>
        <p:spPr>
          <a:xfrm>
            <a:off x="5580682" y="2016114"/>
            <a:ext cx="1783080" cy="365760"/>
          </a:xfrm>
          <a:prstGeom prst="rect">
            <a:avLst/>
          </a:prstGeom>
          <a:noFill/>
        </p:spPr>
        <p:txBody>
          <a:bodyPr rtlCol="0" wrap="none">
            <a:spAutoFit/>
          </a:bodyPr>
          <a:lstStyle/>
          <a:p>
            <a:r>
              <a:rPr altLang="en-US" lang="zh-CN" spc="300" sz="1800">
                <a:solidFill>
                  <a:srgbClr val="0070C0"/>
                </a:solidFill>
                <a:latin charset="-122" panose="02010600030101010101" pitchFamily="2" typeface="黑体"/>
                <a:ea charset="-122" panose="02010600030101010101" pitchFamily="2" typeface="黑体"/>
              </a:rPr>
              <a:t>单击添加标题</a:t>
            </a:r>
          </a:p>
        </p:txBody>
      </p:sp>
      <p:sp>
        <p:nvSpPr>
          <p:cNvPr id="8" name="TextBox 14"/>
          <p:cNvSpPr txBox="1"/>
          <p:nvPr/>
        </p:nvSpPr>
        <p:spPr>
          <a:xfrm>
            <a:off x="5591101" y="2366267"/>
            <a:ext cx="2484755" cy="304800"/>
          </a:xfrm>
          <a:prstGeom prst="rect">
            <a:avLst/>
          </a:prstGeom>
          <a:noFill/>
        </p:spPr>
        <p:txBody>
          <a:bodyPr rtlCol="0" wrap="none">
            <a:spAutoFit/>
          </a:bodyPr>
          <a:lstStyle/>
          <a:p>
            <a:r>
              <a:rPr altLang="zh-CN" lang="en-US" spc="300" sz="700">
                <a:solidFill>
                  <a:schemeClr val="bg1"/>
                </a:solidFill>
                <a:latin charset="-122" panose="01010104010101010101" pitchFamily="2" typeface="汉仪细等线"/>
                <a:ea charset="-122" panose="01010104010101010101" pitchFamily="2" typeface="汉仪细等线"/>
              </a:rPr>
              <a:t>Please click enter to add</a:t>
            </a:r>
          </a:p>
          <a:p>
            <a:r>
              <a:rPr altLang="zh-CN" lang="en-US" spc="300" sz="700">
                <a:solidFill>
                  <a:schemeClr val="bg1"/>
                </a:solidFill>
                <a:latin charset="-122" panose="01010104010101010101" pitchFamily="2" typeface="汉仪细等线"/>
                <a:ea charset="-122" panose="01010104010101010101" pitchFamily="2" typeface="汉仪细等线"/>
              </a:rPr>
              <a:t>text content</a:t>
            </a: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3600"/>
              <a:t>3</a:t>
            </a:r>
          </a:p>
        </p:txBody>
      </p:sp>
      <p:sp>
        <p:nvSpPr>
          <p:cNvPr id="10" name="TextBox 16"/>
          <p:cNvSpPr txBox="1"/>
          <p:nvPr/>
        </p:nvSpPr>
        <p:spPr>
          <a:xfrm>
            <a:off x="2412330" y="3024198"/>
            <a:ext cx="1783080" cy="365760"/>
          </a:xfrm>
          <a:prstGeom prst="rect">
            <a:avLst/>
          </a:prstGeom>
          <a:noFill/>
        </p:spPr>
        <p:txBody>
          <a:bodyPr rtlCol="0" wrap="none">
            <a:spAutoFit/>
          </a:bodyPr>
          <a:lstStyle/>
          <a:p>
            <a:r>
              <a:rPr altLang="en-US" lang="zh-CN" spc="300" sz="1800">
                <a:solidFill>
                  <a:srgbClr val="0070C0"/>
                </a:solidFill>
                <a:latin charset="-122" panose="02010600030101010101" pitchFamily="2" typeface="黑体"/>
                <a:ea charset="-122" panose="02010600030101010101" pitchFamily="2" typeface="黑体"/>
              </a:rPr>
              <a:t>单击添加标题</a:t>
            </a:r>
          </a:p>
        </p:txBody>
      </p:sp>
      <p:sp>
        <p:nvSpPr>
          <p:cNvPr id="11" name="TextBox 17"/>
          <p:cNvSpPr txBox="1"/>
          <p:nvPr/>
        </p:nvSpPr>
        <p:spPr>
          <a:xfrm>
            <a:off x="2422749" y="3374351"/>
            <a:ext cx="2484755" cy="304800"/>
          </a:xfrm>
          <a:prstGeom prst="rect">
            <a:avLst/>
          </a:prstGeom>
          <a:noFill/>
        </p:spPr>
        <p:txBody>
          <a:bodyPr rtlCol="0" wrap="none">
            <a:spAutoFit/>
          </a:bodyPr>
          <a:lstStyle/>
          <a:p>
            <a:r>
              <a:rPr altLang="zh-CN" lang="en-US" spc="300" sz="700">
                <a:solidFill>
                  <a:schemeClr val="bg1"/>
                </a:solidFill>
                <a:latin charset="-122" panose="01010104010101010101" pitchFamily="2" typeface="汉仪细等线"/>
                <a:ea charset="-122" panose="01010104010101010101" pitchFamily="2" typeface="汉仪细等线"/>
              </a:rPr>
              <a:t>Please click enter to add</a:t>
            </a:r>
          </a:p>
          <a:p>
            <a:r>
              <a:rPr altLang="zh-CN" lang="en-US" spc="300" sz="700">
                <a:solidFill>
                  <a:schemeClr val="bg1"/>
                </a:solidFill>
                <a:latin charset="-122" panose="01010104010101010101" pitchFamily="2" typeface="汉仪细等线"/>
                <a:ea charset="-122" panose="01010104010101010101" pitchFamily="2" typeface="汉仪细等线"/>
              </a:rPr>
              <a:t>text content</a:t>
            </a: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3600"/>
              <a:t>4</a:t>
            </a:r>
          </a:p>
        </p:txBody>
      </p:sp>
      <p:sp>
        <p:nvSpPr>
          <p:cNvPr id="13" name="TextBox 19"/>
          <p:cNvSpPr txBox="1"/>
          <p:nvPr/>
        </p:nvSpPr>
        <p:spPr>
          <a:xfrm>
            <a:off x="5580682" y="3024198"/>
            <a:ext cx="1783080" cy="365760"/>
          </a:xfrm>
          <a:prstGeom prst="rect">
            <a:avLst/>
          </a:prstGeom>
          <a:noFill/>
        </p:spPr>
        <p:txBody>
          <a:bodyPr rtlCol="0" wrap="none">
            <a:spAutoFit/>
          </a:bodyPr>
          <a:lstStyle/>
          <a:p>
            <a:r>
              <a:rPr altLang="en-US" lang="zh-CN" spc="300" sz="1800">
                <a:solidFill>
                  <a:srgbClr val="0070C0"/>
                </a:solidFill>
                <a:latin charset="-122" panose="02010600030101010101" pitchFamily="2" typeface="黑体"/>
                <a:ea charset="-122" panose="02010600030101010101" pitchFamily="2" typeface="黑体"/>
              </a:rPr>
              <a:t>单击添加标题</a:t>
            </a:r>
          </a:p>
        </p:txBody>
      </p:sp>
      <p:sp>
        <p:nvSpPr>
          <p:cNvPr id="14" name="TextBox 20"/>
          <p:cNvSpPr txBox="1"/>
          <p:nvPr/>
        </p:nvSpPr>
        <p:spPr>
          <a:xfrm>
            <a:off x="5591101" y="3374351"/>
            <a:ext cx="2484755" cy="304800"/>
          </a:xfrm>
          <a:prstGeom prst="rect">
            <a:avLst/>
          </a:prstGeom>
          <a:noFill/>
        </p:spPr>
        <p:txBody>
          <a:bodyPr rtlCol="0" wrap="none">
            <a:spAutoFit/>
          </a:bodyPr>
          <a:lstStyle/>
          <a:p>
            <a:r>
              <a:rPr altLang="zh-CN" lang="en-US" spc="300" sz="700">
                <a:solidFill>
                  <a:schemeClr val="bg1"/>
                </a:solidFill>
                <a:latin charset="-122" panose="01010104010101010101" pitchFamily="2" typeface="汉仪细等线"/>
                <a:ea charset="-122" panose="01010104010101010101" pitchFamily="2" typeface="汉仪细等线"/>
              </a:rPr>
              <a:t>Please click enter to add</a:t>
            </a:r>
          </a:p>
          <a:p>
            <a:r>
              <a:rPr altLang="zh-CN" lang="en-US" spc="300" sz="700">
                <a:solidFill>
                  <a:schemeClr val="bg1"/>
                </a:solidFill>
                <a:latin charset="-122" panose="01010104010101010101" pitchFamily="2" typeface="汉仪细等线"/>
                <a:ea charset="-122" panose="01010104010101010101" pitchFamily="2" typeface="汉仪细等线"/>
              </a:rPr>
              <a:t> text content</a:t>
            </a:r>
          </a:p>
        </p:txBody>
      </p:sp>
      <p:pic>
        <p:nvPicPr>
          <p:cNvPr id="16" name="图片 15"/>
          <p:cNvPicPr>
            <a:picLocks noChangeAspect="1"/>
          </p:cNvPicPr>
          <p:nvPr/>
        </p:nvPicPr>
        <p:blipFill>
          <a:blip r:embed="rId3">
            <a:extLst>
              <a:ext uri="{28A0092B-C50C-407E-A947-70E740481C1C}">
                <a14:useLocalDpi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z="3600"/>
              <a:t>5</a:t>
            </a:r>
          </a:p>
        </p:txBody>
      </p:sp>
      <p:sp>
        <p:nvSpPr>
          <p:cNvPr id="19" name="TextBox 19"/>
          <p:cNvSpPr txBox="1"/>
          <p:nvPr/>
        </p:nvSpPr>
        <p:spPr>
          <a:xfrm>
            <a:off x="2484394" y="3960276"/>
            <a:ext cx="1783080" cy="365760"/>
          </a:xfrm>
          <a:prstGeom prst="rect">
            <a:avLst/>
          </a:prstGeom>
          <a:noFill/>
        </p:spPr>
        <p:txBody>
          <a:bodyPr rtlCol="0" wrap="none">
            <a:spAutoFit/>
          </a:bodyPr>
          <a:lstStyle/>
          <a:p>
            <a:r>
              <a:rPr altLang="en-US" lang="zh-CN" spc="300" sz="1800">
                <a:solidFill>
                  <a:srgbClr val="0070C0"/>
                </a:solidFill>
                <a:latin charset="-122" panose="02010600030101010101" pitchFamily="2" typeface="黑体"/>
                <a:ea charset="-122" panose="02010600030101010101" pitchFamily="2" typeface="黑体"/>
              </a:rPr>
              <a:t>单击添加标题</a:t>
            </a:r>
          </a:p>
        </p:txBody>
      </p:sp>
      <p:sp>
        <p:nvSpPr>
          <p:cNvPr id="20" name="TextBox 20"/>
          <p:cNvSpPr txBox="1"/>
          <p:nvPr/>
        </p:nvSpPr>
        <p:spPr>
          <a:xfrm>
            <a:off x="2494813" y="4310429"/>
            <a:ext cx="2484755" cy="304800"/>
          </a:xfrm>
          <a:prstGeom prst="rect">
            <a:avLst/>
          </a:prstGeom>
          <a:noFill/>
        </p:spPr>
        <p:txBody>
          <a:bodyPr rtlCol="0" wrap="none">
            <a:spAutoFit/>
          </a:bodyPr>
          <a:lstStyle/>
          <a:p>
            <a:r>
              <a:rPr altLang="zh-CN" lang="en-US" spc="300" sz="700">
                <a:solidFill>
                  <a:schemeClr val="bg1"/>
                </a:solidFill>
                <a:latin charset="-122" panose="01010104010101010101" pitchFamily="2" typeface="汉仪细等线"/>
                <a:ea charset="-122" panose="01010104010101010101" pitchFamily="2" typeface="汉仪细等线"/>
              </a:rPr>
              <a:t>Please click enter to add</a:t>
            </a:r>
          </a:p>
          <a:p>
            <a:r>
              <a:rPr altLang="zh-CN" lang="en-US" spc="300" sz="700">
                <a:solidFill>
                  <a:schemeClr val="bg1"/>
                </a:solidFill>
                <a:latin charset="-122" panose="01010104010101010101" pitchFamily="2" typeface="汉仪细等线"/>
                <a:ea charset="-122" panose="01010104010101010101" pitchFamily="2" typeface="汉仪细等线"/>
              </a:rPr>
              <a:t> text content</a:t>
            </a:r>
          </a:p>
        </p:txBody>
      </p:sp>
    </p:spTree>
  </p:cSld>
  <p:clrMapOvr>
    <a:masterClrMapping/>
  </p:clrMapOvr>
  <mc:AlternateContent>
    <mc:Choice Requires="p14">
      <p:transition p14:dur="1300" spd="slow">
        <p14:pan dir="u"/>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52" presetSubtype="0">
                                  <p:stCondLst>
                                    <p:cond delay="0"/>
                                  </p:stCondLst>
                                  <p:childTnLst>
                                    <p:set>
                                      <p:cBhvr>
                                        <p:cTn dur="1" fill="hold" id="6">
                                          <p:stCondLst>
                                            <p:cond delay="0"/>
                                          </p:stCondLst>
                                        </p:cTn>
                                        <p:tgtEl>
                                          <p:spTgt spid="2"/>
                                        </p:tgtEl>
                                        <p:attrNameLst>
                                          <p:attrName>style.visibility</p:attrName>
                                        </p:attrNameLst>
                                      </p:cBhvr>
                                      <p:to>
                                        <p:strVal val="visible"/>
                                      </p:to>
                                    </p:set>
                                    <p:animScale>
                                      <p:cBhvr>
                                        <p:cTn decel="50000" dur="1000" fill="hold" id="7">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 0 0" pathEditMode="relative" ptsTypes="">
                                      <p:cBhvr>
                                        <p:cTn decel="50000" dur="1000" fill="hold" id="8">
                                          <p:stCondLst>
                                            <p:cond delay="0"/>
                                          </p:stCondLst>
                                        </p:cTn>
                                        <p:tgtEl>
                                          <p:spTgt spid="2"/>
                                        </p:tgtEl>
                                        <p:attrNameLst>
                                          <p:attrName>ppt_x</p:attrName>
                                          <p:attrName>ppt_y</p:attrName>
                                        </p:attrNameLst>
                                      </p:cBhvr>
                                    </p:animMotion>
                                    <p:animEffect filter="fade" transition="in">
                                      <p:cBhvr>
                                        <p:cTn dur="1000" id="9"/>
                                        <p:tgtEl>
                                          <p:spTgt spid="2"/>
                                        </p:tgtEl>
                                      </p:cBhvr>
                                    </p:animEffect>
                                  </p:childTnLst>
                                </p:cTn>
                              </p:par>
                            </p:childTnLst>
                          </p:cTn>
                        </p:par>
                        <p:par>
                          <p:cTn fill="hold" id="10" nodeType="afterGroup">
                            <p:stCondLst>
                              <p:cond delay="1000"/>
                            </p:stCondLst>
                            <p:childTnLst>
                              <p:par>
                                <p:cTn fill="hold" grpId="0" id="11" nodeType="afterEffect" presetClass="entr" presetID="53" presetSubtype="0">
                                  <p:stCondLst>
                                    <p:cond delay="0"/>
                                  </p:stCondLst>
                                  <p:childTnLst>
                                    <p:set>
                                      <p:cBhvr>
                                        <p:cTn dur="1" fill="hold" id="12">
                                          <p:stCondLst>
                                            <p:cond delay="0"/>
                                          </p:stCondLst>
                                        </p:cTn>
                                        <p:tgtEl>
                                          <p:spTgt spid="3"/>
                                        </p:tgtEl>
                                        <p:attrNameLst>
                                          <p:attrName>style.visibility</p:attrName>
                                        </p:attrNameLst>
                                      </p:cBhvr>
                                      <p:to>
                                        <p:strVal val="visible"/>
                                      </p:to>
                                    </p:set>
                                    <p:anim calcmode="lin" valueType="num">
                                      <p:cBhvr>
                                        <p:cTn dur="500" fill="hold" id="13"/>
                                        <p:tgtEl>
                                          <p:spTgt spid="3"/>
                                        </p:tgtEl>
                                        <p:attrNameLst>
                                          <p:attrName>ppt_w</p:attrName>
                                        </p:attrNameLst>
                                      </p:cBhvr>
                                      <p:tavLst>
                                        <p:tav tm="0">
                                          <p:val>
                                            <p:fltVal val="0"/>
                                          </p:val>
                                        </p:tav>
                                        <p:tav tm="100000">
                                          <p:val>
                                            <p:strVal val="#ppt_w"/>
                                          </p:val>
                                        </p:tav>
                                      </p:tavLst>
                                    </p:anim>
                                    <p:anim calcmode="lin" valueType="num">
                                      <p:cBhvr>
                                        <p:cTn dur="500" fill="hold" id="14"/>
                                        <p:tgtEl>
                                          <p:spTgt spid="3"/>
                                        </p:tgtEl>
                                        <p:attrNameLst>
                                          <p:attrName>ppt_h</p:attrName>
                                        </p:attrNameLst>
                                      </p:cBhvr>
                                      <p:tavLst>
                                        <p:tav tm="0">
                                          <p:val>
                                            <p:fltVal val="0"/>
                                          </p:val>
                                        </p:tav>
                                        <p:tav tm="100000">
                                          <p:val>
                                            <p:strVal val="#ppt_h"/>
                                          </p:val>
                                        </p:tav>
                                      </p:tavLst>
                                    </p:anim>
                                    <p:animEffect filter="fade" transition="in">
                                      <p:cBhvr>
                                        <p:cTn dur="500" id="15"/>
                                        <p:tgtEl>
                                          <p:spTgt spid="3"/>
                                        </p:tgtEl>
                                      </p:cBhvr>
                                    </p:animEffect>
                                  </p:childTnLst>
                                </p:cTn>
                              </p:par>
                            </p:childTnLst>
                          </p:cTn>
                        </p:par>
                        <p:par>
                          <p:cTn fill="hold" id="16" nodeType="afterGroup">
                            <p:stCondLst>
                              <p:cond delay="1500"/>
                            </p:stCondLst>
                            <p:childTnLst>
                              <p:par>
                                <p:cTn fill="hold" grpId="0" id="17" nodeType="afterEffect" presetClass="entr" presetID="41" presetSubtype="0">
                                  <p:stCondLst>
                                    <p:cond delay="0"/>
                                  </p:stCondLst>
                                  <p:iterate type="lt">
                                    <p:tmPct val="10000"/>
                                  </p:iterate>
                                  <p:childTnLst>
                                    <p:set>
                                      <p:cBhvr>
                                        <p:cTn dur="1" fill="hold" id="18">
                                          <p:stCondLst>
                                            <p:cond delay="0"/>
                                          </p:stCondLst>
                                        </p:cTn>
                                        <p:tgtEl>
                                          <p:spTgt spid="4"/>
                                        </p:tgtEl>
                                        <p:attrNameLst>
                                          <p:attrName>style.visibility</p:attrName>
                                        </p:attrNameLst>
                                      </p:cBhvr>
                                      <p:to>
                                        <p:strVal val="visible"/>
                                      </p:to>
                                    </p:set>
                                    <p:anim calcmode="lin" valueType="num">
                                      <p:cBhvr>
                                        <p:cTn dur="500" fill="hold" id="19"/>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20"/>
                                        <p:tgtEl>
                                          <p:spTgt spid="4"/>
                                        </p:tgtEl>
                                        <p:attrNameLst>
                                          <p:attrName>ppt_y</p:attrName>
                                        </p:attrNameLst>
                                      </p:cBhvr>
                                      <p:tavLst>
                                        <p:tav tm="0">
                                          <p:val>
                                            <p:strVal val="#ppt_y"/>
                                          </p:val>
                                        </p:tav>
                                        <p:tav tm="100000">
                                          <p:val>
                                            <p:strVal val="#ppt_y"/>
                                          </p:val>
                                        </p:tav>
                                      </p:tavLst>
                                    </p:anim>
                                    <p:anim calcmode="lin" valueType="num">
                                      <p:cBhvr>
                                        <p:cTn dur="500" fill="hold" id="21"/>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22"/>
                                        <p:tgtEl>
                                          <p:spTgt spid="4"/>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23" tmFilter="0,0; .5, 1; 1, 1"/>
                                        <p:tgtEl>
                                          <p:spTgt spid="4"/>
                                        </p:tgtEl>
                                      </p:cBhvr>
                                    </p:animEffect>
                                  </p:childTnLst>
                                </p:cTn>
                              </p:par>
                            </p:childTnLst>
                          </p:cTn>
                        </p:par>
                        <p:par>
                          <p:cTn fill="hold" id="24" nodeType="afterGroup">
                            <p:stCondLst>
                              <p:cond delay="2000"/>
                            </p:stCondLst>
                            <p:childTnLst>
                              <p:par>
                                <p:cTn fill="hold" grpId="1" id="25" nodeType="afterEffect" presetClass="emph" presetID="26" presetSubtype="0">
                                  <p:stCondLst>
                                    <p:cond delay="0"/>
                                  </p:stCondLst>
                                  <p:iterate type="lt">
                                    <p:tmPct val="0"/>
                                  </p:iterate>
                                  <p:childTnLst>
                                    <p:animEffect filter="fade" transition="out">
                                      <p:cBhvr>
                                        <p:cTn dur="500" id="26" tmFilter="0, 0; .2, .5; .8, .5; 1, 0"/>
                                        <p:tgtEl>
                                          <p:spTgt spid="4"/>
                                        </p:tgtEl>
                                      </p:cBhvr>
                                    </p:animEffect>
                                    <p:animScale>
                                      <p:cBhvr>
                                        <p:cTn autoRev="1" dur="250" fill="hold" id="27"/>
                                        <p:tgtEl>
                                          <p:spTgt spid="4"/>
                                        </p:tgtEl>
                                      </p:cBhvr>
                                      <p:by x="105000" y="105000"/>
                                    </p:animScale>
                                  </p:childTnLst>
                                </p:cTn>
                              </p:par>
                            </p:childTnLst>
                          </p:cTn>
                        </p:par>
                        <p:par>
                          <p:cTn fill="hold" id="28" nodeType="afterGroup">
                            <p:stCondLst>
                              <p:cond delay="2500"/>
                            </p:stCondLst>
                            <p:childTnLst>
                              <p:par>
                                <p:cTn fill="hold" grpId="0" id="29" nodeType="afterEffect" presetClass="entr" presetID="41" presetSubtype="0">
                                  <p:stCondLst>
                                    <p:cond delay="0"/>
                                  </p:stCondLst>
                                  <p:iterate type="lt">
                                    <p:tmPct val="10000"/>
                                  </p:iterate>
                                  <p:childTnLst>
                                    <p:set>
                                      <p:cBhvr>
                                        <p:cTn dur="1" fill="hold" id="30">
                                          <p:stCondLst>
                                            <p:cond delay="0"/>
                                          </p:stCondLst>
                                        </p:cTn>
                                        <p:tgtEl>
                                          <p:spTgt spid="5"/>
                                        </p:tgtEl>
                                        <p:attrNameLst>
                                          <p:attrName>style.visibility</p:attrName>
                                        </p:attrNameLst>
                                      </p:cBhvr>
                                      <p:to>
                                        <p:strVal val="visible"/>
                                      </p:to>
                                    </p:set>
                                    <p:anim calcmode="lin" valueType="num">
                                      <p:cBhvr>
                                        <p:cTn dur="400" fill="hold" id="31"/>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dur="400" fill="hold" id="32"/>
                                        <p:tgtEl>
                                          <p:spTgt spid="5"/>
                                        </p:tgtEl>
                                        <p:attrNameLst>
                                          <p:attrName>ppt_y</p:attrName>
                                        </p:attrNameLst>
                                      </p:cBhvr>
                                      <p:tavLst>
                                        <p:tav tm="0">
                                          <p:val>
                                            <p:strVal val="#ppt_y"/>
                                          </p:val>
                                        </p:tav>
                                        <p:tav tm="100000">
                                          <p:val>
                                            <p:strVal val="#ppt_y"/>
                                          </p:val>
                                        </p:tav>
                                      </p:tavLst>
                                    </p:anim>
                                    <p:anim calcmode="lin" valueType="num">
                                      <p:cBhvr>
                                        <p:cTn dur="400" fill="hold" id="33"/>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dur="400" fill="hold" id="34"/>
                                        <p:tgtEl>
                                          <p:spTgt spid="5"/>
                                        </p:tgtEl>
                                        <p:attrNameLst>
                                          <p:attrName>ppt_w</p:attrName>
                                        </p:attrNameLst>
                                      </p:cBhvr>
                                      <p:tavLst>
                                        <p:tav tm="0">
                                          <p:val>
                                            <p:strVal val="#ppt_w/10"/>
                                          </p:val>
                                        </p:tav>
                                        <p:tav tm="50000">
                                          <p:val>
                                            <p:strVal val="#ppt_w+.01"/>
                                          </p:val>
                                        </p:tav>
                                        <p:tav tm="100000">
                                          <p:val>
                                            <p:strVal val="#ppt_w"/>
                                          </p:val>
                                        </p:tav>
                                      </p:tavLst>
                                    </p:anim>
                                    <p:animEffect filter="fade" transition="in">
                                      <p:cBhvr>
                                        <p:cTn dur="400" id="35" tmFilter="0,0; .5, 1; 1, 1"/>
                                        <p:tgtEl>
                                          <p:spTgt spid="5"/>
                                        </p:tgtEl>
                                      </p:cBhvr>
                                    </p:animEffect>
                                  </p:childTnLst>
                                </p:cTn>
                              </p:par>
                            </p:childTnLst>
                          </p:cTn>
                        </p:par>
                        <p:par>
                          <p:cTn fill="hold" id="36" nodeType="afterGroup">
                            <p:stCondLst>
                              <p:cond delay="2900"/>
                            </p:stCondLst>
                            <p:childTnLst>
                              <p:par>
                                <p:cTn fill="hold" grpId="0" id="37" nodeType="afterEffect" presetClass="entr" presetID="53" presetSubtype="0">
                                  <p:stCondLst>
                                    <p:cond delay="0"/>
                                  </p:stCondLst>
                                  <p:childTnLst>
                                    <p:set>
                                      <p:cBhvr>
                                        <p:cTn dur="1" fill="hold" id="38">
                                          <p:stCondLst>
                                            <p:cond delay="0"/>
                                          </p:stCondLst>
                                        </p:cTn>
                                        <p:tgtEl>
                                          <p:spTgt spid="6"/>
                                        </p:tgtEl>
                                        <p:attrNameLst>
                                          <p:attrName>style.visibility</p:attrName>
                                        </p:attrNameLst>
                                      </p:cBhvr>
                                      <p:to>
                                        <p:strVal val="visible"/>
                                      </p:to>
                                    </p:set>
                                    <p:anim calcmode="lin" valueType="num">
                                      <p:cBhvr>
                                        <p:cTn dur="500" fill="hold" id="39"/>
                                        <p:tgtEl>
                                          <p:spTgt spid="6"/>
                                        </p:tgtEl>
                                        <p:attrNameLst>
                                          <p:attrName>ppt_w</p:attrName>
                                        </p:attrNameLst>
                                      </p:cBhvr>
                                      <p:tavLst>
                                        <p:tav tm="0">
                                          <p:val>
                                            <p:fltVal val="0"/>
                                          </p:val>
                                        </p:tav>
                                        <p:tav tm="100000">
                                          <p:val>
                                            <p:strVal val="#ppt_w"/>
                                          </p:val>
                                        </p:tav>
                                      </p:tavLst>
                                    </p:anim>
                                    <p:anim calcmode="lin" valueType="num">
                                      <p:cBhvr>
                                        <p:cTn dur="500" fill="hold" id="40"/>
                                        <p:tgtEl>
                                          <p:spTgt spid="6"/>
                                        </p:tgtEl>
                                        <p:attrNameLst>
                                          <p:attrName>ppt_h</p:attrName>
                                        </p:attrNameLst>
                                      </p:cBhvr>
                                      <p:tavLst>
                                        <p:tav tm="0">
                                          <p:val>
                                            <p:fltVal val="0"/>
                                          </p:val>
                                        </p:tav>
                                        <p:tav tm="100000">
                                          <p:val>
                                            <p:strVal val="#ppt_h"/>
                                          </p:val>
                                        </p:tav>
                                      </p:tavLst>
                                    </p:anim>
                                    <p:animEffect filter="fade" transition="in">
                                      <p:cBhvr>
                                        <p:cTn dur="500" id="41"/>
                                        <p:tgtEl>
                                          <p:spTgt spid="6"/>
                                        </p:tgtEl>
                                      </p:cBhvr>
                                    </p:animEffect>
                                  </p:childTnLst>
                                </p:cTn>
                              </p:par>
                            </p:childTnLst>
                          </p:cTn>
                        </p:par>
                        <p:par>
                          <p:cTn fill="hold" id="42" nodeType="afterGroup">
                            <p:stCondLst>
                              <p:cond delay="3400"/>
                            </p:stCondLst>
                            <p:childTnLst>
                              <p:par>
                                <p:cTn fill="hold" grpId="0" id="43" nodeType="afterEffect" presetClass="entr" presetID="41" presetSubtype="0">
                                  <p:stCondLst>
                                    <p:cond delay="0"/>
                                  </p:stCondLst>
                                  <p:iterate type="lt">
                                    <p:tmPct val="10000"/>
                                  </p:iterate>
                                  <p:childTnLst>
                                    <p:set>
                                      <p:cBhvr>
                                        <p:cTn dur="1" fill="hold" id="44">
                                          <p:stCondLst>
                                            <p:cond delay="0"/>
                                          </p:stCondLst>
                                        </p:cTn>
                                        <p:tgtEl>
                                          <p:spTgt spid="7"/>
                                        </p:tgtEl>
                                        <p:attrNameLst>
                                          <p:attrName>style.visibility</p:attrName>
                                        </p:attrNameLst>
                                      </p:cBhvr>
                                      <p:to>
                                        <p:strVal val="visible"/>
                                      </p:to>
                                    </p:set>
                                    <p:anim calcmode="lin" valueType="num">
                                      <p:cBhvr>
                                        <p:cTn dur="500" fill="hold" id="45"/>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46"/>
                                        <p:tgtEl>
                                          <p:spTgt spid="7"/>
                                        </p:tgtEl>
                                        <p:attrNameLst>
                                          <p:attrName>ppt_y</p:attrName>
                                        </p:attrNameLst>
                                      </p:cBhvr>
                                      <p:tavLst>
                                        <p:tav tm="0">
                                          <p:val>
                                            <p:strVal val="#ppt_y"/>
                                          </p:val>
                                        </p:tav>
                                        <p:tav tm="100000">
                                          <p:val>
                                            <p:strVal val="#ppt_y"/>
                                          </p:val>
                                        </p:tav>
                                      </p:tavLst>
                                    </p:anim>
                                    <p:anim calcmode="lin" valueType="num">
                                      <p:cBhvr>
                                        <p:cTn dur="500" fill="hold" id="47"/>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48"/>
                                        <p:tgtEl>
                                          <p:spTgt spid="7"/>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49" tmFilter="0,0; .5, 1; 1, 1"/>
                                        <p:tgtEl>
                                          <p:spTgt spid="7"/>
                                        </p:tgtEl>
                                      </p:cBhvr>
                                    </p:animEffect>
                                  </p:childTnLst>
                                </p:cTn>
                              </p:par>
                            </p:childTnLst>
                          </p:cTn>
                        </p:par>
                        <p:par>
                          <p:cTn fill="hold" id="50" nodeType="afterGroup">
                            <p:stCondLst>
                              <p:cond delay="3900"/>
                            </p:stCondLst>
                            <p:childTnLst>
                              <p:par>
                                <p:cTn fill="hold" grpId="1" id="51" nodeType="afterEffect" presetClass="emph" presetID="26" presetSubtype="0">
                                  <p:stCondLst>
                                    <p:cond delay="0"/>
                                  </p:stCondLst>
                                  <p:iterate type="lt">
                                    <p:tmPct val="0"/>
                                  </p:iterate>
                                  <p:childTnLst>
                                    <p:animEffect filter="fade" transition="out">
                                      <p:cBhvr>
                                        <p:cTn dur="500" id="52" tmFilter="0, 0; .2, .5; .8, .5; 1, 0"/>
                                        <p:tgtEl>
                                          <p:spTgt spid="7"/>
                                        </p:tgtEl>
                                      </p:cBhvr>
                                    </p:animEffect>
                                    <p:animScale>
                                      <p:cBhvr>
                                        <p:cTn autoRev="1" dur="250" fill="hold" id="53"/>
                                        <p:tgtEl>
                                          <p:spTgt spid="7"/>
                                        </p:tgtEl>
                                      </p:cBhvr>
                                      <p:by x="105000" y="105000"/>
                                    </p:animScale>
                                  </p:childTnLst>
                                </p:cTn>
                              </p:par>
                            </p:childTnLst>
                          </p:cTn>
                        </p:par>
                        <p:par>
                          <p:cTn fill="hold" id="54" nodeType="afterGroup">
                            <p:stCondLst>
                              <p:cond delay="4400"/>
                            </p:stCondLst>
                            <p:childTnLst>
                              <p:par>
                                <p:cTn fill="hold" grpId="0" id="55" nodeType="afterEffect" presetClass="entr" presetID="41" presetSubtype="0">
                                  <p:stCondLst>
                                    <p:cond delay="0"/>
                                  </p:stCondLst>
                                  <p:iterate type="lt">
                                    <p:tmPct val="10000"/>
                                  </p:iterate>
                                  <p:childTnLst>
                                    <p:set>
                                      <p:cBhvr>
                                        <p:cTn dur="1" fill="hold" id="56">
                                          <p:stCondLst>
                                            <p:cond delay="0"/>
                                          </p:stCondLst>
                                        </p:cTn>
                                        <p:tgtEl>
                                          <p:spTgt spid="8"/>
                                        </p:tgtEl>
                                        <p:attrNameLst>
                                          <p:attrName>style.visibility</p:attrName>
                                        </p:attrNameLst>
                                      </p:cBhvr>
                                      <p:to>
                                        <p:strVal val="visible"/>
                                      </p:to>
                                    </p:set>
                                    <p:anim calcmode="lin" valueType="num">
                                      <p:cBhvr>
                                        <p:cTn dur="400" fill="hold" id="57"/>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dur="400" fill="hold" id="58"/>
                                        <p:tgtEl>
                                          <p:spTgt spid="8"/>
                                        </p:tgtEl>
                                        <p:attrNameLst>
                                          <p:attrName>ppt_y</p:attrName>
                                        </p:attrNameLst>
                                      </p:cBhvr>
                                      <p:tavLst>
                                        <p:tav tm="0">
                                          <p:val>
                                            <p:strVal val="#ppt_y"/>
                                          </p:val>
                                        </p:tav>
                                        <p:tav tm="100000">
                                          <p:val>
                                            <p:strVal val="#ppt_y"/>
                                          </p:val>
                                        </p:tav>
                                      </p:tavLst>
                                    </p:anim>
                                    <p:anim calcmode="lin" valueType="num">
                                      <p:cBhvr>
                                        <p:cTn dur="400" fill="hold" id="59"/>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dur="400" fill="hold" id="60"/>
                                        <p:tgtEl>
                                          <p:spTgt spid="8"/>
                                        </p:tgtEl>
                                        <p:attrNameLst>
                                          <p:attrName>ppt_w</p:attrName>
                                        </p:attrNameLst>
                                      </p:cBhvr>
                                      <p:tavLst>
                                        <p:tav tm="0">
                                          <p:val>
                                            <p:strVal val="#ppt_w/10"/>
                                          </p:val>
                                        </p:tav>
                                        <p:tav tm="50000">
                                          <p:val>
                                            <p:strVal val="#ppt_w+.01"/>
                                          </p:val>
                                        </p:tav>
                                        <p:tav tm="100000">
                                          <p:val>
                                            <p:strVal val="#ppt_w"/>
                                          </p:val>
                                        </p:tav>
                                      </p:tavLst>
                                    </p:anim>
                                    <p:animEffect filter="fade" transition="in">
                                      <p:cBhvr>
                                        <p:cTn dur="400" id="61" tmFilter="0,0; .5, 1; 1, 1"/>
                                        <p:tgtEl>
                                          <p:spTgt spid="8"/>
                                        </p:tgtEl>
                                      </p:cBhvr>
                                    </p:animEffect>
                                  </p:childTnLst>
                                </p:cTn>
                              </p:par>
                            </p:childTnLst>
                          </p:cTn>
                        </p:par>
                        <p:par>
                          <p:cTn fill="hold" id="62" nodeType="afterGroup">
                            <p:stCondLst>
                              <p:cond delay="4800"/>
                            </p:stCondLst>
                            <p:childTnLst>
                              <p:par>
                                <p:cTn fill="hold" grpId="0" id="63" nodeType="afterEffect" presetClass="entr" presetID="53" presetSubtype="0">
                                  <p:stCondLst>
                                    <p:cond delay="0"/>
                                  </p:stCondLst>
                                  <p:childTnLst>
                                    <p:set>
                                      <p:cBhvr>
                                        <p:cTn dur="1" fill="hold" id="64">
                                          <p:stCondLst>
                                            <p:cond delay="0"/>
                                          </p:stCondLst>
                                        </p:cTn>
                                        <p:tgtEl>
                                          <p:spTgt spid="9"/>
                                        </p:tgtEl>
                                        <p:attrNameLst>
                                          <p:attrName>style.visibility</p:attrName>
                                        </p:attrNameLst>
                                      </p:cBhvr>
                                      <p:to>
                                        <p:strVal val="visible"/>
                                      </p:to>
                                    </p:set>
                                    <p:anim calcmode="lin" valueType="num">
                                      <p:cBhvr>
                                        <p:cTn dur="500" fill="hold" id="65"/>
                                        <p:tgtEl>
                                          <p:spTgt spid="9"/>
                                        </p:tgtEl>
                                        <p:attrNameLst>
                                          <p:attrName>ppt_w</p:attrName>
                                        </p:attrNameLst>
                                      </p:cBhvr>
                                      <p:tavLst>
                                        <p:tav tm="0">
                                          <p:val>
                                            <p:fltVal val="0"/>
                                          </p:val>
                                        </p:tav>
                                        <p:tav tm="100000">
                                          <p:val>
                                            <p:strVal val="#ppt_w"/>
                                          </p:val>
                                        </p:tav>
                                      </p:tavLst>
                                    </p:anim>
                                    <p:anim calcmode="lin" valueType="num">
                                      <p:cBhvr>
                                        <p:cTn dur="500" fill="hold" id="66"/>
                                        <p:tgtEl>
                                          <p:spTgt spid="9"/>
                                        </p:tgtEl>
                                        <p:attrNameLst>
                                          <p:attrName>ppt_h</p:attrName>
                                        </p:attrNameLst>
                                      </p:cBhvr>
                                      <p:tavLst>
                                        <p:tav tm="0">
                                          <p:val>
                                            <p:fltVal val="0"/>
                                          </p:val>
                                        </p:tav>
                                        <p:tav tm="100000">
                                          <p:val>
                                            <p:strVal val="#ppt_h"/>
                                          </p:val>
                                        </p:tav>
                                      </p:tavLst>
                                    </p:anim>
                                    <p:animEffect filter="fade" transition="in">
                                      <p:cBhvr>
                                        <p:cTn dur="500" id="67"/>
                                        <p:tgtEl>
                                          <p:spTgt spid="9"/>
                                        </p:tgtEl>
                                      </p:cBhvr>
                                    </p:animEffect>
                                  </p:childTnLst>
                                </p:cTn>
                              </p:par>
                            </p:childTnLst>
                          </p:cTn>
                        </p:par>
                        <p:par>
                          <p:cTn fill="hold" id="68" nodeType="afterGroup">
                            <p:stCondLst>
                              <p:cond delay="5300"/>
                            </p:stCondLst>
                            <p:childTnLst>
                              <p:par>
                                <p:cTn fill="hold" grpId="0" id="69" nodeType="afterEffect" presetClass="entr" presetID="41" presetSubtype="0">
                                  <p:stCondLst>
                                    <p:cond delay="0"/>
                                  </p:stCondLst>
                                  <p:iterate type="lt">
                                    <p:tmPct val="10000"/>
                                  </p:iterate>
                                  <p:childTnLst>
                                    <p:set>
                                      <p:cBhvr>
                                        <p:cTn dur="1" fill="hold" id="70">
                                          <p:stCondLst>
                                            <p:cond delay="0"/>
                                          </p:stCondLst>
                                        </p:cTn>
                                        <p:tgtEl>
                                          <p:spTgt spid="10"/>
                                        </p:tgtEl>
                                        <p:attrNameLst>
                                          <p:attrName>style.visibility</p:attrName>
                                        </p:attrNameLst>
                                      </p:cBhvr>
                                      <p:to>
                                        <p:strVal val="visible"/>
                                      </p:to>
                                    </p:set>
                                    <p:anim calcmode="lin" valueType="num">
                                      <p:cBhvr>
                                        <p:cTn dur="500" fill="hold" id="71"/>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72"/>
                                        <p:tgtEl>
                                          <p:spTgt spid="10"/>
                                        </p:tgtEl>
                                        <p:attrNameLst>
                                          <p:attrName>ppt_y</p:attrName>
                                        </p:attrNameLst>
                                      </p:cBhvr>
                                      <p:tavLst>
                                        <p:tav tm="0">
                                          <p:val>
                                            <p:strVal val="#ppt_y"/>
                                          </p:val>
                                        </p:tav>
                                        <p:tav tm="100000">
                                          <p:val>
                                            <p:strVal val="#ppt_y"/>
                                          </p:val>
                                        </p:tav>
                                      </p:tavLst>
                                    </p:anim>
                                    <p:anim calcmode="lin" valueType="num">
                                      <p:cBhvr>
                                        <p:cTn dur="500" fill="hold" id="73"/>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74"/>
                                        <p:tgtEl>
                                          <p:spTgt spid="10"/>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75" tmFilter="0,0; .5, 1; 1, 1"/>
                                        <p:tgtEl>
                                          <p:spTgt spid="10"/>
                                        </p:tgtEl>
                                      </p:cBhvr>
                                    </p:animEffect>
                                  </p:childTnLst>
                                </p:cTn>
                              </p:par>
                            </p:childTnLst>
                          </p:cTn>
                        </p:par>
                        <p:par>
                          <p:cTn fill="hold" id="76" nodeType="afterGroup">
                            <p:stCondLst>
                              <p:cond delay="5800"/>
                            </p:stCondLst>
                            <p:childTnLst>
                              <p:par>
                                <p:cTn fill="hold" grpId="1" id="77" nodeType="afterEffect" presetClass="emph" presetID="26" presetSubtype="0">
                                  <p:stCondLst>
                                    <p:cond delay="0"/>
                                  </p:stCondLst>
                                  <p:iterate type="lt">
                                    <p:tmPct val="0"/>
                                  </p:iterate>
                                  <p:childTnLst>
                                    <p:animEffect filter="fade" transition="out">
                                      <p:cBhvr>
                                        <p:cTn dur="500" id="78" tmFilter="0, 0; .2, .5; .8, .5; 1, 0"/>
                                        <p:tgtEl>
                                          <p:spTgt spid="10"/>
                                        </p:tgtEl>
                                      </p:cBhvr>
                                    </p:animEffect>
                                    <p:animScale>
                                      <p:cBhvr>
                                        <p:cTn autoRev="1" dur="250" fill="hold" id="79"/>
                                        <p:tgtEl>
                                          <p:spTgt spid="10"/>
                                        </p:tgtEl>
                                      </p:cBhvr>
                                      <p:by x="105000" y="105000"/>
                                    </p:animScale>
                                  </p:childTnLst>
                                </p:cTn>
                              </p:par>
                            </p:childTnLst>
                          </p:cTn>
                        </p:par>
                        <p:par>
                          <p:cTn fill="hold" id="80" nodeType="afterGroup">
                            <p:stCondLst>
                              <p:cond delay="6300"/>
                            </p:stCondLst>
                            <p:childTnLst>
                              <p:par>
                                <p:cTn fill="hold" grpId="0" id="81" nodeType="afterEffect" presetClass="entr" presetID="41" presetSubtype="0">
                                  <p:stCondLst>
                                    <p:cond delay="0"/>
                                  </p:stCondLst>
                                  <p:iterate type="lt">
                                    <p:tmPct val="10000"/>
                                  </p:iterate>
                                  <p:childTnLst>
                                    <p:set>
                                      <p:cBhvr>
                                        <p:cTn dur="1" fill="hold" id="82">
                                          <p:stCondLst>
                                            <p:cond delay="0"/>
                                          </p:stCondLst>
                                        </p:cTn>
                                        <p:tgtEl>
                                          <p:spTgt spid="11"/>
                                        </p:tgtEl>
                                        <p:attrNameLst>
                                          <p:attrName>style.visibility</p:attrName>
                                        </p:attrNameLst>
                                      </p:cBhvr>
                                      <p:to>
                                        <p:strVal val="visible"/>
                                      </p:to>
                                    </p:set>
                                    <p:anim calcmode="lin" valueType="num">
                                      <p:cBhvr>
                                        <p:cTn dur="400" fill="hold" id="83"/>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dur="400" fill="hold" id="84"/>
                                        <p:tgtEl>
                                          <p:spTgt spid="11"/>
                                        </p:tgtEl>
                                        <p:attrNameLst>
                                          <p:attrName>ppt_y</p:attrName>
                                        </p:attrNameLst>
                                      </p:cBhvr>
                                      <p:tavLst>
                                        <p:tav tm="0">
                                          <p:val>
                                            <p:strVal val="#ppt_y"/>
                                          </p:val>
                                        </p:tav>
                                        <p:tav tm="100000">
                                          <p:val>
                                            <p:strVal val="#ppt_y"/>
                                          </p:val>
                                        </p:tav>
                                      </p:tavLst>
                                    </p:anim>
                                    <p:anim calcmode="lin" valueType="num">
                                      <p:cBhvr>
                                        <p:cTn dur="400" fill="hold" id="85"/>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dur="400" fill="hold" id="86"/>
                                        <p:tgtEl>
                                          <p:spTgt spid="11"/>
                                        </p:tgtEl>
                                        <p:attrNameLst>
                                          <p:attrName>ppt_w</p:attrName>
                                        </p:attrNameLst>
                                      </p:cBhvr>
                                      <p:tavLst>
                                        <p:tav tm="0">
                                          <p:val>
                                            <p:strVal val="#ppt_w/10"/>
                                          </p:val>
                                        </p:tav>
                                        <p:tav tm="50000">
                                          <p:val>
                                            <p:strVal val="#ppt_w+.01"/>
                                          </p:val>
                                        </p:tav>
                                        <p:tav tm="100000">
                                          <p:val>
                                            <p:strVal val="#ppt_w"/>
                                          </p:val>
                                        </p:tav>
                                      </p:tavLst>
                                    </p:anim>
                                    <p:animEffect filter="fade" transition="in">
                                      <p:cBhvr>
                                        <p:cTn dur="400" id="87" tmFilter="0,0; .5, 1; 1, 1"/>
                                        <p:tgtEl>
                                          <p:spTgt spid="11"/>
                                        </p:tgtEl>
                                      </p:cBhvr>
                                    </p:animEffect>
                                  </p:childTnLst>
                                </p:cTn>
                              </p:par>
                            </p:childTnLst>
                          </p:cTn>
                        </p:par>
                        <p:par>
                          <p:cTn fill="hold" id="88" nodeType="afterGroup">
                            <p:stCondLst>
                              <p:cond delay="6700"/>
                            </p:stCondLst>
                            <p:childTnLst>
                              <p:par>
                                <p:cTn fill="hold" grpId="0" id="89" nodeType="afterEffect" presetClass="entr" presetID="53" presetSubtype="0">
                                  <p:stCondLst>
                                    <p:cond delay="0"/>
                                  </p:stCondLst>
                                  <p:childTnLst>
                                    <p:set>
                                      <p:cBhvr>
                                        <p:cTn dur="1" fill="hold" id="90">
                                          <p:stCondLst>
                                            <p:cond delay="0"/>
                                          </p:stCondLst>
                                        </p:cTn>
                                        <p:tgtEl>
                                          <p:spTgt spid="12"/>
                                        </p:tgtEl>
                                        <p:attrNameLst>
                                          <p:attrName>style.visibility</p:attrName>
                                        </p:attrNameLst>
                                      </p:cBhvr>
                                      <p:to>
                                        <p:strVal val="visible"/>
                                      </p:to>
                                    </p:set>
                                    <p:anim calcmode="lin" valueType="num">
                                      <p:cBhvr>
                                        <p:cTn dur="500" fill="hold" id="91"/>
                                        <p:tgtEl>
                                          <p:spTgt spid="12"/>
                                        </p:tgtEl>
                                        <p:attrNameLst>
                                          <p:attrName>ppt_w</p:attrName>
                                        </p:attrNameLst>
                                      </p:cBhvr>
                                      <p:tavLst>
                                        <p:tav tm="0">
                                          <p:val>
                                            <p:fltVal val="0"/>
                                          </p:val>
                                        </p:tav>
                                        <p:tav tm="100000">
                                          <p:val>
                                            <p:strVal val="#ppt_w"/>
                                          </p:val>
                                        </p:tav>
                                      </p:tavLst>
                                    </p:anim>
                                    <p:anim calcmode="lin" valueType="num">
                                      <p:cBhvr>
                                        <p:cTn dur="500" fill="hold" id="92"/>
                                        <p:tgtEl>
                                          <p:spTgt spid="12"/>
                                        </p:tgtEl>
                                        <p:attrNameLst>
                                          <p:attrName>ppt_h</p:attrName>
                                        </p:attrNameLst>
                                      </p:cBhvr>
                                      <p:tavLst>
                                        <p:tav tm="0">
                                          <p:val>
                                            <p:fltVal val="0"/>
                                          </p:val>
                                        </p:tav>
                                        <p:tav tm="100000">
                                          <p:val>
                                            <p:strVal val="#ppt_h"/>
                                          </p:val>
                                        </p:tav>
                                      </p:tavLst>
                                    </p:anim>
                                    <p:animEffect filter="fade" transition="in">
                                      <p:cBhvr>
                                        <p:cTn dur="500" id="93"/>
                                        <p:tgtEl>
                                          <p:spTgt spid="12"/>
                                        </p:tgtEl>
                                      </p:cBhvr>
                                    </p:animEffect>
                                  </p:childTnLst>
                                </p:cTn>
                              </p:par>
                            </p:childTnLst>
                          </p:cTn>
                        </p:par>
                        <p:par>
                          <p:cTn fill="hold" id="94" nodeType="afterGroup">
                            <p:stCondLst>
                              <p:cond delay="7200"/>
                            </p:stCondLst>
                            <p:childTnLst>
                              <p:par>
                                <p:cTn fill="hold" grpId="0" id="95" nodeType="afterEffect" presetClass="entr" presetID="41" presetSubtype="0">
                                  <p:stCondLst>
                                    <p:cond delay="0"/>
                                  </p:stCondLst>
                                  <p:iterate type="lt">
                                    <p:tmPct val="10000"/>
                                  </p:iterate>
                                  <p:childTnLst>
                                    <p:set>
                                      <p:cBhvr>
                                        <p:cTn dur="1" fill="hold" id="96">
                                          <p:stCondLst>
                                            <p:cond delay="0"/>
                                          </p:stCondLst>
                                        </p:cTn>
                                        <p:tgtEl>
                                          <p:spTgt spid="13"/>
                                        </p:tgtEl>
                                        <p:attrNameLst>
                                          <p:attrName>style.visibility</p:attrName>
                                        </p:attrNameLst>
                                      </p:cBhvr>
                                      <p:to>
                                        <p:strVal val="visible"/>
                                      </p:to>
                                    </p:set>
                                    <p:anim calcmode="lin" valueType="num">
                                      <p:cBhvr>
                                        <p:cTn dur="500" fill="hold" id="97"/>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98"/>
                                        <p:tgtEl>
                                          <p:spTgt spid="13"/>
                                        </p:tgtEl>
                                        <p:attrNameLst>
                                          <p:attrName>ppt_y</p:attrName>
                                        </p:attrNameLst>
                                      </p:cBhvr>
                                      <p:tavLst>
                                        <p:tav tm="0">
                                          <p:val>
                                            <p:strVal val="#ppt_y"/>
                                          </p:val>
                                        </p:tav>
                                        <p:tav tm="100000">
                                          <p:val>
                                            <p:strVal val="#ppt_y"/>
                                          </p:val>
                                        </p:tav>
                                      </p:tavLst>
                                    </p:anim>
                                    <p:anim calcmode="lin" valueType="num">
                                      <p:cBhvr>
                                        <p:cTn dur="500" fill="hold" id="99"/>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00"/>
                                        <p:tgtEl>
                                          <p:spTgt spid="13"/>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01" tmFilter="0,0; .5, 1; 1, 1"/>
                                        <p:tgtEl>
                                          <p:spTgt spid="13"/>
                                        </p:tgtEl>
                                      </p:cBhvr>
                                    </p:animEffect>
                                  </p:childTnLst>
                                </p:cTn>
                              </p:par>
                            </p:childTnLst>
                          </p:cTn>
                        </p:par>
                        <p:par>
                          <p:cTn fill="hold" id="102" nodeType="afterGroup">
                            <p:stCondLst>
                              <p:cond delay="7700"/>
                            </p:stCondLst>
                            <p:childTnLst>
                              <p:par>
                                <p:cTn fill="hold" grpId="1" id="103" nodeType="afterEffect" presetClass="emph" presetID="26" presetSubtype="0">
                                  <p:stCondLst>
                                    <p:cond delay="0"/>
                                  </p:stCondLst>
                                  <p:iterate type="lt">
                                    <p:tmPct val="0"/>
                                  </p:iterate>
                                  <p:childTnLst>
                                    <p:animEffect filter="fade" transition="out">
                                      <p:cBhvr>
                                        <p:cTn dur="500" id="104" tmFilter="0, 0; .2, .5; .8, .5; 1, 0"/>
                                        <p:tgtEl>
                                          <p:spTgt spid="13"/>
                                        </p:tgtEl>
                                      </p:cBhvr>
                                    </p:animEffect>
                                    <p:animScale>
                                      <p:cBhvr>
                                        <p:cTn autoRev="1" dur="250" fill="hold" id="105"/>
                                        <p:tgtEl>
                                          <p:spTgt spid="13"/>
                                        </p:tgtEl>
                                      </p:cBhvr>
                                      <p:by x="105000" y="105000"/>
                                    </p:animScale>
                                  </p:childTnLst>
                                </p:cTn>
                              </p:par>
                            </p:childTnLst>
                          </p:cTn>
                        </p:par>
                        <p:par>
                          <p:cTn fill="hold" id="106" nodeType="afterGroup">
                            <p:stCondLst>
                              <p:cond delay="8200"/>
                            </p:stCondLst>
                            <p:childTnLst>
                              <p:par>
                                <p:cTn fill="hold" grpId="0" id="107" nodeType="afterEffect" presetClass="entr" presetID="41" presetSubtype="0">
                                  <p:stCondLst>
                                    <p:cond delay="0"/>
                                  </p:stCondLst>
                                  <p:iterate type="lt">
                                    <p:tmPct val="10000"/>
                                  </p:iterate>
                                  <p:childTnLst>
                                    <p:set>
                                      <p:cBhvr>
                                        <p:cTn dur="1" fill="hold" id="108">
                                          <p:stCondLst>
                                            <p:cond delay="0"/>
                                          </p:stCondLst>
                                        </p:cTn>
                                        <p:tgtEl>
                                          <p:spTgt spid="14"/>
                                        </p:tgtEl>
                                        <p:attrNameLst>
                                          <p:attrName>style.visibility</p:attrName>
                                        </p:attrNameLst>
                                      </p:cBhvr>
                                      <p:to>
                                        <p:strVal val="visible"/>
                                      </p:to>
                                    </p:set>
                                    <p:anim calcmode="lin" valueType="num">
                                      <p:cBhvr>
                                        <p:cTn dur="400" fill="hold" id="109"/>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dur="400" fill="hold" id="110"/>
                                        <p:tgtEl>
                                          <p:spTgt spid="14"/>
                                        </p:tgtEl>
                                        <p:attrNameLst>
                                          <p:attrName>ppt_y</p:attrName>
                                        </p:attrNameLst>
                                      </p:cBhvr>
                                      <p:tavLst>
                                        <p:tav tm="0">
                                          <p:val>
                                            <p:strVal val="#ppt_y"/>
                                          </p:val>
                                        </p:tav>
                                        <p:tav tm="100000">
                                          <p:val>
                                            <p:strVal val="#ppt_y"/>
                                          </p:val>
                                        </p:tav>
                                      </p:tavLst>
                                    </p:anim>
                                    <p:anim calcmode="lin" valueType="num">
                                      <p:cBhvr>
                                        <p:cTn dur="400" fill="hold" id="111"/>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dur="400" fill="hold" id="112"/>
                                        <p:tgtEl>
                                          <p:spTgt spid="14"/>
                                        </p:tgtEl>
                                        <p:attrNameLst>
                                          <p:attrName>ppt_w</p:attrName>
                                        </p:attrNameLst>
                                      </p:cBhvr>
                                      <p:tavLst>
                                        <p:tav tm="0">
                                          <p:val>
                                            <p:strVal val="#ppt_w/10"/>
                                          </p:val>
                                        </p:tav>
                                        <p:tav tm="50000">
                                          <p:val>
                                            <p:strVal val="#ppt_w+.01"/>
                                          </p:val>
                                        </p:tav>
                                        <p:tav tm="100000">
                                          <p:val>
                                            <p:strVal val="#ppt_w"/>
                                          </p:val>
                                        </p:tav>
                                      </p:tavLst>
                                    </p:anim>
                                    <p:animEffect filter="fade" transition="in">
                                      <p:cBhvr>
                                        <p:cTn dur="400" id="113" tmFilter="0,0; .5, 1; 1, 1"/>
                                        <p:tgtEl>
                                          <p:spTgt spid="14"/>
                                        </p:tgtEl>
                                      </p:cBhvr>
                                    </p:animEffect>
                                  </p:childTnLst>
                                </p:cTn>
                              </p:par>
                            </p:childTnLst>
                          </p:cTn>
                        </p:par>
                        <p:par>
                          <p:cTn fill="hold" id="114" nodeType="afterGroup">
                            <p:stCondLst>
                              <p:cond delay="8600"/>
                            </p:stCondLst>
                            <p:childTnLst>
                              <p:par>
                                <p:cTn fill="hold" grpId="0" id="115" nodeType="afterEffect" presetClass="entr" presetID="53" presetSubtype="0">
                                  <p:stCondLst>
                                    <p:cond delay="0"/>
                                  </p:stCondLst>
                                  <p:childTnLst>
                                    <p:set>
                                      <p:cBhvr>
                                        <p:cTn dur="1" fill="hold" id="116">
                                          <p:stCondLst>
                                            <p:cond delay="0"/>
                                          </p:stCondLst>
                                        </p:cTn>
                                        <p:tgtEl>
                                          <p:spTgt spid="18"/>
                                        </p:tgtEl>
                                        <p:attrNameLst>
                                          <p:attrName>style.visibility</p:attrName>
                                        </p:attrNameLst>
                                      </p:cBhvr>
                                      <p:to>
                                        <p:strVal val="visible"/>
                                      </p:to>
                                    </p:set>
                                    <p:anim calcmode="lin" valueType="num">
                                      <p:cBhvr>
                                        <p:cTn dur="500" fill="hold" id="117"/>
                                        <p:tgtEl>
                                          <p:spTgt spid="18"/>
                                        </p:tgtEl>
                                        <p:attrNameLst>
                                          <p:attrName>ppt_w</p:attrName>
                                        </p:attrNameLst>
                                      </p:cBhvr>
                                      <p:tavLst>
                                        <p:tav tm="0">
                                          <p:val>
                                            <p:fltVal val="0"/>
                                          </p:val>
                                        </p:tav>
                                        <p:tav tm="100000">
                                          <p:val>
                                            <p:strVal val="#ppt_w"/>
                                          </p:val>
                                        </p:tav>
                                      </p:tavLst>
                                    </p:anim>
                                    <p:anim calcmode="lin" valueType="num">
                                      <p:cBhvr>
                                        <p:cTn dur="500" fill="hold" id="118"/>
                                        <p:tgtEl>
                                          <p:spTgt spid="18"/>
                                        </p:tgtEl>
                                        <p:attrNameLst>
                                          <p:attrName>ppt_h</p:attrName>
                                        </p:attrNameLst>
                                      </p:cBhvr>
                                      <p:tavLst>
                                        <p:tav tm="0">
                                          <p:val>
                                            <p:fltVal val="0"/>
                                          </p:val>
                                        </p:tav>
                                        <p:tav tm="100000">
                                          <p:val>
                                            <p:strVal val="#ppt_h"/>
                                          </p:val>
                                        </p:tav>
                                      </p:tavLst>
                                    </p:anim>
                                    <p:animEffect filter="fade" transition="in">
                                      <p:cBhvr>
                                        <p:cTn dur="500" id="119"/>
                                        <p:tgtEl>
                                          <p:spTgt spid="18"/>
                                        </p:tgtEl>
                                      </p:cBhvr>
                                    </p:animEffect>
                                  </p:childTnLst>
                                </p:cTn>
                              </p:par>
                            </p:childTnLst>
                          </p:cTn>
                        </p:par>
                        <p:par>
                          <p:cTn fill="hold" id="120" nodeType="afterGroup">
                            <p:stCondLst>
                              <p:cond delay="9100"/>
                            </p:stCondLst>
                            <p:childTnLst>
                              <p:par>
                                <p:cTn fill="hold" grpId="0" id="121" nodeType="afterEffect" presetClass="entr" presetID="41" presetSubtype="0">
                                  <p:stCondLst>
                                    <p:cond delay="0"/>
                                  </p:stCondLst>
                                  <p:iterate type="lt">
                                    <p:tmPct val="10000"/>
                                  </p:iterate>
                                  <p:childTnLst>
                                    <p:set>
                                      <p:cBhvr>
                                        <p:cTn dur="1" fill="hold" id="122">
                                          <p:stCondLst>
                                            <p:cond delay="0"/>
                                          </p:stCondLst>
                                        </p:cTn>
                                        <p:tgtEl>
                                          <p:spTgt spid="19"/>
                                        </p:tgtEl>
                                        <p:attrNameLst>
                                          <p:attrName>style.visibility</p:attrName>
                                        </p:attrNameLst>
                                      </p:cBhvr>
                                      <p:to>
                                        <p:strVal val="visible"/>
                                      </p:to>
                                    </p:set>
                                    <p:anim calcmode="lin" valueType="num">
                                      <p:cBhvr>
                                        <p:cTn dur="500" fill="hold" id="123"/>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24"/>
                                        <p:tgtEl>
                                          <p:spTgt spid="19"/>
                                        </p:tgtEl>
                                        <p:attrNameLst>
                                          <p:attrName>ppt_y</p:attrName>
                                        </p:attrNameLst>
                                      </p:cBhvr>
                                      <p:tavLst>
                                        <p:tav tm="0">
                                          <p:val>
                                            <p:strVal val="#ppt_y"/>
                                          </p:val>
                                        </p:tav>
                                        <p:tav tm="100000">
                                          <p:val>
                                            <p:strVal val="#ppt_y"/>
                                          </p:val>
                                        </p:tav>
                                      </p:tavLst>
                                    </p:anim>
                                    <p:anim calcmode="lin" valueType="num">
                                      <p:cBhvr>
                                        <p:cTn dur="500" fill="hold" id="125"/>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26"/>
                                        <p:tgtEl>
                                          <p:spTgt spid="19"/>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27" tmFilter="0,0; .5, 1; 1, 1"/>
                                        <p:tgtEl>
                                          <p:spTgt spid="19"/>
                                        </p:tgtEl>
                                      </p:cBhvr>
                                    </p:animEffect>
                                  </p:childTnLst>
                                </p:cTn>
                              </p:par>
                            </p:childTnLst>
                          </p:cTn>
                        </p:par>
                        <p:par>
                          <p:cTn fill="hold" id="128" nodeType="afterGroup">
                            <p:stCondLst>
                              <p:cond delay="9600"/>
                            </p:stCondLst>
                            <p:childTnLst>
                              <p:par>
                                <p:cTn fill="hold" grpId="1" id="129" nodeType="afterEffect" presetClass="emph" presetID="26" presetSubtype="0">
                                  <p:stCondLst>
                                    <p:cond delay="0"/>
                                  </p:stCondLst>
                                  <p:iterate type="lt">
                                    <p:tmPct val="0"/>
                                  </p:iterate>
                                  <p:childTnLst>
                                    <p:animEffect filter="fade" transition="out">
                                      <p:cBhvr>
                                        <p:cTn dur="500" id="130" tmFilter="0, 0; .2, .5; .8, .5; 1, 0"/>
                                        <p:tgtEl>
                                          <p:spTgt spid="19"/>
                                        </p:tgtEl>
                                      </p:cBhvr>
                                    </p:animEffect>
                                    <p:animScale>
                                      <p:cBhvr>
                                        <p:cTn autoRev="1" dur="250" fill="hold" id="131"/>
                                        <p:tgtEl>
                                          <p:spTgt spid="19"/>
                                        </p:tgtEl>
                                      </p:cBhvr>
                                      <p:by x="105000" y="105000"/>
                                    </p:animScale>
                                  </p:childTnLst>
                                </p:cTn>
                              </p:par>
                            </p:childTnLst>
                          </p:cTn>
                        </p:par>
                        <p:par>
                          <p:cTn fill="hold" id="132" nodeType="afterGroup">
                            <p:stCondLst>
                              <p:cond delay="10100"/>
                            </p:stCondLst>
                            <p:childTnLst>
                              <p:par>
                                <p:cTn fill="hold" grpId="0" id="133" nodeType="afterEffect" presetClass="entr" presetID="41" presetSubtype="0">
                                  <p:stCondLst>
                                    <p:cond delay="0"/>
                                  </p:stCondLst>
                                  <p:iterate type="lt">
                                    <p:tmPct val="10000"/>
                                  </p:iterate>
                                  <p:childTnLst>
                                    <p:set>
                                      <p:cBhvr>
                                        <p:cTn dur="1" fill="hold" id="134">
                                          <p:stCondLst>
                                            <p:cond delay="0"/>
                                          </p:stCondLst>
                                        </p:cTn>
                                        <p:tgtEl>
                                          <p:spTgt spid="20"/>
                                        </p:tgtEl>
                                        <p:attrNameLst>
                                          <p:attrName>style.visibility</p:attrName>
                                        </p:attrNameLst>
                                      </p:cBhvr>
                                      <p:to>
                                        <p:strVal val="visible"/>
                                      </p:to>
                                    </p:set>
                                    <p:anim calcmode="lin" valueType="num">
                                      <p:cBhvr>
                                        <p:cTn dur="400" fill="hold" id="135"/>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dur="400" fill="hold" id="136"/>
                                        <p:tgtEl>
                                          <p:spTgt spid="20"/>
                                        </p:tgtEl>
                                        <p:attrNameLst>
                                          <p:attrName>ppt_y</p:attrName>
                                        </p:attrNameLst>
                                      </p:cBhvr>
                                      <p:tavLst>
                                        <p:tav tm="0">
                                          <p:val>
                                            <p:strVal val="#ppt_y"/>
                                          </p:val>
                                        </p:tav>
                                        <p:tav tm="100000">
                                          <p:val>
                                            <p:strVal val="#ppt_y"/>
                                          </p:val>
                                        </p:tav>
                                      </p:tavLst>
                                    </p:anim>
                                    <p:anim calcmode="lin" valueType="num">
                                      <p:cBhvr>
                                        <p:cTn dur="400" fill="hold" id="137"/>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dur="400" fill="hold" id="138"/>
                                        <p:tgtEl>
                                          <p:spTgt spid="20"/>
                                        </p:tgtEl>
                                        <p:attrNameLst>
                                          <p:attrName>ppt_w</p:attrName>
                                        </p:attrNameLst>
                                      </p:cBhvr>
                                      <p:tavLst>
                                        <p:tav tm="0">
                                          <p:val>
                                            <p:strVal val="#ppt_w/10"/>
                                          </p:val>
                                        </p:tav>
                                        <p:tav tm="50000">
                                          <p:val>
                                            <p:strVal val="#ppt_w+.01"/>
                                          </p:val>
                                        </p:tav>
                                        <p:tav tm="100000">
                                          <p:val>
                                            <p:strVal val="#ppt_w"/>
                                          </p:val>
                                        </p:tav>
                                      </p:tavLst>
                                    </p:anim>
                                    <p:animEffect filter="fade" transition="in">
                                      <p:cBhvr>
                                        <p:cTn dur="400" id="139" tmFilter="0,0; .5, 1; 1, 1"/>
                                        <p:tgtEl>
                                          <p:spTgt spid="2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3"/>
      <p:bldP grpId="0" spid="4"/>
      <p:bldP grpId="1" spid="4"/>
      <p:bldP grpId="0" spid="5"/>
      <p:bldP grpId="0" spid="6"/>
      <p:bldP grpId="0" spid="7"/>
      <p:bldP grpId="1" spid="7"/>
      <p:bldP grpId="0" spid="8"/>
      <p:bldP grpId="0" spid="9"/>
      <p:bldP grpId="0" spid="10"/>
      <p:bldP grpId="1" spid="10"/>
      <p:bldP grpId="0" spid="11"/>
      <p:bldP grpId="0" spid="12"/>
      <p:bldP grpId="0" spid="13"/>
      <p:bldP grpId="1" spid="13"/>
      <p:bldP grpId="0" spid="14"/>
      <p:bldP grpId="0" spid="18"/>
      <p:bldP grpId="0" spid="19"/>
      <p:bldP grpId="1" spid="19"/>
      <p:bldP grpId="0" spid="20"/>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6" name="Rectangle 4"/>
          <p:cNvSpPr/>
          <p:nvPr/>
        </p:nvSpPr>
        <p:spPr>
          <a:xfrm>
            <a:off x="262255" y="1007842"/>
            <a:ext cx="2808129" cy="1707024"/>
          </a:xfrm>
          <a:prstGeom prst="rect">
            <a:avLst/>
          </a:prstGeom>
          <a:blipFill dpi="0" rotWithShape="1">
            <a:blip r:embed="rId3">
              <a:extLst>
                <a:ext uri="{28A0092B-C50C-407E-A947-70E740481C1C}">
                  <a14:useLocalDpi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50000"/>
              </a:lnSpc>
              <a:defRPr/>
            </a:pPr>
            <a:endParaRPr lang="en-US" noProof="1" sz="1500">
              <a:latin charset="0" pitchFamily="34" typeface="Arial"/>
              <a:ea charset="-122" panose="020b0503020204020204" pitchFamily="34" typeface="微软雅黑"/>
              <a:sym charset="0" pitchFamily="34" typeface="Arial"/>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50000"/>
              </a:lnSpc>
              <a:defRPr/>
            </a:pPr>
            <a:endParaRPr lang="en-US" noProof="1" sz="1500">
              <a:latin charset="0" pitchFamily="34" typeface="Arial"/>
              <a:ea charset="-122" panose="020b0503020204020204" pitchFamily="34" typeface="微软雅黑"/>
              <a:sym charset="0" pitchFamily="34" typeface="Arial"/>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len="sm" type="oval" w="sm"/>
            <a:tailEnd len="sm" type="oval" w="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4114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0" name="TextBox 29"/>
          <p:cNvSpPr txBox="1">
            <a:spLocks noChangeArrowheads="1"/>
          </p:cNvSpPr>
          <p:nvPr/>
        </p:nvSpPr>
        <p:spPr bwMode="auto">
          <a:xfrm>
            <a:off x="518954" y="3044544"/>
            <a:ext cx="2291398" cy="1066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r>
              <a:rPr altLang="en-US" lang="zh-CN" sz="1000">
                <a:solidFill>
                  <a:schemeClr val="bg1"/>
                </a:solidFill>
                <a:latin charset="0" pitchFamily="34" typeface="Arial"/>
                <a:ea charset="-122" panose="020b0503020204020204" pitchFamily="34" typeface="微软雅黑"/>
                <a:sym charset="0" pitchFamily="34" typeface="Arial"/>
              </a:rPr>
              <a:t>点击请替换文字内容</a:t>
            </a:r>
          </a:p>
          <a:p>
            <a:pPr algn="just" eaLnBrk="1" hangingPunct="1"/>
            <a:r>
              <a:rPr altLang="en-US" lang="zh-CN" sz="1000">
                <a:solidFill>
                  <a:schemeClr val="bg1"/>
                </a:solidFill>
                <a:latin charset="0" pitchFamily="34" typeface="Arial"/>
                <a:ea charset="-122" panose="020b0503020204020204" pitchFamily="34" typeface="微软雅黑"/>
                <a:sym charset="0" pitchFamily="34" typeface="Arial"/>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1" name="Rectangle 16"/>
          <p:cNvSpPr/>
          <p:nvPr/>
        </p:nvSpPr>
        <p:spPr>
          <a:xfrm>
            <a:off x="3113722" y="1007842"/>
            <a:ext cx="2809240" cy="1707024"/>
          </a:xfrm>
          <a:prstGeom prst="rect">
            <a:avLst/>
          </a:prstGeom>
          <a:blipFill dpi="0" rotWithShape="1">
            <a:blip r:embed="rId4">
              <a:extLst>
                <a:ext uri="{28A0092B-C50C-407E-A947-70E740481C1C}">
                  <a14:useLocalDpi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50000"/>
              </a:lnSpc>
              <a:defRPr/>
            </a:pPr>
            <a:endParaRPr lang="en-US" noProof="1" sz="1500">
              <a:latin charset="0" pitchFamily="34" typeface="Arial"/>
              <a:ea charset="-122" panose="020b0503020204020204" pitchFamily="34" typeface="微软雅黑"/>
              <a:sym charset="0" pitchFamily="34" typeface="Arial"/>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50000"/>
              </a:lnSpc>
              <a:defRPr/>
            </a:pPr>
            <a:endParaRPr lang="en-US" noProof="1" sz="1500">
              <a:latin charset="0" pitchFamily="34" typeface="Arial"/>
              <a:ea charset="-122" panose="020b0503020204020204" pitchFamily="34" typeface="微软雅黑"/>
              <a:sym charset="0" pitchFamily="34" typeface="Arial"/>
            </a:endParaRPr>
          </a:p>
        </p:txBody>
      </p:sp>
      <p:sp>
        <p:nvSpPr>
          <p:cNvPr id="33" name="TextBox 32"/>
          <p:cNvSpPr txBox="1">
            <a:spLocks noChangeArrowheads="1"/>
          </p:cNvSpPr>
          <p:nvPr/>
        </p:nvSpPr>
        <p:spPr bwMode="auto">
          <a:xfrm>
            <a:off x="3371532" y="3071095"/>
            <a:ext cx="2290287" cy="1066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r>
              <a:rPr altLang="en-US" lang="zh-CN" sz="1000">
                <a:solidFill>
                  <a:schemeClr val="bg1"/>
                </a:solidFill>
                <a:latin charset="0" pitchFamily="34" typeface="Arial"/>
                <a:ea charset="-122" panose="020b0503020204020204" pitchFamily="34" typeface="微软雅黑"/>
                <a:sym charset="0" pitchFamily="34" typeface="Arial"/>
              </a:rPr>
              <a:t>点击请替换文字内容</a:t>
            </a:r>
          </a:p>
          <a:p>
            <a:pPr algn="just" eaLnBrk="1" hangingPunct="1"/>
            <a:r>
              <a:rPr altLang="en-US" lang="zh-CN" sz="1000">
                <a:solidFill>
                  <a:schemeClr val="bg1"/>
                </a:solidFill>
                <a:latin charset="0" pitchFamily="34" typeface="Arial"/>
                <a:ea charset="-122" panose="020b0503020204020204" pitchFamily="34" typeface="微软雅黑"/>
                <a:sym charset="0" pitchFamily="34" typeface="Arial"/>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4" name="Rectangle 19"/>
          <p:cNvSpPr/>
          <p:nvPr/>
        </p:nvSpPr>
        <p:spPr>
          <a:xfrm>
            <a:off x="5966302" y="1007842"/>
            <a:ext cx="2808128" cy="1707024"/>
          </a:xfrm>
          <a:prstGeom prst="rect">
            <a:avLst/>
          </a:prstGeom>
          <a:blipFill dpi="0" rotWithShape="1">
            <a:blip r:embed="rId3">
              <a:extLst>
                <a:ext uri="{28A0092B-C50C-407E-A947-70E740481C1C}">
                  <a14:useLocalDpi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50000"/>
              </a:lnSpc>
              <a:defRPr/>
            </a:pPr>
            <a:endParaRPr lang="en-US" noProof="1" sz="1500">
              <a:latin charset="0" pitchFamily="34" typeface="Arial"/>
              <a:ea charset="-122" panose="020b0503020204020204" pitchFamily="34" typeface="微软雅黑"/>
              <a:sym charset="0" pitchFamily="34" typeface="Arial"/>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50000"/>
              </a:lnSpc>
              <a:defRPr/>
            </a:pPr>
            <a:endParaRPr lang="en-US" noProof="1" sz="1500">
              <a:latin charset="0" pitchFamily="34" typeface="Arial"/>
              <a:ea charset="-122" panose="020b0503020204020204" pitchFamily="34" typeface="微软雅黑"/>
              <a:sym charset="0" pitchFamily="34" typeface="Arial"/>
            </a:endParaRPr>
          </a:p>
        </p:txBody>
      </p:sp>
      <p:sp>
        <p:nvSpPr>
          <p:cNvPr id="36" name="TextBox 35"/>
          <p:cNvSpPr txBox="1">
            <a:spLocks noChangeArrowheads="1"/>
          </p:cNvSpPr>
          <p:nvPr/>
        </p:nvSpPr>
        <p:spPr bwMode="auto">
          <a:xfrm>
            <a:off x="6223000" y="3071095"/>
            <a:ext cx="2291398" cy="1066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r>
              <a:rPr altLang="en-US" lang="zh-CN" sz="1000">
                <a:solidFill>
                  <a:schemeClr val="bg1"/>
                </a:solidFill>
                <a:latin charset="0" pitchFamily="34" typeface="Arial"/>
                <a:ea charset="-122" panose="020b0503020204020204" pitchFamily="34" typeface="微软雅黑"/>
                <a:sym charset="0" pitchFamily="34" typeface="Arial"/>
              </a:rPr>
              <a:t>点击请替换文字内容</a:t>
            </a:r>
          </a:p>
          <a:p>
            <a:pPr algn="just" eaLnBrk="1" hangingPunct="1"/>
            <a:r>
              <a:rPr altLang="en-US" lang="zh-CN" sz="1000">
                <a:solidFill>
                  <a:schemeClr val="bg1"/>
                </a:solidFill>
                <a:latin charset="0" pitchFamily="34" typeface="Arial"/>
                <a:ea charset="-122" panose="020b0503020204020204" pitchFamily="34" typeface="微软雅黑"/>
                <a:sym charset="0" pitchFamily="34" typeface="Arial"/>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13" name="平行四边形 12"/>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4" name="平行四边形 13"/>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5" name="平行四边形 14"/>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6" name="平行四边形 15"/>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19" name="Group 7"/>
          <p:cNvGrpSpPr/>
          <p:nvPr/>
        </p:nvGrpSpPr>
        <p:grpSpPr>
          <a:xfrm>
            <a:off x="180202" y="181952"/>
            <a:ext cx="216018" cy="113981"/>
            <a:chExt cx="1041399" cy="549275"/>
          </a:xfrm>
          <a:solidFill>
            <a:srgbClr val="133E73"/>
          </a:solidFill>
        </p:grpSpPr>
        <p:sp>
          <p:nvSpPr>
            <p:cNvPr id="20"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21"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22"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23" name="6112">
            <a:hlinkClick action="ppaction://media"/>
          </p:cNvPr>
          <p:cNvPicPr>
            <a:picLocks noChangeAspect="1"/>
          </p:cNvPicPr>
          <p:nvPr>
            <a:audioFile r:link="rId6"/>
            <p:extLst>
              <p:ext uri="{DAA4B4D4-6D71-4841-9C94-3DE7FCFB9230}">
                <p14:media r:embed="rId7"/>
              </p:ext>
            </p:extLst>
          </p:nvPr>
        </p:nvPicPr>
        <p:blipFill>
          <a:blip r:embed="rId5"/>
          <a:stretch>
            <a:fillRect/>
          </a:stretch>
        </p:blipFill>
        <p:spPr>
          <a:xfrm>
            <a:off x="2268377" y="-1568065"/>
            <a:ext cx="1008084" cy="1008084"/>
          </a:xfrm>
          <a:prstGeom prst="rect">
            <a:avLst/>
          </a:prstGeom>
        </p:spPr>
      </p:pic>
    </p:spTree>
  </p:cSld>
  <p:clrMapOvr>
    <a:masterClrMapping/>
  </p:clrMapOvr>
  <mc:AlternateContent>
    <mc:Choice Requires="p14">
      <p:transition p14:dur="1400" spd="slow">
        <p14:rippl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19"/>
                                        </p:tgtEl>
                                        <p:attrNameLst>
                                          <p:attrName>style.visibility</p:attrName>
                                        </p:attrNameLst>
                                      </p:cBhvr>
                                      <p:to>
                                        <p:strVal val="visible"/>
                                      </p:to>
                                    </p:set>
                                    <p:anim calcmode="lin" valueType="num">
                                      <p:cBhvr additive="base">
                                        <p:cTn dur="500" fill="hold" id="7"/>
                                        <p:tgtEl>
                                          <p:spTgt spid="19"/>
                                        </p:tgtEl>
                                        <p:attrNameLst>
                                          <p:attrName>ppt_x</p:attrName>
                                        </p:attrNameLst>
                                      </p:cBhvr>
                                      <p:tavLst>
                                        <p:tav tm="0">
                                          <p:val>
                                            <p:strVal val="0-#ppt_w/2"/>
                                          </p:val>
                                        </p:tav>
                                        <p:tav tm="100000">
                                          <p:val>
                                            <p:strVal val="#ppt_x"/>
                                          </p:val>
                                        </p:tav>
                                      </p:tavLst>
                                    </p:anim>
                                    <p:anim calcmode="lin" valueType="num">
                                      <p:cBhvr additive="base">
                                        <p:cTn dur="500" fill="hold" id="8"/>
                                        <p:tgtEl>
                                          <p:spTgt spid="19"/>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18"/>
                                        </p:tgtEl>
                                        <p:attrNameLst>
                                          <p:attrName>style.visibility</p:attrName>
                                        </p:attrNameLst>
                                      </p:cBhvr>
                                      <p:to>
                                        <p:strVal val="visible"/>
                                      </p:to>
                                    </p:set>
                                    <p:anim calcmode="lin" valueType="num">
                                      <p:cBhvr>
                                        <p:cTn dur="500" fill="hold" id="12"/>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18"/>
                                        </p:tgtEl>
                                        <p:attrNameLst>
                                          <p:attrName>ppt_y</p:attrName>
                                        </p:attrNameLst>
                                      </p:cBhvr>
                                      <p:tavLst>
                                        <p:tav tm="0">
                                          <p:val>
                                            <p:strVal val="#ppt_y"/>
                                          </p:val>
                                        </p:tav>
                                        <p:tav tm="100000">
                                          <p:val>
                                            <p:strVal val="#ppt_y"/>
                                          </p:val>
                                        </p:tav>
                                      </p:tavLst>
                                    </p:anim>
                                    <p:anim calcmode="lin" valueType="num">
                                      <p:cBhvr>
                                        <p:cTn dur="500" fill="hold" id="14"/>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18"/>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18"/>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15"/>
                                        </p:tgtEl>
                                        <p:attrNameLst>
                                          <p:attrName>fillcolor</p:attrName>
                                        </p:attrNameLst>
                                      </p:cBhvr>
                                      <p:to>
                                        <a:srgbClr val="00AEEF"/>
                                      </p:to>
                                    </p:animClr>
                                    <p:set>
                                      <p:cBhvr>
                                        <p:cTn dur="300" fill="hold" id="20"/>
                                        <p:tgtEl>
                                          <p:spTgt spid="15"/>
                                        </p:tgtEl>
                                        <p:attrNameLst>
                                          <p:attrName>fill.type</p:attrName>
                                        </p:attrNameLst>
                                      </p:cBhvr>
                                      <p:to>
                                        <p:strVal val="solid"/>
                                      </p:to>
                                    </p:set>
                                    <p:set>
                                      <p:cBhvr>
                                        <p:cTn dur="300" fill="hold" id="21"/>
                                        <p:tgtEl>
                                          <p:spTgt spid="15"/>
                                        </p:tgtEl>
                                        <p:attrNameLst>
                                          <p:attrName>fill.on</p:attrName>
                                        </p:attrNameLst>
                                      </p:cBhvr>
                                      <p:to>
                                        <p:strVal val="true"/>
                                      </p:to>
                                    </p:set>
                                  </p:childTnLst>
                                </p:cTn>
                              </p:par>
                              <p:par>
                                <p:cTn fill="hold" grpId="0" id="22" nodeType="withEffect" presetClass="entr" presetID="2" presetSubtype="8">
                                  <p:stCondLst>
                                    <p:cond delay="500"/>
                                  </p:stCondLst>
                                  <p:childTnLst>
                                    <p:set>
                                      <p:cBhvr>
                                        <p:cTn dur="1" fill="hold" id="23">
                                          <p:stCondLst>
                                            <p:cond delay="0"/>
                                          </p:stCondLst>
                                        </p:cTn>
                                        <p:tgtEl>
                                          <p:spTgt spid="26"/>
                                        </p:tgtEl>
                                        <p:attrNameLst>
                                          <p:attrName>style.visibility</p:attrName>
                                        </p:attrNameLst>
                                      </p:cBhvr>
                                      <p:to>
                                        <p:strVal val="visible"/>
                                      </p:to>
                                    </p:set>
                                    <p:anim calcmode="lin" valueType="num">
                                      <p:cBhvr>
                                        <p:cTn dur="500" fill="hold" id="24"/>
                                        <p:tgtEl>
                                          <p:spTgt spid="26"/>
                                        </p:tgtEl>
                                        <p:attrNameLst>
                                          <p:attrName>ppt_x</p:attrName>
                                        </p:attrNameLst>
                                      </p:cBhvr>
                                      <p:tavLst>
                                        <p:tav tm="0">
                                          <p:val>
                                            <p:strVal val="0-#ppt_w/2"/>
                                          </p:val>
                                        </p:tav>
                                        <p:tav tm="100000">
                                          <p:val>
                                            <p:strVal val="#ppt_x"/>
                                          </p:val>
                                        </p:tav>
                                      </p:tavLst>
                                    </p:anim>
                                    <p:anim calcmode="lin" valueType="num">
                                      <p:cBhvr>
                                        <p:cTn dur="500" fill="hold" id="25"/>
                                        <p:tgtEl>
                                          <p:spTgt spid="26"/>
                                        </p:tgtEl>
                                        <p:attrNameLst>
                                          <p:attrName>ppt_y</p:attrName>
                                        </p:attrNameLst>
                                      </p:cBhvr>
                                      <p:tavLst>
                                        <p:tav tm="0">
                                          <p:val>
                                            <p:strVal val="#ppt_y"/>
                                          </p:val>
                                        </p:tav>
                                        <p:tav tm="100000">
                                          <p:val>
                                            <p:strVal val="#ppt_y"/>
                                          </p:val>
                                        </p:tav>
                                      </p:tavLst>
                                    </p:anim>
                                  </p:childTnLst>
                                </p:cTn>
                              </p:par>
                              <p:par>
                                <p:cTn fill="hold" grpId="0" id="26" nodeType="withEffect" presetClass="entr" presetID="2" presetSubtype="8">
                                  <p:stCondLst>
                                    <p:cond delay="500"/>
                                  </p:stCondLst>
                                  <p:childTnLst>
                                    <p:set>
                                      <p:cBhvr>
                                        <p:cTn dur="1" fill="hold" id="27">
                                          <p:stCondLst>
                                            <p:cond delay="0"/>
                                          </p:stCondLst>
                                        </p:cTn>
                                        <p:tgtEl>
                                          <p:spTgt spid="27"/>
                                        </p:tgtEl>
                                        <p:attrNameLst>
                                          <p:attrName>style.visibility</p:attrName>
                                        </p:attrNameLst>
                                      </p:cBhvr>
                                      <p:to>
                                        <p:strVal val="visible"/>
                                      </p:to>
                                    </p:set>
                                    <p:anim calcmode="lin" valueType="num">
                                      <p:cBhvr>
                                        <p:cTn dur="500" fill="hold" id="28"/>
                                        <p:tgtEl>
                                          <p:spTgt spid="27"/>
                                        </p:tgtEl>
                                        <p:attrNameLst>
                                          <p:attrName>ppt_x</p:attrName>
                                        </p:attrNameLst>
                                      </p:cBhvr>
                                      <p:tavLst>
                                        <p:tav tm="0">
                                          <p:val>
                                            <p:strVal val="0-#ppt_w/2"/>
                                          </p:val>
                                        </p:tav>
                                        <p:tav tm="100000">
                                          <p:val>
                                            <p:strVal val="#ppt_x"/>
                                          </p:val>
                                        </p:tav>
                                      </p:tavLst>
                                    </p:anim>
                                    <p:anim calcmode="lin" valueType="num">
                                      <p:cBhvr>
                                        <p:cTn dur="500" fill="hold" id="29"/>
                                        <p:tgtEl>
                                          <p:spTgt spid="27"/>
                                        </p:tgtEl>
                                        <p:attrNameLst>
                                          <p:attrName>ppt_y</p:attrName>
                                        </p:attrNameLst>
                                      </p:cBhvr>
                                      <p:tavLst>
                                        <p:tav tm="0">
                                          <p:val>
                                            <p:strVal val="#ppt_y"/>
                                          </p:val>
                                        </p:tav>
                                        <p:tav tm="100000">
                                          <p:val>
                                            <p:strVal val="#ppt_y"/>
                                          </p:val>
                                        </p:tav>
                                      </p:tavLst>
                                    </p:anim>
                                  </p:childTnLst>
                                </p:cTn>
                              </p:par>
                              <p:par>
                                <p:cTn fill="hold" id="30" nodeType="withEffect" presetClass="entr" presetID="2" presetSubtype="4">
                                  <p:stCondLst>
                                    <p:cond delay="1000"/>
                                  </p:stCondLst>
                                  <p:childTnLst>
                                    <p:set>
                                      <p:cBhvr>
                                        <p:cTn dur="1" fill="hold" id="31">
                                          <p:stCondLst>
                                            <p:cond delay="0"/>
                                          </p:stCondLst>
                                        </p:cTn>
                                        <p:tgtEl>
                                          <p:spTgt spid="28"/>
                                        </p:tgtEl>
                                        <p:attrNameLst>
                                          <p:attrName>style.visibility</p:attrName>
                                        </p:attrNameLst>
                                      </p:cBhvr>
                                      <p:to>
                                        <p:strVal val="visible"/>
                                      </p:to>
                                    </p:set>
                                    <p:anim calcmode="lin" valueType="num">
                                      <p:cBhvr>
                                        <p:cTn dur="500" fill="hold" id="32"/>
                                        <p:tgtEl>
                                          <p:spTgt spid="28"/>
                                        </p:tgtEl>
                                        <p:attrNameLst>
                                          <p:attrName>ppt_x</p:attrName>
                                        </p:attrNameLst>
                                      </p:cBhvr>
                                      <p:tavLst>
                                        <p:tav tm="0">
                                          <p:val>
                                            <p:strVal val="#ppt_x"/>
                                          </p:val>
                                        </p:tav>
                                        <p:tav tm="100000">
                                          <p:val>
                                            <p:strVal val="#ppt_x"/>
                                          </p:val>
                                        </p:tav>
                                      </p:tavLst>
                                    </p:anim>
                                    <p:anim calcmode="lin" valueType="num">
                                      <p:cBhvr>
                                        <p:cTn dur="500" fill="hold" id="33"/>
                                        <p:tgtEl>
                                          <p:spTgt spid="28"/>
                                        </p:tgtEl>
                                        <p:attrNameLst>
                                          <p:attrName>ppt_y</p:attrName>
                                        </p:attrNameLst>
                                      </p:cBhvr>
                                      <p:tavLst>
                                        <p:tav tm="0">
                                          <p:val>
                                            <p:strVal val="1+#ppt_h/2"/>
                                          </p:val>
                                        </p:tav>
                                        <p:tav tm="100000">
                                          <p:val>
                                            <p:strVal val="#ppt_y"/>
                                          </p:val>
                                        </p:tav>
                                      </p:tavLst>
                                    </p:anim>
                                  </p:childTnLst>
                                </p:cTn>
                              </p:par>
                            </p:childTnLst>
                          </p:cTn>
                        </p:par>
                        <p:par>
                          <p:cTn fill="hold" id="34" nodeType="afterGroup">
                            <p:stCondLst>
                              <p:cond delay="2500"/>
                            </p:stCondLst>
                            <p:childTnLst>
                              <p:par>
                                <p:cTn fill="hold" id="35" nodeType="afterEffect" presetClass="mediacall" presetID="1" presetSubtype="0">
                                  <p:stCondLst>
                                    <p:cond delay="0"/>
                                  </p:stCondLst>
                                  <p:childTnLst>
                                    <p:cmd cmd="playFrom(0.0)" type="call">
                                      <p:cBhvr>
                                        <p:cTn dur="1" fill="hold" id="36"/>
                                        <p:tgtEl>
                                          <p:spTgt spid="23"/>
                                        </p:tgtEl>
                                      </p:cBhvr>
                                    </p:cmd>
                                  </p:childTnLst>
                                </p:cTn>
                              </p:par>
                            </p:childTnLst>
                          </p:cTn>
                        </p:par>
                        <p:par>
                          <p:cTn fill="hold" id="38" nodeType="afterGroup">
                            <p:stCondLst>
                              <p:cond delay="2501"/>
                            </p:stCondLst>
                            <p:childTnLst>
                              <p:par>
                                <p:cTn fill="hold" grpId="0" id="39" nodeType="afterEffect" presetClass="entr" presetID="2" presetSubtype="4">
                                  <p:stCondLst>
                                    <p:cond delay="0"/>
                                  </p:stCondLst>
                                  <p:childTnLst>
                                    <p:set>
                                      <p:cBhvr>
                                        <p:cTn dur="1" fill="hold" id="40">
                                          <p:stCondLst>
                                            <p:cond delay="0"/>
                                          </p:stCondLst>
                                        </p:cTn>
                                        <p:tgtEl>
                                          <p:spTgt spid="29"/>
                                        </p:tgtEl>
                                        <p:attrNameLst>
                                          <p:attrName>style.visibility</p:attrName>
                                        </p:attrNameLst>
                                      </p:cBhvr>
                                      <p:to>
                                        <p:strVal val="visible"/>
                                      </p:to>
                                    </p:set>
                                    <p:anim calcmode="lin" valueType="num">
                                      <p:cBhvr>
                                        <p:cTn dur="1000" fill="hold" id="41"/>
                                        <p:tgtEl>
                                          <p:spTgt spid="29"/>
                                        </p:tgtEl>
                                        <p:attrNameLst>
                                          <p:attrName>ppt_x</p:attrName>
                                        </p:attrNameLst>
                                      </p:cBhvr>
                                      <p:tavLst>
                                        <p:tav tm="0">
                                          <p:val>
                                            <p:strVal val="#ppt_x"/>
                                          </p:val>
                                        </p:tav>
                                        <p:tav tm="100000">
                                          <p:val>
                                            <p:strVal val="#ppt_x"/>
                                          </p:val>
                                        </p:tav>
                                      </p:tavLst>
                                    </p:anim>
                                    <p:anim calcmode="lin" valueType="num">
                                      <p:cBhvr>
                                        <p:cTn dur="1000" fill="hold" id="42"/>
                                        <p:tgtEl>
                                          <p:spTgt spid="29"/>
                                        </p:tgtEl>
                                        <p:attrNameLst>
                                          <p:attrName>ppt_y</p:attrName>
                                        </p:attrNameLst>
                                      </p:cBhvr>
                                      <p:tavLst>
                                        <p:tav tm="0">
                                          <p:val>
                                            <p:strVal val="1+#ppt_h/2"/>
                                          </p:val>
                                        </p:tav>
                                        <p:tav tm="100000">
                                          <p:val>
                                            <p:strVal val="#ppt_y"/>
                                          </p:val>
                                        </p:tav>
                                      </p:tavLst>
                                    </p:anim>
                                  </p:childTnLst>
                                </p:cTn>
                              </p:par>
                              <p:par>
                                <p:cTn fill="hold" grpId="0" id="43" nodeType="withEffect" presetClass="entr" presetID="2" presetSubtype="4">
                                  <p:stCondLst>
                                    <p:cond delay="500"/>
                                  </p:stCondLst>
                                  <p:childTnLst>
                                    <p:set>
                                      <p:cBhvr>
                                        <p:cTn dur="1" fill="hold" id="44">
                                          <p:stCondLst>
                                            <p:cond delay="0"/>
                                          </p:stCondLst>
                                        </p:cTn>
                                        <p:tgtEl>
                                          <p:spTgt spid="30"/>
                                        </p:tgtEl>
                                        <p:attrNameLst>
                                          <p:attrName>style.visibility</p:attrName>
                                        </p:attrNameLst>
                                      </p:cBhvr>
                                      <p:to>
                                        <p:strVal val="visible"/>
                                      </p:to>
                                    </p:set>
                                    <p:anim calcmode="lin" valueType="num">
                                      <p:cBhvr>
                                        <p:cTn dur="500" fill="hold" id="45"/>
                                        <p:tgtEl>
                                          <p:spTgt spid="30"/>
                                        </p:tgtEl>
                                        <p:attrNameLst>
                                          <p:attrName>ppt_x</p:attrName>
                                        </p:attrNameLst>
                                      </p:cBhvr>
                                      <p:tavLst>
                                        <p:tav tm="0">
                                          <p:val>
                                            <p:strVal val="#ppt_x"/>
                                          </p:val>
                                        </p:tav>
                                        <p:tav tm="100000">
                                          <p:val>
                                            <p:strVal val="#ppt_x"/>
                                          </p:val>
                                        </p:tav>
                                      </p:tavLst>
                                    </p:anim>
                                    <p:anim calcmode="lin" valueType="num">
                                      <p:cBhvr>
                                        <p:cTn dur="500" fill="hold" id="46"/>
                                        <p:tgtEl>
                                          <p:spTgt spid="30"/>
                                        </p:tgtEl>
                                        <p:attrNameLst>
                                          <p:attrName>ppt_y</p:attrName>
                                        </p:attrNameLst>
                                      </p:cBhvr>
                                      <p:tavLst>
                                        <p:tav tm="0">
                                          <p:val>
                                            <p:strVal val="1+#ppt_h/2"/>
                                          </p:val>
                                        </p:tav>
                                        <p:tav tm="100000">
                                          <p:val>
                                            <p:strVal val="#ppt_y"/>
                                          </p:val>
                                        </p:tav>
                                      </p:tavLst>
                                    </p:anim>
                                  </p:childTnLst>
                                </p:cTn>
                              </p:par>
                              <p:par>
                                <p:cTn fill="hold" grpId="0" id="47" nodeType="withEffect" presetClass="entr" presetID="2" presetSubtype="8">
                                  <p:stCondLst>
                                    <p:cond delay="500"/>
                                  </p:stCondLst>
                                  <p:childTnLst>
                                    <p:set>
                                      <p:cBhvr>
                                        <p:cTn dur="1" fill="hold" id="48">
                                          <p:stCondLst>
                                            <p:cond delay="0"/>
                                          </p:stCondLst>
                                        </p:cTn>
                                        <p:tgtEl>
                                          <p:spTgt spid="31"/>
                                        </p:tgtEl>
                                        <p:attrNameLst>
                                          <p:attrName>style.visibility</p:attrName>
                                        </p:attrNameLst>
                                      </p:cBhvr>
                                      <p:to>
                                        <p:strVal val="visible"/>
                                      </p:to>
                                    </p:set>
                                    <p:anim calcmode="lin" valueType="num">
                                      <p:cBhvr>
                                        <p:cTn dur="500" fill="hold" id="49"/>
                                        <p:tgtEl>
                                          <p:spTgt spid="31"/>
                                        </p:tgtEl>
                                        <p:attrNameLst>
                                          <p:attrName>ppt_x</p:attrName>
                                        </p:attrNameLst>
                                      </p:cBhvr>
                                      <p:tavLst>
                                        <p:tav tm="0">
                                          <p:val>
                                            <p:strVal val="0-#ppt_w/2"/>
                                          </p:val>
                                        </p:tav>
                                        <p:tav tm="100000">
                                          <p:val>
                                            <p:strVal val="#ppt_x"/>
                                          </p:val>
                                        </p:tav>
                                      </p:tavLst>
                                    </p:anim>
                                    <p:anim calcmode="lin" valueType="num">
                                      <p:cBhvr>
                                        <p:cTn dur="500" fill="hold" id="50"/>
                                        <p:tgtEl>
                                          <p:spTgt spid="31"/>
                                        </p:tgtEl>
                                        <p:attrNameLst>
                                          <p:attrName>ppt_y</p:attrName>
                                        </p:attrNameLst>
                                      </p:cBhvr>
                                      <p:tavLst>
                                        <p:tav tm="0">
                                          <p:val>
                                            <p:strVal val="#ppt_y"/>
                                          </p:val>
                                        </p:tav>
                                        <p:tav tm="100000">
                                          <p:val>
                                            <p:strVal val="#ppt_y"/>
                                          </p:val>
                                        </p:tav>
                                      </p:tavLst>
                                    </p:anim>
                                  </p:childTnLst>
                                </p:cTn>
                              </p:par>
                              <p:par>
                                <p:cTn fill="hold" grpId="0" id="51" nodeType="withEffect" presetClass="entr" presetID="2" presetSubtype="8">
                                  <p:stCondLst>
                                    <p:cond delay="500"/>
                                  </p:stCondLst>
                                  <p:childTnLst>
                                    <p:set>
                                      <p:cBhvr>
                                        <p:cTn dur="1" fill="hold" id="52">
                                          <p:stCondLst>
                                            <p:cond delay="0"/>
                                          </p:stCondLst>
                                        </p:cTn>
                                        <p:tgtEl>
                                          <p:spTgt spid="32"/>
                                        </p:tgtEl>
                                        <p:attrNameLst>
                                          <p:attrName>style.visibility</p:attrName>
                                        </p:attrNameLst>
                                      </p:cBhvr>
                                      <p:to>
                                        <p:strVal val="visible"/>
                                      </p:to>
                                    </p:set>
                                    <p:anim calcmode="lin" valueType="num">
                                      <p:cBhvr>
                                        <p:cTn dur="500" fill="hold" id="53"/>
                                        <p:tgtEl>
                                          <p:spTgt spid="32"/>
                                        </p:tgtEl>
                                        <p:attrNameLst>
                                          <p:attrName>ppt_x</p:attrName>
                                        </p:attrNameLst>
                                      </p:cBhvr>
                                      <p:tavLst>
                                        <p:tav tm="0">
                                          <p:val>
                                            <p:strVal val="0-#ppt_w/2"/>
                                          </p:val>
                                        </p:tav>
                                        <p:tav tm="100000">
                                          <p:val>
                                            <p:strVal val="#ppt_x"/>
                                          </p:val>
                                        </p:tav>
                                      </p:tavLst>
                                    </p:anim>
                                    <p:anim calcmode="lin" valueType="num">
                                      <p:cBhvr>
                                        <p:cTn dur="500" fill="hold" id="54"/>
                                        <p:tgtEl>
                                          <p:spTgt spid="32"/>
                                        </p:tgtEl>
                                        <p:attrNameLst>
                                          <p:attrName>ppt_y</p:attrName>
                                        </p:attrNameLst>
                                      </p:cBhvr>
                                      <p:tavLst>
                                        <p:tav tm="0">
                                          <p:val>
                                            <p:strVal val="#ppt_y"/>
                                          </p:val>
                                        </p:tav>
                                        <p:tav tm="100000">
                                          <p:val>
                                            <p:strVal val="#ppt_y"/>
                                          </p:val>
                                        </p:tav>
                                      </p:tavLst>
                                    </p:anim>
                                  </p:childTnLst>
                                </p:cTn>
                              </p:par>
                              <p:par>
                                <p:cTn fill="hold" grpId="0" id="55" nodeType="withEffect" presetClass="entr" presetID="2" presetSubtype="4">
                                  <p:stCondLst>
                                    <p:cond delay="500"/>
                                  </p:stCondLst>
                                  <p:childTnLst>
                                    <p:set>
                                      <p:cBhvr>
                                        <p:cTn dur="1" fill="hold" id="56">
                                          <p:stCondLst>
                                            <p:cond delay="0"/>
                                          </p:stCondLst>
                                        </p:cTn>
                                        <p:tgtEl>
                                          <p:spTgt spid="33"/>
                                        </p:tgtEl>
                                        <p:attrNameLst>
                                          <p:attrName>style.visibility</p:attrName>
                                        </p:attrNameLst>
                                      </p:cBhvr>
                                      <p:to>
                                        <p:strVal val="visible"/>
                                      </p:to>
                                    </p:set>
                                    <p:anim calcmode="lin" valueType="num">
                                      <p:cBhvr>
                                        <p:cTn dur="500" fill="hold" id="57"/>
                                        <p:tgtEl>
                                          <p:spTgt spid="33"/>
                                        </p:tgtEl>
                                        <p:attrNameLst>
                                          <p:attrName>ppt_x</p:attrName>
                                        </p:attrNameLst>
                                      </p:cBhvr>
                                      <p:tavLst>
                                        <p:tav tm="0">
                                          <p:val>
                                            <p:strVal val="#ppt_x"/>
                                          </p:val>
                                        </p:tav>
                                        <p:tav tm="100000">
                                          <p:val>
                                            <p:strVal val="#ppt_x"/>
                                          </p:val>
                                        </p:tav>
                                      </p:tavLst>
                                    </p:anim>
                                    <p:anim calcmode="lin" valueType="num">
                                      <p:cBhvr>
                                        <p:cTn dur="500" fill="hold" id="58"/>
                                        <p:tgtEl>
                                          <p:spTgt spid="33"/>
                                        </p:tgtEl>
                                        <p:attrNameLst>
                                          <p:attrName>ppt_y</p:attrName>
                                        </p:attrNameLst>
                                      </p:cBhvr>
                                      <p:tavLst>
                                        <p:tav tm="0">
                                          <p:val>
                                            <p:strVal val="1+#ppt_h/2"/>
                                          </p:val>
                                        </p:tav>
                                        <p:tav tm="100000">
                                          <p:val>
                                            <p:strVal val="#ppt_y"/>
                                          </p:val>
                                        </p:tav>
                                      </p:tavLst>
                                    </p:anim>
                                  </p:childTnLst>
                                </p:cTn>
                              </p:par>
                              <p:par>
                                <p:cTn fill="hold" grpId="0" id="59" nodeType="withEffect" presetClass="entr" presetID="2" presetSubtype="8">
                                  <p:stCondLst>
                                    <p:cond delay="500"/>
                                  </p:stCondLst>
                                  <p:childTnLst>
                                    <p:set>
                                      <p:cBhvr>
                                        <p:cTn dur="1" fill="hold" id="60">
                                          <p:stCondLst>
                                            <p:cond delay="0"/>
                                          </p:stCondLst>
                                        </p:cTn>
                                        <p:tgtEl>
                                          <p:spTgt spid="34"/>
                                        </p:tgtEl>
                                        <p:attrNameLst>
                                          <p:attrName>style.visibility</p:attrName>
                                        </p:attrNameLst>
                                      </p:cBhvr>
                                      <p:to>
                                        <p:strVal val="visible"/>
                                      </p:to>
                                    </p:set>
                                    <p:anim calcmode="lin" valueType="num">
                                      <p:cBhvr>
                                        <p:cTn dur="500" fill="hold" id="61"/>
                                        <p:tgtEl>
                                          <p:spTgt spid="34"/>
                                        </p:tgtEl>
                                        <p:attrNameLst>
                                          <p:attrName>ppt_x</p:attrName>
                                        </p:attrNameLst>
                                      </p:cBhvr>
                                      <p:tavLst>
                                        <p:tav tm="0">
                                          <p:val>
                                            <p:strVal val="0-#ppt_w/2"/>
                                          </p:val>
                                        </p:tav>
                                        <p:tav tm="100000">
                                          <p:val>
                                            <p:strVal val="#ppt_x"/>
                                          </p:val>
                                        </p:tav>
                                      </p:tavLst>
                                    </p:anim>
                                    <p:anim calcmode="lin" valueType="num">
                                      <p:cBhvr>
                                        <p:cTn dur="500" fill="hold" id="62"/>
                                        <p:tgtEl>
                                          <p:spTgt spid="34"/>
                                        </p:tgtEl>
                                        <p:attrNameLst>
                                          <p:attrName>ppt_y</p:attrName>
                                        </p:attrNameLst>
                                      </p:cBhvr>
                                      <p:tavLst>
                                        <p:tav tm="0">
                                          <p:val>
                                            <p:strVal val="#ppt_y"/>
                                          </p:val>
                                        </p:tav>
                                        <p:tav tm="100000">
                                          <p:val>
                                            <p:strVal val="#ppt_y"/>
                                          </p:val>
                                        </p:tav>
                                      </p:tavLst>
                                    </p:anim>
                                  </p:childTnLst>
                                </p:cTn>
                              </p:par>
                              <p:par>
                                <p:cTn fill="hold" grpId="0" id="63" nodeType="withEffect" presetClass="entr" presetID="2" presetSubtype="8">
                                  <p:stCondLst>
                                    <p:cond delay="500"/>
                                  </p:stCondLst>
                                  <p:childTnLst>
                                    <p:set>
                                      <p:cBhvr>
                                        <p:cTn dur="1" fill="hold" id="64">
                                          <p:stCondLst>
                                            <p:cond delay="0"/>
                                          </p:stCondLst>
                                        </p:cTn>
                                        <p:tgtEl>
                                          <p:spTgt spid="35"/>
                                        </p:tgtEl>
                                        <p:attrNameLst>
                                          <p:attrName>style.visibility</p:attrName>
                                        </p:attrNameLst>
                                      </p:cBhvr>
                                      <p:to>
                                        <p:strVal val="visible"/>
                                      </p:to>
                                    </p:set>
                                    <p:anim calcmode="lin" valueType="num">
                                      <p:cBhvr>
                                        <p:cTn dur="500" fill="hold" id="65"/>
                                        <p:tgtEl>
                                          <p:spTgt spid="35"/>
                                        </p:tgtEl>
                                        <p:attrNameLst>
                                          <p:attrName>ppt_x</p:attrName>
                                        </p:attrNameLst>
                                      </p:cBhvr>
                                      <p:tavLst>
                                        <p:tav tm="0">
                                          <p:val>
                                            <p:strVal val="0-#ppt_w/2"/>
                                          </p:val>
                                        </p:tav>
                                        <p:tav tm="100000">
                                          <p:val>
                                            <p:strVal val="#ppt_x"/>
                                          </p:val>
                                        </p:tav>
                                      </p:tavLst>
                                    </p:anim>
                                    <p:anim calcmode="lin" valueType="num">
                                      <p:cBhvr>
                                        <p:cTn dur="500" fill="hold" id="66"/>
                                        <p:tgtEl>
                                          <p:spTgt spid="35"/>
                                        </p:tgtEl>
                                        <p:attrNameLst>
                                          <p:attrName>ppt_y</p:attrName>
                                        </p:attrNameLst>
                                      </p:cBhvr>
                                      <p:tavLst>
                                        <p:tav tm="0">
                                          <p:val>
                                            <p:strVal val="#ppt_y"/>
                                          </p:val>
                                        </p:tav>
                                        <p:tav tm="100000">
                                          <p:val>
                                            <p:strVal val="#ppt_y"/>
                                          </p:val>
                                        </p:tav>
                                      </p:tavLst>
                                    </p:anim>
                                  </p:childTnLst>
                                </p:cTn>
                              </p:par>
                              <p:par>
                                <p:cTn fill="hold" grpId="0" id="67" nodeType="withEffect" presetClass="entr" presetID="2" presetSubtype="4">
                                  <p:stCondLst>
                                    <p:cond delay="500"/>
                                  </p:stCondLst>
                                  <p:childTnLst>
                                    <p:set>
                                      <p:cBhvr>
                                        <p:cTn dur="1" fill="hold" id="68">
                                          <p:stCondLst>
                                            <p:cond delay="0"/>
                                          </p:stCondLst>
                                        </p:cTn>
                                        <p:tgtEl>
                                          <p:spTgt spid="36"/>
                                        </p:tgtEl>
                                        <p:attrNameLst>
                                          <p:attrName>style.visibility</p:attrName>
                                        </p:attrNameLst>
                                      </p:cBhvr>
                                      <p:to>
                                        <p:strVal val="visible"/>
                                      </p:to>
                                    </p:set>
                                    <p:anim calcmode="lin" valueType="num">
                                      <p:cBhvr>
                                        <p:cTn dur="500" fill="hold" id="69"/>
                                        <p:tgtEl>
                                          <p:spTgt spid="36"/>
                                        </p:tgtEl>
                                        <p:attrNameLst>
                                          <p:attrName>ppt_x</p:attrName>
                                        </p:attrNameLst>
                                      </p:cBhvr>
                                      <p:tavLst>
                                        <p:tav tm="0">
                                          <p:val>
                                            <p:strVal val="#ppt_x"/>
                                          </p:val>
                                        </p:tav>
                                        <p:tav tm="100000">
                                          <p:val>
                                            <p:strVal val="#ppt_x"/>
                                          </p:val>
                                        </p:tav>
                                      </p:tavLst>
                                    </p:anim>
                                    <p:anim calcmode="lin" valueType="num">
                                      <p:cBhvr>
                                        <p:cTn dur="500" fill="hold" id="70"/>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37">
                  <p:stCondLst>
                    <p:cond delay="indefinite"/>
                  </p:stCondLst>
                  <p:endCondLst>
                    <p:cond delay="0" evt="onPrev">
                      <p:tgtEl>
                        <p:sldTgt/>
                      </p:tgtEl>
                    </p:cond>
                    <p:cond delay="0" evt="onStopAudio">
                      <p:tgtEl>
                        <p:sldTgt/>
                      </p:tgtEl>
                    </p:cond>
                  </p:endCondLst>
                </p:cTn>
                <p:tgtEl>
                  <p:spTgt spid="23"/>
                </p:tgtEl>
              </p:cMediaNode>
            </p:audio>
          </p:childTnLst>
        </p:cTn>
      </p:par>
    </p:tnLst>
    <p:bldLst>
      <p:bldP grpId="0" spid="26"/>
      <p:bldP grpId="0" spid="27"/>
      <p:bldP grpId="0" spid="29"/>
      <p:bldP grpId="0" spid="30"/>
      <p:bldP grpId="0" spid="31"/>
      <p:bldP grpId="0" spid="32"/>
      <p:bldP grpId="0" spid="33"/>
      <p:bldP grpId="0" spid="34"/>
      <p:bldP grpId="0" spid="35"/>
      <p:bldP grpId="0" spid="36"/>
      <p:bldP grpId="0" spid="15"/>
      <p:bldP grpId="0" spid="18"/>
    </p:bldLst>
  </p:timing>
  <p:extLst mod="1">
    <p:ext uri="{E180D4A7-C9FB-4DFB-919C-405C955672EB}">
      <p14:showEvtLst>
        <p14:playEvt objId="23" time="1315"/>
        <p14:stopEvt objId="23" time="2082"/>
      </p14:showEvtLst>
    </p:ext>
  </p:extLst>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2" name="任意多边形 21"/>
          <p:cNvSpPr>
            <a:spLocks noChangeArrowheads="1"/>
          </p:cNvSpPr>
          <p:nvPr/>
        </p:nvSpPr>
        <p:spPr bwMode="auto">
          <a:xfrm rot="5400000">
            <a:off x="7211293" y="1782294"/>
            <a:ext cx="920443" cy="2714784"/>
          </a:xfrm>
          <a:custGeom>
            <a:gdLst>
              <a:gd fmla="*/ 0 w 1253008" name="T0"/>
              <a:gd fmla="*/ 3248525 h 3678400" name="T1"/>
              <a:gd fmla="*/ 0 w 1253008" name="T2"/>
              <a:gd fmla="*/ 109307 h 3678400" name="T3"/>
              <a:gd fmla="*/ 109284 w 1253008" name="T4"/>
              <a:gd fmla="*/ 0 h 3678400" name="T5"/>
              <a:gd fmla="*/ 343238 w 1253008" name="T6"/>
              <a:gd fmla="*/ 0 h 3678400" name="T7"/>
              <a:gd fmla="*/ 452522 w 1253008" name="T8"/>
              <a:gd fmla="*/ 109307 h 3678400" name="T9"/>
              <a:gd fmla="*/ 452522 w 1253008" name="T10"/>
              <a:gd fmla="*/ 3184856 h 3678400" name="T11"/>
              <a:gd fmla="*/ 458616 w 1253008" name="T12"/>
              <a:gd fmla="*/ 3192530 h 3678400" name="T13"/>
              <a:gd fmla="*/ 663816 w 1253008" name="T14"/>
              <a:gd fmla="*/ 3213467 h 3678400" name="T15"/>
              <a:gd fmla="*/ 663816 w 1253008" name="T16"/>
              <a:gd fmla="*/ 3212422 h 3678400" name="T17"/>
              <a:gd fmla="*/ 1291076 w 1253008" name="T18"/>
              <a:gd fmla="*/ 3696272 h 3678400" name="T19"/>
              <a:gd fmla="*/ 969285 w 1253008" name="T20"/>
              <a:gd fmla="*/ 3875390 h 3678400" name="T21"/>
              <a:gd fmla="*/ 869017 w 1253008" name="T22"/>
              <a:gd fmla="*/ 3686968 h 3678400" name="T23"/>
              <a:gd fmla="*/ 663816 w 1253008" name="T24"/>
              <a:gd fmla="*/ 3666032 h 3678400" name="T25"/>
              <a:gd fmla="*/ 663816 w 1253008" name="T26"/>
              <a:gd fmla="*/ 3667077 h 3678400" name="T27"/>
              <a:gd fmla="*/ 9631 w 1253008" name="T28"/>
              <a:gd fmla="*/ 3308878 h 3678400" name="T29"/>
              <a:gd fmla="*/ 9854 w 1253008" name="T30"/>
              <a:gd fmla="*/ 3292949 h 3678400" name="T31"/>
              <a:gd fmla="*/ 8588 w 1253008" name="T32"/>
              <a:gd fmla="*/ 3291073 h 3678400" name="T33"/>
              <a:gd fmla="*/ 0 w 1253008" name="T34"/>
              <a:gd fmla="*/ 3248525 h 3678400"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 fmla="*/ 0 60000 65536" name="T51"/>
              <a:gd fmla="*/ 0 60000 65536" name="T52"/>
              <a:gd fmla="*/ 0 60000 65536" name="T53"/>
            </a:gd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b="b" l="0" r="r" t="0"/>
            <a:pathLst>
              <a:path h="3678400" w="1253008">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a:extLst/>
        </p:spPr>
        <p:txBody>
          <a:bodyPr anchor="ctr" bIns="33688" lIns="67376" rIns="67376" tIns="33688"/>
          <a:lstStyle/>
          <a:p>
            <a:endParaRPr altLang="en-US" lang="zh-CN">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gdLst>
                <a:gd fmla="*/ 724 w 1036" name="T0"/>
                <a:gd fmla="*/ 101 h 396" name="T1"/>
                <a:gd fmla="*/ 724 w 1036" name="T2"/>
                <a:gd fmla="*/ 101 h 396" name="T3"/>
                <a:gd fmla="*/ 312 w 1036" name="T4"/>
                <a:gd fmla="*/ 101 h 396" name="T5"/>
                <a:gd fmla="*/ 312 w 1036" name="T6"/>
                <a:gd fmla="*/ 101 h 396" name="T7"/>
                <a:gd fmla="*/ 312 w 1036" name="T8"/>
                <a:gd fmla="*/ 101 h 396" name="T9"/>
                <a:gd fmla="*/ 311 w 1036" name="T10"/>
                <a:gd fmla="*/ 101 h 396" name="T11"/>
                <a:gd fmla="*/ 311 w 1036" name="T12"/>
                <a:gd fmla="*/ 101 h 396" name="T13"/>
                <a:gd fmla="*/ 224 w 1036" name="T14"/>
                <a:gd fmla="*/ 92 h 396" name="T15"/>
                <a:gd fmla="*/ 181 w 1036" name="T16"/>
                <a:gd fmla="*/ 11 h 396" name="T17"/>
                <a:gd fmla="*/ 43 w 1036" name="T18"/>
                <a:gd fmla="*/ 88 h 396" name="T19"/>
                <a:gd fmla="*/ 310 w 1036" name="T20"/>
                <a:gd fmla="*/ 295 h 396" name="T21"/>
                <a:gd fmla="*/ 310 w 1036" name="T22"/>
                <a:gd fmla="*/ 295 h 396" name="T23"/>
                <a:gd fmla="*/ 312 w 1036" name="T24"/>
                <a:gd fmla="*/ 295 h 396" name="T25"/>
                <a:gd fmla="*/ 312 w 1036" name="T26"/>
                <a:gd fmla="*/ 295 h 396" name="T27"/>
                <a:gd fmla="*/ 312 w 1036" name="T28"/>
                <a:gd fmla="*/ 295 h 396" name="T29"/>
                <a:gd fmla="*/ 724 w 1036" name="T30"/>
                <a:gd fmla="*/ 295 h 396" name="T31"/>
                <a:gd fmla="*/ 724 w 1036" name="T32"/>
                <a:gd fmla="*/ 295 h 396" name="T33"/>
                <a:gd fmla="*/ 812 w 1036" name="T34"/>
                <a:gd fmla="*/ 305 h 396" name="T35"/>
                <a:gd fmla="*/ 855 w 1036" name="T36"/>
                <a:gd fmla="*/ 386 h 396" name="T37"/>
                <a:gd fmla="*/ 993 w 1036" name="T38"/>
                <a:gd fmla="*/ 309 h 396" name="T39"/>
                <a:gd fmla="*/ 724 w 1036" name="T40"/>
                <a:gd fmla="*/ 101 h 396" name="T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b="b" l="0" r="r" t="0"/>
              <a:pathLst>
                <a:path h="396" w="103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bIns="64282" lIns="128564" rIns="128564" tIns="64282"/>
            <a:lstStyle/>
            <a:p>
              <a:pPr eaLnBrk="1" hangingPunct="1">
                <a:lnSpc>
                  <a:spcPct val="130000"/>
                </a:lnSpc>
                <a:defRPr/>
              </a:pPr>
              <a:endParaRPr lang="en-US" noProof="1" sz="2400">
                <a:solidFill>
                  <a:schemeClr val="bg1">
                    <a:lumMod val="85000"/>
                  </a:schemeClr>
                </a:solidFill>
                <a:latin charset="0" pitchFamily="34" typeface="Arial"/>
                <a:ea charset="-122" panose="020b0503020204020204" pitchFamily="34" typeface="微软雅黑"/>
                <a:sym charset="0" pitchFamily="34" typeface="Arial"/>
              </a:endParaRPr>
            </a:p>
          </p:txBody>
        </p:sp>
        <p:sp>
          <p:nvSpPr>
            <p:cNvPr id="25" name="Freeform 19"/>
            <p:cNvSpPr/>
            <p:nvPr/>
          </p:nvSpPr>
          <p:spPr bwMode="auto">
            <a:xfrm rot="5400000">
              <a:off x="7427090" y="3575662"/>
              <a:ext cx="2109880" cy="489442"/>
            </a:xfrm>
            <a:custGeom>
              <a:gdLst>
                <a:gd fmla="*/ 918 w 954" name="T0"/>
                <a:gd fmla="*/ 14 h 222" name="T1"/>
                <a:gd fmla="*/ 221 w 954" name="T2"/>
                <a:gd fmla="*/ 14 h 222" name="T3"/>
                <a:gd fmla="*/ 179 w 954" name="T4"/>
                <a:gd fmla="*/ 33 h 222" name="T5"/>
                <a:gd fmla="*/ 175 w 954" name="T6"/>
                <a:gd fmla="*/ 37 h 222" name="T7"/>
                <a:gd fmla="*/ 0 w 954" name="T8"/>
                <a:gd fmla="*/ 222 h 222" name="T9"/>
                <a:gd fmla="*/ 36 w 954" name="T10"/>
                <a:gd fmla="*/ 208 h 222" name="T11"/>
                <a:gd fmla="*/ 733 w 954" name="T12"/>
                <a:gd fmla="*/ 208 h 222" name="T13"/>
                <a:gd fmla="*/ 775 w 954" name="T14"/>
                <a:gd fmla="*/ 189 h 222" name="T15"/>
                <a:gd fmla="*/ 779 w 954" name="T16"/>
                <a:gd fmla="*/ 185 h 222" name="T17"/>
                <a:gd fmla="*/ 954 w 954" name="T18"/>
                <a:gd fmla="*/ 0 h 222" name="T19"/>
                <a:gd fmla="*/ 918 w 954" name="T20"/>
                <a:gd fmla="*/ 14 h 2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1" w="954">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bIns="64282" lIns="128564" rIns="128564" tIns="64282"/>
            <a:lstStyle/>
            <a:p>
              <a:pPr eaLnBrk="1" hangingPunct="1">
                <a:lnSpc>
                  <a:spcPct val="130000"/>
                </a:lnSpc>
                <a:defRPr/>
              </a:pPr>
              <a:endParaRPr lang="en-US" noProof="1" sz="2400">
                <a:solidFill>
                  <a:schemeClr val="bg1">
                    <a:lumMod val="85000"/>
                  </a:schemeClr>
                </a:solidFill>
                <a:latin charset="0" pitchFamily="34" typeface="Arial"/>
                <a:ea charset="-122" panose="020b0503020204020204" pitchFamily="34" typeface="微软雅黑"/>
                <a:sym charset="0" pitchFamily="34" typeface="Arial"/>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gdLst>
                <a:gd fmla="*/ 725 w 1037" name="T0"/>
                <a:gd fmla="*/ 101 h 396" name="T1"/>
                <a:gd fmla="*/ 725 w 1037" name="T2"/>
                <a:gd fmla="*/ 101 h 396" name="T3"/>
                <a:gd fmla="*/ 312 w 1037" name="T4"/>
                <a:gd fmla="*/ 101 h 396" name="T5"/>
                <a:gd fmla="*/ 312 w 1037" name="T6"/>
                <a:gd fmla="*/ 101 h 396" name="T7"/>
                <a:gd fmla="*/ 312 w 1037" name="T8"/>
                <a:gd fmla="*/ 101 h 396" name="T9"/>
                <a:gd fmla="*/ 311 w 1037" name="T10"/>
                <a:gd fmla="*/ 101 h 396" name="T11"/>
                <a:gd fmla="*/ 311 w 1037" name="T12"/>
                <a:gd fmla="*/ 101 h 396" name="T13"/>
                <a:gd fmla="*/ 224 w 1037" name="T14"/>
                <a:gd fmla="*/ 92 h 396" name="T15"/>
                <a:gd fmla="*/ 181 w 1037" name="T16"/>
                <a:gd fmla="*/ 11 h 396" name="T17"/>
                <a:gd fmla="*/ 43 w 1037" name="T18"/>
                <a:gd fmla="*/ 88 h 396" name="T19"/>
                <a:gd fmla="*/ 310 w 1037" name="T20"/>
                <a:gd fmla="*/ 296 h 396" name="T21"/>
                <a:gd fmla="*/ 310 w 1037" name="T22"/>
                <a:gd fmla="*/ 296 h 396" name="T23"/>
                <a:gd fmla="*/ 312 w 1037" name="T24"/>
                <a:gd fmla="*/ 296 h 396" name="T25"/>
                <a:gd fmla="*/ 312 w 1037" name="T26"/>
                <a:gd fmla="*/ 296 h 396" name="T27"/>
                <a:gd fmla="*/ 312 w 1037" name="T28"/>
                <a:gd fmla="*/ 296 h 396" name="T29"/>
                <a:gd fmla="*/ 725 w 1037" name="T30"/>
                <a:gd fmla="*/ 295 h 396" name="T31"/>
                <a:gd fmla="*/ 725 w 1037" name="T32"/>
                <a:gd fmla="*/ 296 h 396" name="T33"/>
                <a:gd fmla="*/ 813 w 1037" name="T34"/>
                <a:gd fmla="*/ 305 h 396" name="T35"/>
                <a:gd fmla="*/ 856 w 1037" name="T36"/>
                <a:gd fmla="*/ 386 h 396" name="T37"/>
                <a:gd fmla="*/ 994 w 1037" name="T38"/>
                <a:gd fmla="*/ 309 h 396" name="T39"/>
                <a:gd fmla="*/ 725 w 1037" name="T40"/>
                <a:gd fmla="*/ 101 h 396" name="T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b="b" l="0" r="r" t="0"/>
              <a:pathLst>
                <a:path h="396" w="1037">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lgn="ctr" cap="flat" cmpd="sng" w="25400">
              <a:noFill/>
              <a:prstDash val="solid"/>
            </a:ln>
            <a:effectLst/>
          </p:spPr>
          <p:txBody>
            <a:bodyPr anchor="ctr" bIns="48208" lIns="96417" rIns="96417" tIns="48208"/>
            <a:lstStyle/>
            <a:p>
              <a:pPr algn="ctr" eaLnBrk="1" hangingPunct="1">
                <a:lnSpc>
                  <a:spcPct val="130000"/>
                </a:lnSpc>
                <a:defRPr/>
              </a:pPr>
              <a:endParaRPr kern="0" lang="en-US" noProof="1" sz="1400">
                <a:solidFill>
                  <a:schemeClr val="bg1">
                    <a:lumMod val="85000"/>
                  </a:schemeClr>
                </a:solidFill>
                <a:latin charset="0" pitchFamily="34" typeface="Arial"/>
                <a:ea charset="-122" panose="020b0503020204020204" pitchFamily="34" typeface="微软雅黑"/>
                <a:sym charset="0" pitchFamily="34" typeface="Arial"/>
              </a:endParaRPr>
            </a:p>
          </p:txBody>
        </p:sp>
        <p:sp>
          <p:nvSpPr>
            <p:cNvPr id="28" name="Freeform 11"/>
            <p:cNvSpPr/>
            <p:nvPr/>
          </p:nvSpPr>
          <p:spPr bwMode="auto">
            <a:xfrm rot="5400000">
              <a:off x="6451826" y="3571005"/>
              <a:ext cx="2107811" cy="490477"/>
            </a:xfrm>
            <a:custGeom>
              <a:gdLst>
                <a:gd fmla="*/ 918 w 953" name="T0"/>
                <a:gd fmla="*/ 14 h 222" name="T1"/>
                <a:gd fmla="*/ 220 w 953" name="T2"/>
                <a:gd fmla="*/ 14 h 222" name="T3"/>
                <a:gd fmla="*/ 179 w 953" name="T4"/>
                <a:gd fmla="*/ 33 h 222" name="T5"/>
                <a:gd fmla="*/ 174 w 953" name="T6"/>
                <a:gd fmla="*/ 37 h 222" name="T7"/>
                <a:gd fmla="*/ 0 w 953" name="T8"/>
                <a:gd fmla="*/ 222 h 222" name="T9"/>
                <a:gd fmla="*/ 35 w 953" name="T10"/>
                <a:gd fmla="*/ 208 h 222" name="T11"/>
                <a:gd fmla="*/ 733 w 953" name="T12"/>
                <a:gd fmla="*/ 208 h 222" name="T13"/>
                <a:gd fmla="*/ 774 w 953" name="T14"/>
                <a:gd fmla="*/ 189 h 222" name="T15"/>
                <a:gd fmla="*/ 779 w 953" name="T16"/>
                <a:gd fmla="*/ 185 h 222" name="T17"/>
                <a:gd fmla="*/ 953 w 953" name="T18"/>
                <a:gd fmla="*/ 0 h 222" name="T19"/>
                <a:gd fmla="*/ 918 w 953" name="T20"/>
                <a:gd fmla="*/ 14 h 2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1" w="953">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lgn="ctr" cap="flat" cmpd="sng" w="25400">
              <a:noFill/>
              <a:prstDash val="solid"/>
            </a:ln>
            <a:effectLst/>
          </p:spPr>
          <p:txBody>
            <a:bodyPr anchor="ctr" bIns="48208" lIns="96417" rIns="96417" tIns="48208"/>
            <a:lstStyle/>
            <a:p>
              <a:pPr algn="ctr" eaLnBrk="1" hangingPunct="1">
                <a:lnSpc>
                  <a:spcPct val="130000"/>
                </a:lnSpc>
                <a:defRPr/>
              </a:pPr>
              <a:endParaRPr kern="0" lang="en-US" noProof="1" sz="1400">
                <a:solidFill>
                  <a:schemeClr val="bg1">
                    <a:lumMod val="85000"/>
                  </a:schemeClr>
                </a:solidFill>
                <a:latin charset="0" pitchFamily="34" typeface="Arial"/>
                <a:ea charset="-122" panose="020b0503020204020204" pitchFamily="34" typeface="微软雅黑"/>
                <a:sym charset="0" pitchFamily="34" typeface="Arial"/>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gdLst>
                <a:gd fmla="*/ 540647 w 833033" name="connsiteX0"/>
                <a:gd fmla="*/ 2768 h 2153026" name="connsiteY0"/>
                <a:gd fmla="*/ 659667 w 833033" name="connsiteX1"/>
                <a:gd fmla="*/ 28000 h 2153026" name="connsiteY1"/>
                <a:gd fmla="*/ 829824 w 833033" name="connsiteX2"/>
                <a:gd fmla="*/ 333275 h 2153026" name="connsiteY2"/>
                <a:gd fmla="*/ 650828 w 833033" name="connsiteX3"/>
                <a:gd fmla="*/ 428397 h 2153026" name="connsiteY3"/>
                <a:gd fmla="*/ 631768 w 833033" name="connsiteX4"/>
                <a:gd fmla="*/ 496697 h 2153026" name="connsiteY4"/>
                <a:gd fmla="*/ 630992 w 833033" name="connsiteX5"/>
                <a:gd fmla="*/ 615033 h 2153026" name="connsiteY5"/>
                <a:gd fmla="*/ 631527 w 833033" name="connsiteX6"/>
                <a:gd fmla="*/ 615033 h 2153026" name="connsiteY6"/>
                <a:gd fmla="*/ 631527 w 833033" name="connsiteX7"/>
                <a:gd fmla="*/ 1529763 h 2153026" name="connsiteY7"/>
                <a:gd fmla="*/ 631528 w 833033" name="connsiteX8"/>
                <a:gd fmla="*/ 1529763 h 2153026" name="connsiteY8"/>
                <a:gd fmla="*/ 172612 w 833033" name="connsiteX9"/>
                <a:gd fmla="*/ 2124828 h 2153026" name="connsiteY9"/>
                <a:gd fmla="*/ 2725 w 833033" name="connsiteX10"/>
                <a:gd fmla="*/ 1819553 h 2153026" name="connsiteY10"/>
                <a:gd fmla="*/ 181437 w 833033" name="connsiteX11"/>
                <a:gd fmla="*/ 1724431 h 2153026" name="connsiteY11"/>
                <a:gd fmla="*/ 201294 w 833033" name="connsiteX12"/>
                <a:gd fmla="*/ 1529763 h 2153026" name="connsiteY12"/>
                <a:gd fmla="*/ 202134 w 833033" name="connsiteX13"/>
                <a:gd fmla="*/ 1529763 h 2153026" name="connsiteY13"/>
                <a:gd fmla="*/ 202231 w 833033" name="connsiteX14"/>
                <a:gd fmla="*/ 1529763 h 2153026" name="connsiteY14"/>
                <a:gd fmla="*/ 202231 w 833033" name="connsiteX15"/>
                <a:gd fmla="*/ 623065 h 2153026" name="connsiteY15"/>
                <a:gd fmla="*/ 202231 w 833033" name="connsiteX16"/>
                <a:gd fmla="*/ 615033 h 2153026" name="connsiteY16"/>
                <a:gd fmla="*/ 202547 w 833033" name="connsiteX17"/>
                <a:gd fmla="*/ 615033 h 2153026" name="connsiteY17"/>
                <a:gd fmla="*/ 206130 w 833033" name="connsiteX18"/>
                <a:gd fmla="*/ 523835 h 2153026" name="connsiteY18"/>
                <a:gd fmla="*/ 540647 w 833033" name="connsiteX19"/>
                <a:gd fmla="*/ 2768 h 2153026" name="connsiteY1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b="b" l="l" r="r" t="t"/>
              <a:pathLst>
                <a:path h="2153026" w="833032">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charset="0" pitchFamily="34" typeface="Arial"/>
              </a:endParaRPr>
            </a:p>
          </p:txBody>
        </p:sp>
        <p:sp>
          <p:nvSpPr>
            <p:cNvPr id="31" name="Freeform 10"/>
            <p:cNvSpPr/>
            <p:nvPr/>
          </p:nvSpPr>
          <p:spPr bwMode="auto">
            <a:xfrm rot="5400000">
              <a:off x="5478115" y="3571005"/>
              <a:ext cx="2107811" cy="490477"/>
            </a:xfrm>
            <a:custGeom>
              <a:gdLst>
                <a:gd fmla="*/ 918 w 953" name="T0"/>
                <a:gd fmla="*/ 14 h 222" name="T1"/>
                <a:gd fmla="*/ 220 w 953" name="T2"/>
                <a:gd fmla="*/ 14 h 222" name="T3"/>
                <a:gd fmla="*/ 179 w 953" name="T4"/>
                <a:gd fmla="*/ 33 h 222" name="T5"/>
                <a:gd fmla="*/ 174 w 953" name="T6"/>
                <a:gd fmla="*/ 37 h 222" name="T7"/>
                <a:gd fmla="*/ 0 w 953" name="T8"/>
                <a:gd fmla="*/ 222 h 222" name="T9"/>
                <a:gd fmla="*/ 35 w 953" name="T10"/>
                <a:gd fmla="*/ 208 h 222" name="T11"/>
                <a:gd fmla="*/ 733 w 953" name="T12"/>
                <a:gd fmla="*/ 208 h 222" name="T13"/>
                <a:gd fmla="*/ 774 w 953" name="T14"/>
                <a:gd fmla="*/ 189 h 222" name="T15"/>
                <a:gd fmla="*/ 779 w 953" name="T16"/>
                <a:gd fmla="*/ 185 h 222" name="T17"/>
                <a:gd fmla="*/ 953 w 953" name="T18"/>
                <a:gd fmla="*/ 0 h 222" name="T19"/>
                <a:gd fmla="*/ 918 w 953" name="T20"/>
                <a:gd fmla="*/ 14 h 2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1" w="953">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bIns="64282" lIns="128564" rIns="128564" tIns="64282"/>
            <a:lstStyle/>
            <a:p>
              <a:pPr eaLnBrk="1" hangingPunct="1">
                <a:lnSpc>
                  <a:spcPct val="130000"/>
                </a:lnSpc>
                <a:defRPr/>
              </a:pPr>
              <a:endParaRPr lang="en-US" noProof="1" sz="2400">
                <a:solidFill>
                  <a:schemeClr val="bg1">
                    <a:lumMod val="85000"/>
                  </a:schemeClr>
                </a:solidFill>
                <a:latin charset="0" pitchFamily="34" typeface="Arial"/>
                <a:ea charset="-122" panose="020b0503020204020204" pitchFamily="34" typeface="微软雅黑"/>
                <a:sym charset="0" pitchFamily="34" typeface="Arial"/>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gdLst>
                <a:gd fmla="*/ 724 w 1036" name="T0"/>
                <a:gd fmla="*/ 101 h 396" name="T1"/>
                <a:gd fmla="*/ 724 w 1036" name="T2"/>
                <a:gd fmla="*/ 101 h 396" name="T3"/>
                <a:gd fmla="*/ 312 w 1036" name="T4"/>
                <a:gd fmla="*/ 101 h 396" name="T5"/>
                <a:gd fmla="*/ 312 w 1036" name="T6"/>
                <a:gd fmla="*/ 101 h 396" name="T7"/>
                <a:gd fmla="*/ 312 w 1036" name="T8"/>
                <a:gd fmla="*/ 101 h 396" name="T9"/>
                <a:gd fmla="*/ 311 w 1036" name="T10"/>
                <a:gd fmla="*/ 101 h 396" name="T11"/>
                <a:gd fmla="*/ 311 w 1036" name="T12"/>
                <a:gd fmla="*/ 101 h 396" name="T13"/>
                <a:gd fmla="*/ 224 w 1036" name="T14"/>
                <a:gd fmla="*/ 92 h 396" name="T15"/>
                <a:gd fmla="*/ 181 w 1036" name="T16"/>
                <a:gd fmla="*/ 11 h 396" name="T17"/>
                <a:gd fmla="*/ 43 w 1036" name="T18"/>
                <a:gd fmla="*/ 88 h 396" name="T19"/>
                <a:gd fmla="*/ 310 w 1036" name="T20"/>
                <a:gd fmla="*/ 295 h 396" name="T21"/>
                <a:gd fmla="*/ 310 w 1036" name="T22"/>
                <a:gd fmla="*/ 295 h 396" name="T23"/>
                <a:gd fmla="*/ 312 w 1036" name="T24"/>
                <a:gd fmla="*/ 295 h 396" name="T25"/>
                <a:gd fmla="*/ 312 w 1036" name="T26"/>
                <a:gd fmla="*/ 295 h 396" name="T27"/>
                <a:gd fmla="*/ 312 w 1036" name="T28"/>
                <a:gd fmla="*/ 295 h 396" name="T29"/>
                <a:gd fmla="*/ 724 w 1036" name="T30"/>
                <a:gd fmla="*/ 295 h 396" name="T31"/>
                <a:gd fmla="*/ 724 w 1036" name="T32"/>
                <a:gd fmla="*/ 295 h 396" name="T33"/>
                <a:gd fmla="*/ 812 w 1036" name="T34"/>
                <a:gd fmla="*/ 305 h 396" name="T35"/>
                <a:gd fmla="*/ 855 w 1036" name="T36"/>
                <a:gd fmla="*/ 386 h 396" name="T37"/>
                <a:gd fmla="*/ 993 w 1036" name="T38"/>
                <a:gd fmla="*/ 309 h 396" name="T39"/>
                <a:gd fmla="*/ 724 w 1036" name="T40"/>
                <a:gd fmla="*/ 101 h 396" name="T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b="b" l="0" r="r" t="0"/>
              <a:pathLst>
                <a:path h="396" w="103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lgn="ctr" cap="flat" cmpd="sng" w="25400">
              <a:noFill/>
              <a:prstDash val="solid"/>
            </a:ln>
            <a:effectLst/>
          </p:spPr>
          <p:txBody>
            <a:bodyPr anchor="ctr" bIns="48208" lIns="96417" rIns="96417" tIns="48208"/>
            <a:lstStyle/>
            <a:p>
              <a:pPr algn="ctr" eaLnBrk="1" hangingPunct="1">
                <a:lnSpc>
                  <a:spcPct val="130000"/>
                </a:lnSpc>
                <a:defRPr/>
              </a:pPr>
              <a:endParaRPr kern="0" lang="en-US" noProof="1" sz="1400">
                <a:solidFill>
                  <a:schemeClr val="bg1">
                    <a:lumMod val="85000"/>
                  </a:schemeClr>
                </a:solidFill>
                <a:latin charset="0" pitchFamily="34" typeface="Arial"/>
                <a:ea charset="-122" panose="020b0503020204020204" pitchFamily="34" typeface="微软雅黑"/>
                <a:sym charset="0" pitchFamily="34" typeface="Arial"/>
              </a:endParaRPr>
            </a:p>
          </p:txBody>
        </p:sp>
        <p:sp>
          <p:nvSpPr>
            <p:cNvPr id="34" name="Freeform 8"/>
            <p:cNvSpPr/>
            <p:nvPr/>
          </p:nvSpPr>
          <p:spPr bwMode="auto">
            <a:xfrm rot="5400000">
              <a:off x="4503756" y="3567630"/>
              <a:ext cx="2109880" cy="489442"/>
            </a:xfrm>
            <a:custGeom>
              <a:gdLst>
                <a:gd fmla="*/ 918 w 954" name="T0"/>
                <a:gd fmla="*/ 14 h 222" name="T1"/>
                <a:gd fmla="*/ 221 w 954" name="T2"/>
                <a:gd fmla="*/ 14 h 222" name="T3"/>
                <a:gd fmla="*/ 179 w 954" name="T4"/>
                <a:gd fmla="*/ 33 h 222" name="T5"/>
                <a:gd fmla="*/ 175 w 954" name="T6"/>
                <a:gd fmla="*/ 37 h 222" name="T7"/>
                <a:gd fmla="*/ 0 w 954" name="T8"/>
                <a:gd fmla="*/ 222 h 222" name="T9"/>
                <a:gd fmla="*/ 36 w 954" name="T10"/>
                <a:gd fmla="*/ 208 h 222" name="T11"/>
                <a:gd fmla="*/ 733 w 954" name="T12"/>
                <a:gd fmla="*/ 208 h 222" name="T13"/>
                <a:gd fmla="*/ 775 w 954" name="T14"/>
                <a:gd fmla="*/ 189 h 222" name="T15"/>
                <a:gd fmla="*/ 779 w 954" name="T16"/>
                <a:gd fmla="*/ 185 h 222" name="T17"/>
                <a:gd fmla="*/ 954 w 954" name="T18"/>
                <a:gd fmla="*/ 0 h 222" name="T19"/>
                <a:gd fmla="*/ 918 w 954" name="T20"/>
                <a:gd fmla="*/ 14 h 2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1" w="954">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lgn="ctr" cap="flat" cmpd="sng" w="25400">
              <a:noFill/>
              <a:prstDash val="solid"/>
            </a:ln>
            <a:effectLst/>
          </p:spPr>
          <p:txBody>
            <a:bodyPr anchor="ctr" bIns="48208" lIns="96417" rIns="96417" tIns="48208"/>
            <a:lstStyle/>
            <a:p>
              <a:pPr algn="ctr" eaLnBrk="1" hangingPunct="1">
                <a:lnSpc>
                  <a:spcPct val="130000"/>
                </a:lnSpc>
                <a:defRPr/>
              </a:pPr>
              <a:endParaRPr kern="0" lang="en-US" noProof="1" sz="1400">
                <a:solidFill>
                  <a:schemeClr val="bg1">
                    <a:lumMod val="85000"/>
                  </a:schemeClr>
                </a:solidFill>
                <a:latin charset="0" pitchFamily="34" typeface="Arial"/>
                <a:ea charset="-122" panose="020b0503020204020204" pitchFamily="34" typeface="微软雅黑"/>
                <a:sym charset="0" pitchFamily="34" typeface="Arial"/>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gdLst>
                <a:gd fmla="*/ 725 w 1037" name="T0"/>
                <a:gd fmla="*/ 101 h 396" name="T1"/>
                <a:gd fmla="*/ 725 w 1037" name="T2"/>
                <a:gd fmla="*/ 101 h 396" name="T3"/>
                <a:gd fmla="*/ 312 w 1037" name="T4"/>
                <a:gd fmla="*/ 101 h 396" name="T5"/>
                <a:gd fmla="*/ 312 w 1037" name="T6"/>
                <a:gd fmla="*/ 101 h 396" name="T7"/>
                <a:gd fmla="*/ 312 w 1037" name="T8"/>
                <a:gd fmla="*/ 101 h 396" name="T9"/>
                <a:gd fmla="*/ 311 w 1037" name="T10"/>
                <a:gd fmla="*/ 101 h 396" name="T11"/>
                <a:gd fmla="*/ 311 w 1037" name="T12"/>
                <a:gd fmla="*/ 101 h 396" name="T13"/>
                <a:gd fmla="*/ 224 w 1037" name="T14"/>
                <a:gd fmla="*/ 92 h 396" name="T15"/>
                <a:gd fmla="*/ 181 w 1037" name="T16"/>
                <a:gd fmla="*/ 11 h 396" name="T17"/>
                <a:gd fmla="*/ 43 w 1037" name="T18"/>
                <a:gd fmla="*/ 88 h 396" name="T19"/>
                <a:gd fmla="*/ 310 w 1037" name="T20"/>
                <a:gd fmla="*/ 296 h 396" name="T21"/>
                <a:gd fmla="*/ 310 w 1037" name="T22"/>
                <a:gd fmla="*/ 296 h 396" name="T23"/>
                <a:gd fmla="*/ 312 w 1037" name="T24"/>
                <a:gd fmla="*/ 296 h 396" name="T25"/>
                <a:gd fmla="*/ 312 w 1037" name="T26"/>
                <a:gd fmla="*/ 296 h 396" name="T27"/>
                <a:gd fmla="*/ 312 w 1037" name="T28"/>
                <a:gd fmla="*/ 296 h 396" name="T29"/>
                <a:gd fmla="*/ 725 w 1037" name="T30"/>
                <a:gd fmla="*/ 295 h 396" name="T31"/>
                <a:gd fmla="*/ 725 w 1037" name="T32"/>
                <a:gd fmla="*/ 296 h 396" name="T33"/>
                <a:gd fmla="*/ 813 w 1037" name="T34"/>
                <a:gd fmla="*/ 305 h 396" name="T35"/>
                <a:gd fmla="*/ 856 w 1037" name="T36"/>
                <a:gd fmla="*/ 386 h 396" name="T37"/>
                <a:gd fmla="*/ 994 w 1037" name="T38"/>
                <a:gd fmla="*/ 309 h 396" name="T39"/>
                <a:gd fmla="*/ 725 w 1037" name="T40"/>
                <a:gd fmla="*/ 101 h 396" name="T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b="b" l="0" r="r" t="0"/>
              <a:pathLst>
                <a:path h="396" w="1037">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w="9525">
                  <a:solidFill>
                    <a:srgbClr val="000000"/>
                  </a:solidFill>
                  <a:round/>
                </a14:hiddenLine>
              </a:ext>
            </a:extLst>
          </p:spPr>
          <p:txBody>
            <a:bodyPr bIns="64282" lIns="128564" rIns="128564" tIns="64282"/>
            <a:lstStyle/>
            <a:p>
              <a:pPr eaLnBrk="1" hangingPunct="1">
                <a:lnSpc>
                  <a:spcPct val="130000"/>
                </a:lnSpc>
                <a:defRPr/>
              </a:pPr>
              <a:endParaRPr lang="en-US" noProof="1" sz="2400">
                <a:solidFill>
                  <a:schemeClr val="bg1">
                    <a:lumMod val="85000"/>
                  </a:schemeClr>
                </a:solidFill>
                <a:latin charset="0" pitchFamily="34" typeface="Arial"/>
                <a:ea charset="-122" panose="020b0503020204020204" pitchFamily="34" typeface="微软雅黑"/>
                <a:sym charset="0" pitchFamily="34" typeface="Arial"/>
              </a:endParaRPr>
            </a:p>
          </p:txBody>
        </p:sp>
        <p:sp>
          <p:nvSpPr>
            <p:cNvPr id="37" name="Freeform 11"/>
            <p:cNvSpPr/>
            <p:nvPr/>
          </p:nvSpPr>
          <p:spPr bwMode="auto">
            <a:xfrm rot="5400000">
              <a:off x="3528492" y="3562974"/>
              <a:ext cx="2107811" cy="490477"/>
            </a:xfrm>
            <a:custGeom>
              <a:gdLst>
                <a:gd fmla="*/ 918 w 953" name="T0"/>
                <a:gd fmla="*/ 14 h 222" name="T1"/>
                <a:gd fmla="*/ 220 w 953" name="T2"/>
                <a:gd fmla="*/ 14 h 222" name="T3"/>
                <a:gd fmla="*/ 179 w 953" name="T4"/>
                <a:gd fmla="*/ 33 h 222" name="T5"/>
                <a:gd fmla="*/ 174 w 953" name="T6"/>
                <a:gd fmla="*/ 37 h 222" name="T7"/>
                <a:gd fmla="*/ 0 w 953" name="T8"/>
                <a:gd fmla="*/ 222 h 222" name="T9"/>
                <a:gd fmla="*/ 35 w 953" name="T10"/>
                <a:gd fmla="*/ 208 h 222" name="T11"/>
                <a:gd fmla="*/ 733 w 953" name="T12"/>
                <a:gd fmla="*/ 208 h 222" name="T13"/>
                <a:gd fmla="*/ 774 w 953" name="T14"/>
                <a:gd fmla="*/ 189 h 222" name="T15"/>
                <a:gd fmla="*/ 779 w 953" name="T16"/>
                <a:gd fmla="*/ 185 h 222" name="T17"/>
                <a:gd fmla="*/ 953 w 953" name="T18"/>
                <a:gd fmla="*/ 0 h 222" name="T19"/>
                <a:gd fmla="*/ 918 w 953" name="T20"/>
                <a:gd fmla="*/ 14 h 2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1" w="953">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bIns="64282" lIns="128564" rIns="128564" tIns="64282"/>
            <a:lstStyle/>
            <a:p>
              <a:pPr eaLnBrk="1" hangingPunct="1">
                <a:lnSpc>
                  <a:spcPct val="130000"/>
                </a:lnSpc>
                <a:defRPr/>
              </a:pPr>
              <a:endParaRPr lang="en-US" noProof="1" sz="2400">
                <a:solidFill>
                  <a:schemeClr val="bg1">
                    <a:lumMod val="85000"/>
                  </a:schemeClr>
                </a:solidFill>
                <a:latin charset="0" pitchFamily="34" typeface="Arial"/>
                <a:ea charset="-122" panose="020b0503020204020204" pitchFamily="34" typeface="微软雅黑"/>
                <a:sym charset="0" pitchFamily="34" typeface="Arial"/>
              </a:endParaRPr>
            </a:p>
          </p:txBody>
        </p:sp>
      </p:grpSp>
      <p:sp>
        <p:nvSpPr>
          <p:cNvPr id="38" name="TextBox 54"/>
          <p:cNvSpPr txBox="1">
            <a:spLocks noChangeArrowheads="1"/>
          </p:cNvSpPr>
          <p:nvPr/>
        </p:nvSpPr>
        <p:spPr bwMode="auto">
          <a:xfrm>
            <a:off x="1643539" y="1115153"/>
            <a:ext cx="1309053"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39" name="Rectangle 55"/>
          <p:cNvSpPr>
            <a:spLocks noChangeArrowheads="1"/>
          </p:cNvSpPr>
          <p:nvPr/>
        </p:nvSpPr>
        <p:spPr bwMode="auto">
          <a:xfrm>
            <a:off x="1643539" y="1335308"/>
            <a:ext cx="1400175" cy="30164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just" eaLnBrk="1" hangingPunct="1">
              <a:lnSpc>
                <a:spcPct val="13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a:t>
            </a:r>
          </a:p>
        </p:txBody>
      </p:sp>
      <p:sp>
        <p:nvSpPr>
          <p:cNvPr id="40" name="TextBox 54"/>
          <p:cNvSpPr txBox="1">
            <a:spLocks noChangeArrowheads="1"/>
          </p:cNvSpPr>
          <p:nvPr/>
        </p:nvSpPr>
        <p:spPr bwMode="auto">
          <a:xfrm>
            <a:off x="2341404" y="3814530"/>
            <a:ext cx="1307941"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41" name="Rectangle 55"/>
          <p:cNvSpPr>
            <a:spLocks noChangeArrowheads="1"/>
          </p:cNvSpPr>
          <p:nvPr/>
        </p:nvSpPr>
        <p:spPr bwMode="auto">
          <a:xfrm>
            <a:off x="2341404" y="4033577"/>
            <a:ext cx="1400175" cy="30164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just" eaLnBrk="1" hangingPunct="1">
              <a:lnSpc>
                <a:spcPct val="13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a:t>
            </a:r>
          </a:p>
        </p:txBody>
      </p:sp>
      <p:sp>
        <p:nvSpPr>
          <p:cNvPr id="42" name="TextBox 54"/>
          <p:cNvSpPr txBox="1">
            <a:spLocks noChangeArrowheads="1"/>
          </p:cNvSpPr>
          <p:nvPr/>
        </p:nvSpPr>
        <p:spPr bwMode="auto">
          <a:xfrm>
            <a:off x="3452654" y="1115153"/>
            <a:ext cx="1309053"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43" name="Rectangle 55"/>
          <p:cNvSpPr>
            <a:spLocks noChangeArrowheads="1"/>
          </p:cNvSpPr>
          <p:nvPr/>
        </p:nvSpPr>
        <p:spPr bwMode="auto">
          <a:xfrm>
            <a:off x="3452654" y="1335308"/>
            <a:ext cx="1400175" cy="30164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just" eaLnBrk="1" hangingPunct="1">
              <a:lnSpc>
                <a:spcPct val="13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a:t>
            </a:r>
          </a:p>
        </p:txBody>
      </p:sp>
      <p:sp>
        <p:nvSpPr>
          <p:cNvPr id="44" name="TextBox 54"/>
          <p:cNvSpPr txBox="1">
            <a:spLocks noChangeArrowheads="1"/>
          </p:cNvSpPr>
          <p:nvPr/>
        </p:nvSpPr>
        <p:spPr bwMode="auto">
          <a:xfrm>
            <a:off x="4107180" y="3814530"/>
            <a:ext cx="1307942"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45" name="Rectangle 55"/>
          <p:cNvSpPr>
            <a:spLocks noChangeArrowheads="1"/>
          </p:cNvSpPr>
          <p:nvPr/>
        </p:nvSpPr>
        <p:spPr bwMode="auto">
          <a:xfrm>
            <a:off x="4107180" y="4033577"/>
            <a:ext cx="1400175" cy="30164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just" eaLnBrk="1" hangingPunct="1">
              <a:lnSpc>
                <a:spcPct val="13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a:t>
            </a:r>
          </a:p>
        </p:txBody>
      </p:sp>
      <p:sp>
        <p:nvSpPr>
          <p:cNvPr id="46" name="TextBox 54"/>
          <p:cNvSpPr txBox="1">
            <a:spLocks noChangeArrowheads="1"/>
          </p:cNvSpPr>
          <p:nvPr/>
        </p:nvSpPr>
        <p:spPr bwMode="auto">
          <a:xfrm>
            <a:off x="5261769" y="1115153"/>
            <a:ext cx="1309053"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47" name="Rectangle 55"/>
          <p:cNvSpPr>
            <a:spLocks noChangeArrowheads="1"/>
          </p:cNvSpPr>
          <p:nvPr/>
        </p:nvSpPr>
        <p:spPr bwMode="auto">
          <a:xfrm>
            <a:off x="5261769" y="1335308"/>
            <a:ext cx="1400175" cy="30164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just" eaLnBrk="1" hangingPunct="1">
              <a:lnSpc>
                <a:spcPct val="13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a:t>
            </a:r>
          </a:p>
        </p:txBody>
      </p:sp>
      <p:sp>
        <p:nvSpPr>
          <p:cNvPr id="48" name="TextBox 54"/>
          <p:cNvSpPr txBox="1">
            <a:spLocks noChangeArrowheads="1"/>
          </p:cNvSpPr>
          <p:nvPr/>
        </p:nvSpPr>
        <p:spPr bwMode="auto">
          <a:xfrm>
            <a:off x="5822950" y="3814530"/>
            <a:ext cx="1307942"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49" name="Rectangle 55"/>
          <p:cNvSpPr>
            <a:spLocks noChangeArrowheads="1"/>
          </p:cNvSpPr>
          <p:nvPr/>
        </p:nvSpPr>
        <p:spPr bwMode="auto">
          <a:xfrm>
            <a:off x="5822950" y="4033577"/>
            <a:ext cx="1400175" cy="30164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just" eaLnBrk="1" hangingPunct="1">
              <a:lnSpc>
                <a:spcPct val="13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a:t>
            </a: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gdLst>
                <a:gd fmla="*/ 1242568 w 1245336" name="connsiteX0"/>
                <a:gd fmla="*/ 3285554 h 3577940" name="connsiteY0"/>
                <a:gd fmla="*/ 1217336 w 1245336" name="connsiteX1"/>
                <a:gd fmla="*/ 3404574 h 3577940" name="connsiteY1"/>
                <a:gd fmla="*/ 912061 w 1245336" name="connsiteX2"/>
                <a:gd fmla="*/ 3574731 h 3577940" name="connsiteY2"/>
                <a:gd fmla="*/ 816939 w 1245336" name="connsiteX3"/>
                <a:gd fmla="*/ 3395735 h 3577940" name="connsiteY3"/>
                <a:gd fmla="*/ 622271 w 1245336" name="connsiteX4"/>
                <a:gd fmla="*/ 3375846 h 3577940" name="connsiteY4"/>
                <a:gd fmla="*/ 622271 w 1245336" name="connsiteX5"/>
                <a:gd fmla="*/ 3374366 h 3577940" name="connsiteY5"/>
                <a:gd fmla="*/ 1973 w 1245336" name="connsiteX6"/>
                <a:gd fmla="*/ 3035950 h 3577940" name="connsiteY6"/>
                <a:gd fmla="*/ 2017 w 1245336" name="connsiteX7"/>
                <a:gd fmla="*/ 3031859 h 3577940" name="connsiteY7"/>
                <a:gd fmla="*/ 0 w 1245336" name="connsiteX8"/>
                <a:gd fmla="*/ 3031859 h 3577940" name="connsiteY8"/>
                <a:gd fmla="*/ 0 w 1245336" name="connsiteX9"/>
                <a:gd fmla="*/ 0 h 3577940" name="connsiteY9"/>
                <a:gd fmla="*/ 429296 w 1245336" name="connsiteX10"/>
                <a:gd fmla="*/ 0 h 3577940" name="connsiteY10"/>
                <a:gd fmla="*/ 429296 w 1245336" name="connsiteX11"/>
                <a:gd fmla="*/ 2926627 h 3577940" name="connsiteY11"/>
                <a:gd fmla="*/ 453975 w 1245336" name="connsiteX12"/>
                <a:gd fmla="*/ 2939132 h 3577940" name="connsiteY12"/>
                <a:gd fmla="*/ 622271 w 1245336" name="connsiteX13"/>
                <a:gd fmla="*/ 2945658 h 3577940" name="connsiteY13"/>
                <a:gd fmla="*/ 622271 w 1245336" name="connsiteX14"/>
                <a:gd fmla="*/ 2947139 h 3577940" name="connsiteY14"/>
                <a:gd fmla="*/ 1242568 w 1245336" name="connsiteX15"/>
                <a:gd fmla="*/ 3285554 h 3577940" name="connsiteY1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b="b" l="l" r="r" t="t"/>
              <a:pathLst>
                <a:path h="3577940" w="1245336">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algn="ctr" cap="flat" cmpd="sng" w="25400">
              <a:noFill/>
              <a:prstDash val="solid"/>
            </a:ln>
            <a:effectLst/>
          </p:spPr>
          <p:txBody>
            <a:bodyPr anchor="ctr" bIns="48208" lIns="96417" rIns="96417" tIns="48208"/>
            <a:lstStyle/>
            <a:p>
              <a:pPr algn="ctr" eaLnBrk="1" hangingPunct="1">
                <a:lnSpc>
                  <a:spcPct val="130000"/>
                </a:lnSpc>
                <a:defRPr/>
              </a:pPr>
              <a:endParaRPr kern="0" lang="en-US" noProof="1" sz="1400">
                <a:solidFill>
                  <a:sysClr lastClr="FFFFFF" val="window"/>
                </a:solidFill>
                <a:latin charset="0" pitchFamily="34" typeface="Arial"/>
                <a:ea charset="-122" panose="020b0503020204020204" pitchFamily="34" typeface="微软雅黑"/>
                <a:sym charset="0" pitchFamily="34" typeface="Arial"/>
              </a:endParaRPr>
            </a:p>
          </p:txBody>
        </p:sp>
        <p:sp>
          <p:nvSpPr>
            <p:cNvPr id="52" name="Freeform 10"/>
            <p:cNvSpPr/>
            <p:nvPr/>
          </p:nvSpPr>
          <p:spPr bwMode="auto">
            <a:xfrm rot="5400000">
              <a:off x="2554781" y="3562974"/>
              <a:ext cx="2107811" cy="490477"/>
            </a:xfrm>
            <a:custGeom>
              <a:gdLst>
                <a:gd fmla="*/ 918 w 953" name="T0"/>
                <a:gd fmla="*/ 14 h 222" name="T1"/>
                <a:gd fmla="*/ 220 w 953" name="T2"/>
                <a:gd fmla="*/ 14 h 222" name="T3"/>
                <a:gd fmla="*/ 179 w 953" name="T4"/>
                <a:gd fmla="*/ 33 h 222" name="T5"/>
                <a:gd fmla="*/ 174 w 953" name="T6"/>
                <a:gd fmla="*/ 37 h 222" name="T7"/>
                <a:gd fmla="*/ 0 w 953" name="T8"/>
                <a:gd fmla="*/ 222 h 222" name="T9"/>
                <a:gd fmla="*/ 35 w 953" name="T10"/>
                <a:gd fmla="*/ 208 h 222" name="T11"/>
                <a:gd fmla="*/ 733 w 953" name="T12"/>
                <a:gd fmla="*/ 208 h 222" name="T13"/>
                <a:gd fmla="*/ 774 w 953" name="T14"/>
                <a:gd fmla="*/ 189 h 222" name="T15"/>
                <a:gd fmla="*/ 779 w 953" name="T16"/>
                <a:gd fmla="*/ 185 h 222" name="T17"/>
                <a:gd fmla="*/ 953 w 953" name="T18"/>
                <a:gd fmla="*/ 0 h 222" name="T19"/>
                <a:gd fmla="*/ 918 w 953" name="T20"/>
                <a:gd fmla="*/ 14 h 2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1" w="953">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lgn="ctr" cap="flat" cmpd="sng" w="25400">
              <a:noFill/>
              <a:prstDash val="solid"/>
            </a:ln>
            <a:effectLst/>
          </p:spPr>
          <p:txBody>
            <a:bodyPr anchor="ctr" bIns="48208" lIns="96417" rIns="96417" tIns="48208"/>
            <a:lstStyle/>
            <a:p>
              <a:pPr algn="ctr" eaLnBrk="1" hangingPunct="1">
                <a:lnSpc>
                  <a:spcPct val="130000"/>
                </a:lnSpc>
                <a:defRPr/>
              </a:pPr>
              <a:endParaRPr kern="0" lang="en-US" noProof="1" sz="1400">
                <a:solidFill>
                  <a:sysClr lastClr="FFFFFF" val="window"/>
                </a:solidFill>
                <a:latin charset="0" pitchFamily="34" typeface="Arial"/>
                <a:ea charset="-122" panose="020b0503020204020204" pitchFamily="34" typeface="微软雅黑"/>
                <a:sym charset="0" pitchFamily="34" typeface="Arial"/>
              </a:endParaRPr>
            </a:p>
          </p:txBody>
        </p:sp>
      </p:grpSp>
      <p:sp>
        <p:nvSpPr>
          <p:cNvPr id="53" name="平行四边形 52"/>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4" name="平行四边形 53"/>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5" name="平行四边形 54"/>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6" name="平行四边形 55"/>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59" name="Group 7"/>
          <p:cNvGrpSpPr/>
          <p:nvPr/>
        </p:nvGrpSpPr>
        <p:grpSpPr>
          <a:xfrm>
            <a:off x="180202" y="181952"/>
            <a:ext cx="216018" cy="113981"/>
            <a:chExt cx="1041399" cy="549275"/>
          </a:xfrm>
          <a:solidFill>
            <a:srgbClr val="133E73"/>
          </a:solidFill>
        </p:grpSpPr>
        <p:sp>
          <p:nvSpPr>
            <p:cNvPr id="60"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61"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62"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63"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ustDataLst>
      <p:tags r:id="rId6"/>
    </p:custDataLst>
  </p:cSld>
  <p:clrMapOvr>
    <a:masterClrMapping/>
  </p:clrMapOvr>
  <mc:AlternateContent>
    <mc:Choice Requires="p14">
      <p:transition p14:dur="1500" spd="slow">
        <p14:window dir="vert"/>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59"/>
                                        </p:tgtEl>
                                        <p:attrNameLst>
                                          <p:attrName>style.visibility</p:attrName>
                                        </p:attrNameLst>
                                      </p:cBhvr>
                                      <p:to>
                                        <p:strVal val="visible"/>
                                      </p:to>
                                    </p:set>
                                    <p:anim calcmode="lin" valueType="num">
                                      <p:cBhvr additive="base">
                                        <p:cTn dur="500" fill="hold" id="7"/>
                                        <p:tgtEl>
                                          <p:spTgt spid="59"/>
                                        </p:tgtEl>
                                        <p:attrNameLst>
                                          <p:attrName>ppt_x</p:attrName>
                                        </p:attrNameLst>
                                      </p:cBhvr>
                                      <p:tavLst>
                                        <p:tav tm="0">
                                          <p:val>
                                            <p:strVal val="0-#ppt_w/2"/>
                                          </p:val>
                                        </p:tav>
                                        <p:tav tm="100000">
                                          <p:val>
                                            <p:strVal val="#ppt_x"/>
                                          </p:val>
                                        </p:tav>
                                      </p:tavLst>
                                    </p:anim>
                                    <p:anim calcmode="lin" valueType="num">
                                      <p:cBhvr additive="base">
                                        <p:cTn dur="500" fill="hold" id="8"/>
                                        <p:tgtEl>
                                          <p:spTgt spid="59"/>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58"/>
                                        </p:tgtEl>
                                        <p:attrNameLst>
                                          <p:attrName>style.visibility</p:attrName>
                                        </p:attrNameLst>
                                      </p:cBhvr>
                                      <p:to>
                                        <p:strVal val="visible"/>
                                      </p:to>
                                    </p:set>
                                    <p:anim calcmode="lin" valueType="num">
                                      <p:cBhvr>
                                        <p:cTn dur="500" fill="hold" id="12"/>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58"/>
                                        </p:tgtEl>
                                        <p:attrNameLst>
                                          <p:attrName>ppt_y</p:attrName>
                                        </p:attrNameLst>
                                      </p:cBhvr>
                                      <p:tavLst>
                                        <p:tav tm="0">
                                          <p:val>
                                            <p:strVal val="#ppt_y"/>
                                          </p:val>
                                        </p:tav>
                                        <p:tav tm="100000">
                                          <p:val>
                                            <p:strVal val="#ppt_y"/>
                                          </p:val>
                                        </p:tav>
                                      </p:tavLst>
                                    </p:anim>
                                    <p:anim calcmode="lin" valueType="num">
                                      <p:cBhvr>
                                        <p:cTn dur="500" fill="hold" id="14"/>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58"/>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58"/>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55"/>
                                        </p:tgtEl>
                                        <p:attrNameLst>
                                          <p:attrName>fillcolor</p:attrName>
                                        </p:attrNameLst>
                                      </p:cBhvr>
                                      <p:to>
                                        <a:srgbClr val="00AEEF"/>
                                      </p:to>
                                    </p:animClr>
                                    <p:set>
                                      <p:cBhvr>
                                        <p:cTn dur="300" fill="hold" id="20"/>
                                        <p:tgtEl>
                                          <p:spTgt spid="55"/>
                                        </p:tgtEl>
                                        <p:attrNameLst>
                                          <p:attrName>fill.type</p:attrName>
                                        </p:attrNameLst>
                                      </p:cBhvr>
                                      <p:to>
                                        <p:strVal val="solid"/>
                                      </p:to>
                                    </p:set>
                                    <p:set>
                                      <p:cBhvr>
                                        <p:cTn dur="300" fill="hold" id="21"/>
                                        <p:tgtEl>
                                          <p:spTgt spid="55"/>
                                        </p:tgtEl>
                                        <p:attrNameLst>
                                          <p:attrName>fill.on</p:attrName>
                                        </p:attrNameLst>
                                      </p:cBhvr>
                                      <p:to>
                                        <p:strVal val="true"/>
                                      </p:to>
                                    </p:set>
                                  </p:childTnLst>
                                </p:cTn>
                              </p:par>
                            </p:childTnLst>
                          </p:cTn>
                        </p:par>
                      </p:childTnLst>
                    </p:cTn>
                  </p:par>
                  <p:par>
                    <p:cTn fill="hold" id="22" nodeType="clickPar">
                      <p:stCondLst>
                        <p:cond delay="indefinite"/>
                        <p:cond delay="0" evt="onBegin">
                          <p:tn val="21"/>
                        </p:cond>
                      </p:stCondLst>
                      <p:childTnLst>
                        <p:par>
                          <p:cTn fill="hold" id="23" nodeType="afterGroup">
                            <p:stCondLst>
                              <p:cond delay="0"/>
                            </p:stCondLst>
                            <p:childTnLst>
                              <p:par>
                                <p:cTn fill="hold" id="24" nodeType="clickEffect" presetClass="entr" presetID="22" presetSubtype="8">
                                  <p:stCondLst>
                                    <p:cond delay="0"/>
                                  </p:stCondLst>
                                  <p:childTnLst>
                                    <p:set>
                                      <p:cBhvr>
                                        <p:cTn dur="1" fill="hold" id="25">
                                          <p:stCondLst>
                                            <p:cond delay="0"/>
                                          </p:stCondLst>
                                        </p:cTn>
                                        <p:tgtEl>
                                          <p:spTgt spid="50"/>
                                        </p:tgtEl>
                                        <p:attrNameLst>
                                          <p:attrName>style.visibility</p:attrName>
                                        </p:attrNameLst>
                                      </p:cBhvr>
                                      <p:to>
                                        <p:strVal val="visible"/>
                                      </p:to>
                                    </p:set>
                                    <p:animEffect filter="wipe(left)" transition="in">
                                      <p:cBhvr>
                                        <p:cTn dur="500" id="26"/>
                                        <p:tgtEl>
                                          <p:spTgt spid="50"/>
                                        </p:tgtEl>
                                      </p:cBhvr>
                                    </p:animEffect>
                                  </p:childTnLst>
                                </p:cTn>
                              </p:par>
                            </p:childTnLst>
                          </p:cTn>
                        </p:par>
                        <p:par>
                          <p:cTn fill="hold" id="27" nodeType="afterGroup">
                            <p:stCondLst>
                              <p:cond delay="500"/>
                            </p:stCondLst>
                            <p:childTnLst>
                              <p:par>
                                <p:cTn fill="hold" grpId="0" id="28" nodeType="afterEffect" presetClass="entr" presetID="2" presetSubtype="1">
                                  <p:stCondLst>
                                    <p:cond delay="0"/>
                                  </p:stCondLst>
                                  <p:childTnLst>
                                    <p:set>
                                      <p:cBhvr>
                                        <p:cTn dur="1" fill="hold" id="29">
                                          <p:stCondLst>
                                            <p:cond delay="0"/>
                                          </p:stCondLst>
                                        </p:cTn>
                                        <p:tgtEl>
                                          <p:spTgt spid="38"/>
                                        </p:tgtEl>
                                        <p:attrNameLst>
                                          <p:attrName>style.visibility</p:attrName>
                                        </p:attrNameLst>
                                      </p:cBhvr>
                                      <p:to>
                                        <p:strVal val="visible"/>
                                      </p:to>
                                    </p:set>
                                    <p:anim calcmode="lin" valueType="num">
                                      <p:cBhvr>
                                        <p:cTn dur="500" fill="hold" id="30"/>
                                        <p:tgtEl>
                                          <p:spTgt spid="38"/>
                                        </p:tgtEl>
                                        <p:attrNameLst>
                                          <p:attrName>ppt_x</p:attrName>
                                        </p:attrNameLst>
                                      </p:cBhvr>
                                      <p:tavLst>
                                        <p:tav tm="0">
                                          <p:val>
                                            <p:strVal val="#ppt_x"/>
                                          </p:val>
                                        </p:tav>
                                        <p:tav tm="100000">
                                          <p:val>
                                            <p:strVal val="#ppt_x"/>
                                          </p:val>
                                        </p:tav>
                                      </p:tavLst>
                                    </p:anim>
                                    <p:anim calcmode="lin" valueType="num">
                                      <p:cBhvr>
                                        <p:cTn dur="500" fill="hold" id="31"/>
                                        <p:tgtEl>
                                          <p:spTgt spid="38"/>
                                        </p:tgtEl>
                                        <p:attrNameLst>
                                          <p:attrName>ppt_y</p:attrName>
                                        </p:attrNameLst>
                                      </p:cBhvr>
                                      <p:tavLst>
                                        <p:tav tm="0">
                                          <p:val>
                                            <p:strVal val="0-#ppt_h/2"/>
                                          </p:val>
                                        </p:tav>
                                        <p:tav tm="100000">
                                          <p:val>
                                            <p:strVal val="#ppt_y"/>
                                          </p:val>
                                        </p:tav>
                                      </p:tavLst>
                                    </p:anim>
                                  </p:childTnLst>
                                </p:cTn>
                              </p:par>
                              <p:par>
                                <p:cTn fill="hold" grpId="0" id="32" nodeType="withEffect" presetClass="entr" presetID="2" presetSubtype="1">
                                  <p:stCondLst>
                                    <p:cond delay="0"/>
                                  </p:stCondLst>
                                  <p:childTnLst>
                                    <p:set>
                                      <p:cBhvr>
                                        <p:cTn dur="1" fill="hold" id="33">
                                          <p:stCondLst>
                                            <p:cond delay="0"/>
                                          </p:stCondLst>
                                        </p:cTn>
                                        <p:tgtEl>
                                          <p:spTgt spid="39"/>
                                        </p:tgtEl>
                                        <p:attrNameLst>
                                          <p:attrName>style.visibility</p:attrName>
                                        </p:attrNameLst>
                                      </p:cBhvr>
                                      <p:to>
                                        <p:strVal val="visible"/>
                                      </p:to>
                                    </p:set>
                                    <p:anim calcmode="lin" valueType="num">
                                      <p:cBhvr>
                                        <p:cTn dur="500" fill="hold" id="34"/>
                                        <p:tgtEl>
                                          <p:spTgt spid="39"/>
                                        </p:tgtEl>
                                        <p:attrNameLst>
                                          <p:attrName>ppt_x</p:attrName>
                                        </p:attrNameLst>
                                      </p:cBhvr>
                                      <p:tavLst>
                                        <p:tav tm="0">
                                          <p:val>
                                            <p:strVal val="#ppt_x"/>
                                          </p:val>
                                        </p:tav>
                                        <p:tav tm="100000">
                                          <p:val>
                                            <p:strVal val="#ppt_x"/>
                                          </p:val>
                                        </p:tav>
                                      </p:tavLst>
                                    </p:anim>
                                    <p:anim calcmode="lin" valueType="num">
                                      <p:cBhvr>
                                        <p:cTn dur="500" fill="hold" id="35"/>
                                        <p:tgtEl>
                                          <p:spTgt spid="39"/>
                                        </p:tgtEl>
                                        <p:attrNameLst>
                                          <p:attrName>ppt_y</p:attrName>
                                        </p:attrNameLst>
                                      </p:cBhvr>
                                      <p:tavLst>
                                        <p:tav tm="0">
                                          <p:val>
                                            <p:strVal val="0-#ppt_h/2"/>
                                          </p:val>
                                        </p:tav>
                                        <p:tav tm="100000">
                                          <p:val>
                                            <p:strVal val="#ppt_y"/>
                                          </p:val>
                                        </p:tav>
                                      </p:tavLst>
                                    </p:anim>
                                  </p:childTnLst>
                                </p:cTn>
                              </p:par>
                            </p:childTnLst>
                          </p:cTn>
                        </p:par>
                      </p:childTnLst>
                    </p:cTn>
                  </p:par>
                  <p:par>
                    <p:cTn fill="hold" id="36" nodeType="clickPar">
                      <p:stCondLst>
                        <p:cond delay="indefinite"/>
                        <p:cond delay="0" evt="onBegin">
                          <p:tn val="35"/>
                        </p:cond>
                      </p:stCondLst>
                      <p:childTnLst>
                        <p:par>
                          <p:cTn fill="hold" id="37" nodeType="afterGroup">
                            <p:stCondLst>
                              <p:cond delay="0"/>
                            </p:stCondLst>
                            <p:childTnLst>
                              <p:par>
                                <p:cTn fill="hold" id="38" nodeType="clickEffect" presetClass="entr" presetID="42" presetSubtype="0">
                                  <p:stCondLst>
                                    <p:cond delay="0"/>
                                  </p:stCondLst>
                                  <p:childTnLst>
                                    <p:set>
                                      <p:cBhvr>
                                        <p:cTn dur="1" fill="hold" id="39">
                                          <p:stCondLst>
                                            <p:cond delay="0"/>
                                          </p:stCondLst>
                                        </p:cTn>
                                        <p:tgtEl>
                                          <p:spTgt spid="35"/>
                                        </p:tgtEl>
                                        <p:attrNameLst>
                                          <p:attrName>style.visibility</p:attrName>
                                        </p:attrNameLst>
                                      </p:cBhvr>
                                      <p:to>
                                        <p:strVal val="visible"/>
                                      </p:to>
                                    </p:set>
                                    <p:animEffect filter="fade" transition="in">
                                      <p:cBhvr>
                                        <p:cTn dur="750" id="40"/>
                                        <p:tgtEl>
                                          <p:spTgt spid="35"/>
                                        </p:tgtEl>
                                      </p:cBhvr>
                                    </p:animEffect>
                                    <p:anim calcmode="lin" valueType="num">
                                      <p:cBhvr>
                                        <p:cTn dur="750" fill="hold" id="41"/>
                                        <p:tgtEl>
                                          <p:spTgt spid="35"/>
                                        </p:tgtEl>
                                        <p:attrNameLst>
                                          <p:attrName>ppt_x</p:attrName>
                                        </p:attrNameLst>
                                      </p:cBhvr>
                                      <p:tavLst>
                                        <p:tav tm="0">
                                          <p:val>
                                            <p:strVal val="#ppt_x"/>
                                          </p:val>
                                        </p:tav>
                                        <p:tav tm="100000">
                                          <p:val>
                                            <p:strVal val="#ppt_x"/>
                                          </p:val>
                                        </p:tav>
                                      </p:tavLst>
                                    </p:anim>
                                    <p:anim calcmode="lin" valueType="num">
                                      <p:cBhvr>
                                        <p:cTn dur="750" fill="hold" id="42"/>
                                        <p:tgtEl>
                                          <p:spTgt spid="35"/>
                                        </p:tgtEl>
                                        <p:attrNameLst>
                                          <p:attrName>ppt_y</p:attrName>
                                        </p:attrNameLst>
                                      </p:cBhvr>
                                      <p:tavLst>
                                        <p:tav tm="0">
                                          <p:val>
                                            <p:strVal val="#ppt_y+.1"/>
                                          </p:val>
                                        </p:tav>
                                        <p:tav tm="100000">
                                          <p:val>
                                            <p:strVal val="#ppt_y"/>
                                          </p:val>
                                        </p:tav>
                                      </p:tavLst>
                                    </p:anim>
                                  </p:childTnLst>
                                </p:cTn>
                              </p:par>
                            </p:childTnLst>
                          </p:cTn>
                        </p:par>
                        <p:par>
                          <p:cTn fill="hold" id="43" nodeType="afterGroup">
                            <p:stCondLst>
                              <p:cond delay="750"/>
                            </p:stCondLst>
                            <p:childTnLst>
                              <p:par>
                                <p:cTn fill="hold" grpId="0" id="44" nodeType="afterEffect" presetClass="entr" presetID="2" presetSubtype="4">
                                  <p:stCondLst>
                                    <p:cond delay="0"/>
                                  </p:stCondLst>
                                  <p:childTnLst>
                                    <p:set>
                                      <p:cBhvr>
                                        <p:cTn dur="1" fill="hold" id="45">
                                          <p:stCondLst>
                                            <p:cond delay="0"/>
                                          </p:stCondLst>
                                        </p:cTn>
                                        <p:tgtEl>
                                          <p:spTgt spid="40"/>
                                        </p:tgtEl>
                                        <p:attrNameLst>
                                          <p:attrName>style.visibility</p:attrName>
                                        </p:attrNameLst>
                                      </p:cBhvr>
                                      <p:to>
                                        <p:strVal val="visible"/>
                                      </p:to>
                                    </p:set>
                                    <p:anim calcmode="lin" valueType="num">
                                      <p:cBhvr>
                                        <p:cTn dur="500" fill="hold" id="46"/>
                                        <p:tgtEl>
                                          <p:spTgt spid="40"/>
                                        </p:tgtEl>
                                        <p:attrNameLst>
                                          <p:attrName>ppt_x</p:attrName>
                                        </p:attrNameLst>
                                      </p:cBhvr>
                                      <p:tavLst>
                                        <p:tav tm="0">
                                          <p:val>
                                            <p:strVal val="#ppt_x"/>
                                          </p:val>
                                        </p:tav>
                                        <p:tav tm="100000">
                                          <p:val>
                                            <p:strVal val="#ppt_x"/>
                                          </p:val>
                                        </p:tav>
                                      </p:tavLst>
                                    </p:anim>
                                    <p:anim calcmode="lin" valueType="num">
                                      <p:cBhvr>
                                        <p:cTn dur="500" fill="hold" id="47"/>
                                        <p:tgtEl>
                                          <p:spTgt spid="40"/>
                                        </p:tgtEl>
                                        <p:attrNameLst>
                                          <p:attrName>ppt_y</p:attrName>
                                        </p:attrNameLst>
                                      </p:cBhvr>
                                      <p:tavLst>
                                        <p:tav tm="0">
                                          <p:val>
                                            <p:strVal val="1+#ppt_h/2"/>
                                          </p:val>
                                        </p:tav>
                                        <p:tav tm="100000">
                                          <p:val>
                                            <p:strVal val="#ppt_y"/>
                                          </p:val>
                                        </p:tav>
                                      </p:tavLst>
                                    </p:anim>
                                  </p:childTnLst>
                                </p:cTn>
                              </p:par>
                            </p:childTnLst>
                          </p:cTn>
                        </p:par>
                        <p:par>
                          <p:cTn fill="hold" id="48" nodeType="afterGroup">
                            <p:stCondLst>
                              <p:cond delay="1250"/>
                            </p:stCondLst>
                            <p:childTnLst>
                              <p:par>
                                <p:cTn fill="hold" id="49" nodeType="afterEffect" presetClass="mediacall" presetID="1" presetSubtype="0">
                                  <p:stCondLst>
                                    <p:cond delay="0"/>
                                  </p:stCondLst>
                                  <p:childTnLst>
                                    <p:cmd cmd="playFrom(0.0)" type="call">
                                      <p:cBhvr>
                                        <p:cTn dur="1" fill="hold" id="50"/>
                                        <p:tgtEl>
                                          <p:spTgt spid="63"/>
                                        </p:tgtEl>
                                      </p:cBhvr>
                                    </p:cmd>
                                  </p:childTnLst>
                                </p:cTn>
                              </p:par>
                              <p:par>
                                <p:cTn fill="hold" grpId="0" id="52" nodeType="withEffect" presetClass="entr" presetID="2" presetSubtype="4">
                                  <p:stCondLst>
                                    <p:cond delay="0"/>
                                  </p:stCondLst>
                                  <p:childTnLst>
                                    <p:set>
                                      <p:cBhvr>
                                        <p:cTn dur="1" fill="hold" id="53">
                                          <p:stCondLst>
                                            <p:cond delay="0"/>
                                          </p:stCondLst>
                                        </p:cTn>
                                        <p:tgtEl>
                                          <p:spTgt spid="41"/>
                                        </p:tgtEl>
                                        <p:attrNameLst>
                                          <p:attrName>style.visibility</p:attrName>
                                        </p:attrNameLst>
                                      </p:cBhvr>
                                      <p:to>
                                        <p:strVal val="visible"/>
                                      </p:to>
                                    </p:set>
                                    <p:anim calcmode="lin" valueType="num">
                                      <p:cBhvr>
                                        <p:cTn dur="500" fill="hold" id="54"/>
                                        <p:tgtEl>
                                          <p:spTgt spid="41"/>
                                        </p:tgtEl>
                                        <p:attrNameLst>
                                          <p:attrName>ppt_x</p:attrName>
                                        </p:attrNameLst>
                                      </p:cBhvr>
                                      <p:tavLst>
                                        <p:tav tm="0">
                                          <p:val>
                                            <p:strVal val="#ppt_x"/>
                                          </p:val>
                                        </p:tav>
                                        <p:tav tm="100000">
                                          <p:val>
                                            <p:strVal val="#ppt_x"/>
                                          </p:val>
                                        </p:tav>
                                      </p:tavLst>
                                    </p:anim>
                                    <p:anim calcmode="lin" valueType="num">
                                      <p:cBhvr>
                                        <p:cTn dur="500" fill="hold" id="55"/>
                                        <p:tgtEl>
                                          <p:spTgt spid="41"/>
                                        </p:tgtEl>
                                        <p:attrNameLst>
                                          <p:attrName>ppt_y</p:attrName>
                                        </p:attrNameLst>
                                      </p:cBhvr>
                                      <p:tavLst>
                                        <p:tav tm="0">
                                          <p:val>
                                            <p:strVal val="1+#ppt_h/2"/>
                                          </p:val>
                                        </p:tav>
                                        <p:tav tm="100000">
                                          <p:val>
                                            <p:strVal val="#ppt_y"/>
                                          </p:val>
                                        </p:tav>
                                      </p:tavLst>
                                    </p:anim>
                                  </p:childTnLst>
                                </p:cTn>
                              </p:par>
                            </p:childTnLst>
                          </p:cTn>
                        </p:par>
                      </p:childTnLst>
                    </p:cTn>
                  </p:par>
                  <p:par>
                    <p:cTn fill="hold" id="56" nodeType="clickPar">
                      <p:stCondLst>
                        <p:cond delay="indefinite"/>
                        <p:cond delay="0" evt="onBegin">
                          <p:tn val="55"/>
                        </p:cond>
                      </p:stCondLst>
                      <p:childTnLst>
                        <p:par>
                          <p:cTn fill="hold" id="57" nodeType="afterGroup">
                            <p:stCondLst>
                              <p:cond delay="0"/>
                            </p:stCondLst>
                            <p:childTnLst>
                              <p:par>
                                <p:cTn fill="hold" id="58" nodeType="clickEffect" presetClass="entr" presetID="42" presetSubtype="0">
                                  <p:stCondLst>
                                    <p:cond delay="0"/>
                                  </p:stCondLst>
                                  <p:childTnLst>
                                    <p:set>
                                      <p:cBhvr>
                                        <p:cTn dur="1" fill="hold" id="59">
                                          <p:stCondLst>
                                            <p:cond delay="0"/>
                                          </p:stCondLst>
                                        </p:cTn>
                                        <p:tgtEl>
                                          <p:spTgt spid="32"/>
                                        </p:tgtEl>
                                        <p:attrNameLst>
                                          <p:attrName>style.visibility</p:attrName>
                                        </p:attrNameLst>
                                      </p:cBhvr>
                                      <p:to>
                                        <p:strVal val="visible"/>
                                      </p:to>
                                    </p:set>
                                    <p:animEffect filter="fade" transition="in">
                                      <p:cBhvr>
                                        <p:cTn dur="750" id="60"/>
                                        <p:tgtEl>
                                          <p:spTgt spid="32"/>
                                        </p:tgtEl>
                                      </p:cBhvr>
                                    </p:animEffect>
                                    <p:anim calcmode="lin" valueType="num">
                                      <p:cBhvr>
                                        <p:cTn dur="750" fill="hold" id="61"/>
                                        <p:tgtEl>
                                          <p:spTgt spid="32"/>
                                        </p:tgtEl>
                                        <p:attrNameLst>
                                          <p:attrName>ppt_x</p:attrName>
                                        </p:attrNameLst>
                                      </p:cBhvr>
                                      <p:tavLst>
                                        <p:tav tm="0">
                                          <p:val>
                                            <p:strVal val="#ppt_x"/>
                                          </p:val>
                                        </p:tav>
                                        <p:tav tm="100000">
                                          <p:val>
                                            <p:strVal val="#ppt_x"/>
                                          </p:val>
                                        </p:tav>
                                      </p:tavLst>
                                    </p:anim>
                                    <p:anim calcmode="lin" valueType="num">
                                      <p:cBhvr>
                                        <p:cTn dur="750" fill="hold" id="62"/>
                                        <p:tgtEl>
                                          <p:spTgt spid="32"/>
                                        </p:tgtEl>
                                        <p:attrNameLst>
                                          <p:attrName>ppt_y</p:attrName>
                                        </p:attrNameLst>
                                      </p:cBhvr>
                                      <p:tavLst>
                                        <p:tav tm="0">
                                          <p:val>
                                            <p:strVal val="#ppt_y+.1"/>
                                          </p:val>
                                        </p:tav>
                                        <p:tav tm="100000">
                                          <p:val>
                                            <p:strVal val="#ppt_y"/>
                                          </p:val>
                                        </p:tav>
                                      </p:tavLst>
                                    </p:anim>
                                  </p:childTnLst>
                                </p:cTn>
                              </p:par>
                            </p:childTnLst>
                          </p:cTn>
                        </p:par>
                        <p:par>
                          <p:cTn fill="hold" id="63" nodeType="afterGroup">
                            <p:stCondLst>
                              <p:cond delay="750"/>
                            </p:stCondLst>
                            <p:childTnLst>
                              <p:par>
                                <p:cTn fill="hold" grpId="0" id="64" nodeType="afterEffect" presetClass="entr" presetID="2" presetSubtype="1">
                                  <p:stCondLst>
                                    <p:cond delay="0"/>
                                  </p:stCondLst>
                                  <p:childTnLst>
                                    <p:set>
                                      <p:cBhvr>
                                        <p:cTn dur="1" fill="hold" id="65">
                                          <p:stCondLst>
                                            <p:cond delay="0"/>
                                          </p:stCondLst>
                                        </p:cTn>
                                        <p:tgtEl>
                                          <p:spTgt spid="42"/>
                                        </p:tgtEl>
                                        <p:attrNameLst>
                                          <p:attrName>style.visibility</p:attrName>
                                        </p:attrNameLst>
                                      </p:cBhvr>
                                      <p:to>
                                        <p:strVal val="visible"/>
                                      </p:to>
                                    </p:set>
                                    <p:anim calcmode="lin" valueType="num">
                                      <p:cBhvr>
                                        <p:cTn dur="500" fill="hold" id="66"/>
                                        <p:tgtEl>
                                          <p:spTgt spid="42"/>
                                        </p:tgtEl>
                                        <p:attrNameLst>
                                          <p:attrName>ppt_x</p:attrName>
                                        </p:attrNameLst>
                                      </p:cBhvr>
                                      <p:tavLst>
                                        <p:tav tm="0">
                                          <p:val>
                                            <p:strVal val="#ppt_x"/>
                                          </p:val>
                                        </p:tav>
                                        <p:tav tm="100000">
                                          <p:val>
                                            <p:strVal val="#ppt_x"/>
                                          </p:val>
                                        </p:tav>
                                      </p:tavLst>
                                    </p:anim>
                                    <p:anim calcmode="lin" valueType="num">
                                      <p:cBhvr>
                                        <p:cTn dur="500" fill="hold" id="67"/>
                                        <p:tgtEl>
                                          <p:spTgt spid="42"/>
                                        </p:tgtEl>
                                        <p:attrNameLst>
                                          <p:attrName>ppt_y</p:attrName>
                                        </p:attrNameLst>
                                      </p:cBhvr>
                                      <p:tavLst>
                                        <p:tav tm="0">
                                          <p:val>
                                            <p:strVal val="0-#ppt_h/2"/>
                                          </p:val>
                                        </p:tav>
                                        <p:tav tm="100000">
                                          <p:val>
                                            <p:strVal val="#ppt_y"/>
                                          </p:val>
                                        </p:tav>
                                      </p:tavLst>
                                    </p:anim>
                                  </p:childTnLst>
                                </p:cTn>
                              </p:par>
                              <p:par>
                                <p:cTn fill="hold" grpId="0" id="68" nodeType="withEffect" presetClass="entr" presetID="2" presetSubtype="1">
                                  <p:stCondLst>
                                    <p:cond delay="0"/>
                                  </p:stCondLst>
                                  <p:childTnLst>
                                    <p:set>
                                      <p:cBhvr>
                                        <p:cTn dur="1" fill="hold" id="69">
                                          <p:stCondLst>
                                            <p:cond delay="0"/>
                                          </p:stCondLst>
                                        </p:cTn>
                                        <p:tgtEl>
                                          <p:spTgt spid="43"/>
                                        </p:tgtEl>
                                        <p:attrNameLst>
                                          <p:attrName>style.visibility</p:attrName>
                                        </p:attrNameLst>
                                      </p:cBhvr>
                                      <p:to>
                                        <p:strVal val="visible"/>
                                      </p:to>
                                    </p:set>
                                    <p:anim calcmode="lin" valueType="num">
                                      <p:cBhvr>
                                        <p:cTn dur="500" fill="hold" id="70"/>
                                        <p:tgtEl>
                                          <p:spTgt spid="43"/>
                                        </p:tgtEl>
                                        <p:attrNameLst>
                                          <p:attrName>ppt_x</p:attrName>
                                        </p:attrNameLst>
                                      </p:cBhvr>
                                      <p:tavLst>
                                        <p:tav tm="0">
                                          <p:val>
                                            <p:strVal val="#ppt_x"/>
                                          </p:val>
                                        </p:tav>
                                        <p:tav tm="100000">
                                          <p:val>
                                            <p:strVal val="#ppt_x"/>
                                          </p:val>
                                        </p:tav>
                                      </p:tavLst>
                                    </p:anim>
                                    <p:anim calcmode="lin" valueType="num">
                                      <p:cBhvr>
                                        <p:cTn dur="500" fill="hold" id="71"/>
                                        <p:tgtEl>
                                          <p:spTgt spid="43"/>
                                        </p:tgtEl>
                                        <p:attrNameLst>
                                          <p:attrName>ppt_y</p:attrName>
                                        </p:attrNameLst>
                                      </p:cBhvr>
                                      <p:tavLst>
                                        <p:tav tm="0">
                                          <p:val>
                                            <p:strVal val="0-#ppt_h/2"/>
                                          </p:val>
                                        </p:tav>
                                        <p:tav tm="100000">
                                          <p:val>
                                            <p:strVal val="#ppt_y"/>
                                          </p:val>
                                        </p:tav>
                                      </p:tavLst>
                                    </p:anim>
                                  </p:childTnLst>
                                </p:cTn>
                              </p:par>
                            </p:childTnLst>
                          </p:cTn>
                        </p:par>
                      </p:childTnLst>
                    </p:cTn>
                  </p:par>
                  <p:par>
                    <p:cTn fill="hold" id="72" nodeType="clickPar">
                      <p:stCondLst>
                        <p:cond delay="indefinite"/>
                        <p:cond delay="0" evt="onBegin">
                          <p:tn val="71"/>
                        </p:cond>
                      </p:stCondLst>
                      <p:childTnLst>
                        <p:par>
                          <p:cTn fill="hold" id="73" nodeType="afterGroup">
                            <p:stCondLst>
                              <p:cond delay="0"/>
                            </p:stCondLst>
                            <p:childTnLst>
                              <p:par>
                                <p:cTn fill="hold" id="74" nodeType="clickEffect" presetClass="entr" presetID="42" presetSubtype="0">
                                  <p:stCondLst>
                                    <p:cond delay="0"/>
                                  </p:stCondLst>
                                  <p:childTnLst>
                                    <p:set>
                                      <p:cBhvr>
                                        <p:cTn dur="1" fill="hold" id="75">
                                          <p:stCondLst>
                                            <p:cond delay="0"/>
                                          </p:stCondLst>
                                        </p:cTn>
                                        <p:tgtEl>
                                          <p:spTgt spid="29"/>
                                        </p:tgtEl>
                                        <p:attrNameLst>
                                          <p:attrName>style.visibility</p:attrName>
                                        </p:attrNameLst>
                                      </p:cBhvr>
                                      <p:to>
                                        <p:strVal val="visible"/>
                                      </p:to>
                                    </p:set>
                                    <p:animEffect filter="fade" transition="in">
                                      <p:cBhvr>
                                        <p:cTn dur="750" id="76"/>
                                        <p:tgtEl>
                                          <p:spTgt spid="29"/>
                                        </p:tgtEl>
                                      </p:cBhvr>
                                    </p:animEffect>
                                    <p:anim calcmode="lin" valueType="num">
                                      <p:cBhvr>
                                        <p:cTn dur="750" fill="hold" id="77"/>
                                        <p:tgtEl>
                                          <p:spTgt spid="29"/>
                                        </p:tgtEl>
                                        <p:attrNameLst>
                                          <p:attrName>ppt_x</p:attrName>
                                        </p:attrNameLst>
                                      </p:cBhvr>
                                      <p:tavLst>
                                        <p:tav tm="0">
                                          <p:val>
                                            <p:strVal val="#ppt_x"/>
                                          </p:val>
                                        </p:tav>
                                        <p:tav tm="100000">
                                          <p:val>
                                            <p:strVal val="#ppt_x"/>
                                          </p:val>
                                        </p:tav>
                                      </p:tavLst>
                                    </p:anim>
                                    <p:anim calcmode="lin" valueType="num">
                                      <p:cBhvr>
                                        <p:cTn dur="750" fill="hold" id="78"/>
                                        <p:tgtEl>
                                          <p:spTgt spid="29"/>
                                        </p:tgtEl>
                                        <p:attrNameLst>
                                          <p:attrName>ppt_y</p:attrName>
                                        </p:attrNameLst>
                                      </p:cBhvr>
                                      <p:tavLst>
                                        <p:tav tm="0">
                                          <p:val>
                                            <p:strVal val="#ppt_y+.1"/>
                                          </p:val>
                                        </p:tav>
                                        <p:tav tm="100000">
                                          <p:val>
                                            <p:strVal val="#ppt_y"/>
                                          </p:val>
                                        </p:tav>
                                      </p:tavLst>
                                    </p:anim>
                                  </p:childTnLst>
                                </p:cTn>
                              </p:par>
                            </p:childTnLst>
                          </p:cTn>
                        </p:par>
                        <p:par>
                          <p:cTn fill="hold" id="79" nodeType="afterGroup">
                            <p:stCondLst>
                              <p:cond delay="750"/>
                            </p:stCondLst>
                            <p:childTnLst>
                              <p:par>
                                <p:cTn fill="hold" grpId="0" id="80" nodeType="afterEffect" presetClass="entr" presetID="2" presetSubtype="4">
                                  <p:stCondLst>
                                    <p:cond delay="0"/>
                                  </p:stCondLst>
                                  <p:childTnLst>
                                    <p:set>
                                      <p:cBhvr>
                                        <p:cTn dur="1" fill="hold" id="81">
                                          <p:stCondLst>
                                            <p:cond delay="0"/>
                                          </p:stCondLst>
                                        </p:cTn>
                                        <p:tgtEl>
                                          <p:spTgt spid="44"/>
                                        </p:tgtEl>
                                        <p:attrNameLst>
                                          <p:attrName>style.visibility</p:attrName>
                                        </p:attrNameLst>
                                      </p:cBhvr>
                                      <p:to>
                                        <p:strVal val="visible"/>
                                      </p:to>
                                    </p:set>
                                    <p:anim calcmode="lin" valueType="num">
                                      <p:cBhvr>
                                        <p:cTn dur="500" fill="hold" id="82"/>
                                        <p:tgtEl>
                                          <p:spTgt spid="44"/>
                                        </p:tgtEl>
                                        <p:attrNameLst>
                                          <p:attrName>ppt_x</p:attrName>
                                        </p:attrNameLst>
                                      </p:cBhvr>
                                      <p:tavLst>
                                        <p:tav tm="0">
                                          <p:val>
                                            <p:strVal val="#ppt_x"/>
                                          </p:val>
                                        </p:tav>
                                        <p:tav tm="100000">
                                          <p:val>
                                            <p:strVal val="#ppt_x"/>
                                          </p:val>
                                        </p:tav>
                                      </p:tavLst>
                                    </p:anim>
                                    <p:anim calcmode="lin" valueType="num">
                                      <p:cBhvr>
                                        <p:cTn dur="500" fill="hold" id="83"/>
                                        <p:tgtEl>
                                          <p:spTgt spid="44"/>
                                        </p:tgtEl>
                                        <p:attrNameLst>
                                          <p:attrName>ppt_y</p:attrName>
                                        </p:attrNameLst>
                                      </p:cBhvr>
                                      <p:tavLst>
                                        <p:tav tm="0">
                                          <p:val>
                                            <p:strVal val="1+#ppt_h/2"/>
                                          </p:val>
                                        </p:tav>
                                        <p:tav tm="100000">
                                          <p:val>
                                            <p:strVal val="#ppt_y"/>
                                          </p:val>
                                        </p:tav>
                                      </p:tavLst>
                                    </p:anim>
                                  </p:childTnLst>
                                </p:cTn>
                              </p:par>
                              <p:par>
                                <p:cTn fill="hold" grpId="0" id="84" nodeType="withEffect" presetClass="entr" presetID="2" presetSubtype="4">
                                  <p:stCondLst>
                                    <p:cond delay="0"/>
                                  </p:stCondLst>
                                  <p:childTnLst>
                                    <p:set>
                                      <p:cBhvr>
                                        <p:cTn dur="1" fill="hold" id="85">
                                          <p:stCondLst>
                                            <p:cond delay="0"/>
                                          </p:stCondLst>
                                        </p:cTn>
                                        <p:tgtEl>
                                          <p:spTgt spid="45"/>
                                        </p:tgtEl>
                                        <p:attrNameLst>
                                          <p:attrName>style.visibility</p:attrName>
                                        </p:attrNameLst>
                                      </p:cBhvr>
                                      <p:to>
                                        <p:strVal val="visible"/>
                                      </p:to>
                                    </p:set>
                                    <p:anim calcmode="lin" valueType="num">
                                      <p:cBhvr>
                                        <p:cTn dur="500" fill="hold" id="86"/>
                                        <p:tgtEl>
                                          <p:spTgt spid="45"/>
                                        </p:tgtEl>
                                        <p:attrNameLst>
                                          <p:attrName>ppt_x</p:attrName>
                                        </p:attrNameLst>
                                      </p:cBhvr>
                                      <p:tavLst>
                                        <p:tav tm="0">
                                          <p:val>
                                            <p:strVal val="#ppt_x"/>
                                          </p:val>
                                        </p:tav>
                                        <p:tav tm="100000">
                                          <p:val>
                                            <p:strVal val="#ppt_x"/>
                                          </p:val>
                                        </p:tav>
                                      </p:tavLst>
                                    </p:anim>
                                    <p:anim calcmode="lin" valueType="num">
                                      <p:cBhvr>
                                        <p:cTn dur="500" fill="hold" id="87"/>
                                        <p:tgtEl>
                                          <p:spTgt spid="45"/>
                                        </p:tgtEl>
                                        <p:attrNameLst>
                                          <p:attrName>ppt_y</p:attrName>
                                        </p:attrNameLst>
                                      </p:cBhvr>
                                      <p:tavLst>
                                        <p:tav tm="0">
                                          <p:val>
                                            <p:strVal val="1+#ppt_h/2"/>
                                          </p:val>
                                        </p:tav>
                                        <p:tav tm="100000">
                                          <p:val>
                                            <p:strVal val="#ppt_y"/>
                                          </p:val>
                                        </p:tav>
                                      </p:tavLst>
                                    </p:anim>
                                  </p:childTnLst>
                                </p:cTn>
                              </p:par>
                            </p:childTnLst>
                          </p:cTn>
                        </p:par>
                      </p:childTnLst>
                    </p:cTn>
                  </p:par>
                  <p:par>
                    <p:cTn fill="hold" id="88" nodeType="clickPar">
                      <p:stCondLst>
                        <p:cond delay="indefinite"/>
                        <p:cond delay="0" evt="onBegin">
                          <p:tn val="87"/>
                        </p:cond>
                      </p:stCondLst>
                      <p:childTnLst>
                        <p:par>
                          <p:cTn fill="hold" id="89" nodeType="afterGroup">
                            <p:stCondLst>
                              <p:cond delay="0"/>
                            </p:stCondLst>
                            <p:childTnLst>
                              <p:par>
                                <p:cTn fill="hold" id="90" nodeType="clickEffect" presetClass="entr" presetID="42" presetSubtype="0">
                                  <p:stCondLst>
                                    <p:cond delay="0"/>
                                  </p:stCondLst>
                                  <p:childTnLst>
                                    <p:set>
                                      <p:cBhvr>
                                        <p:cTn dur="1" fill="hold" id="91">
                                          <p:stCondLst>
                                            <p:cond delay="0"/>
                                          </p:stCondLst>
                                        </p:cTn>
                                        <p:tgtEl>
                                          <p:spTgt spid="26"/>
                                        </p:tgtEl>
                                        <p:attrNameLst>
                                          <p:attrName>style.visibility</p:attrName>
                                        </p:attrNameLst>
                                      </p:cBhvr>
                                      <p:to>
                                        <p:strVal val="visible"/>
                                      </p:to>
                                    </p:set>
                                    <p:animEffect filter="fade" transition="in">
                                      <p:cBhvr>
                                        <p:cTn dur="750" id="92"/>
                                        <p:tgtEl>
                                          <p:spTgt spid="26"/>
                                        </p:tgtEl>
                                      </p:cBhvr>
                                    </p:animEffect>
                                    <p:anim calcmode="lin" valueType="num">
                                      <p:cBhvr>
                                        <p:cTn dur="750" fill="hold" id="93"/>
                                        <p:tgtEl>
                                          <p:spTgt spid="26"/>
                                        </p:tgtEl>
                                        <p:attrNameLst>
                                          <p:attrName>ppt_x</p:attrName>
                                        </p:attrNameLst>
                                      </p:cBhvr>
                                      <p:tavLst>
                                        <p:tav tm="0">
                                          <p:val>
                                            <p:strVal val="#ppt_x"/>
                                          </p:val>
                                        </p:tav>
                                        <p:tav tm="100000">
                                          <p:val>
                                            <p:strVal val="#ppt_x"/>
                                          </p:val>
                                        </p:tav>
                                      </p:tavLst>
                                    </p:anim>
                                    <p:anim calcmode="lin" valueType="num">
                                      <p:cBhvr>
                                        <p:cTn dur="750" fill="hold" id="94"/>
                                        <p:tgtEl>
                                          <p:spTgt spid="26"/>
                                        </p:tgtEl>
                                        <p:attrNameLst>
                                          <p:attrName>ppt_y</p:attrName>
                                        </p:attrNameLst>
                                      </p:cBhvr>
                                      <p:tavLst>
                                        <p:tav tm="0">
                                          <p:val>
                                            <p:strVal val="#ppt_y+.1"/>
                                          </p:val>
                                        </p:tav>
                                        <p:tav tm="100000">
                                          <p:val>
                                            <p:strVal val="#ppt_y"/>
                                          </p:val>
                                        </p:tav>
                                      </p:tavLst>
                                    </p:anim>
                                  </p:childTnLst>
                                </p:cTn>
                              </p:par>
                            </p:childTnLst>
                          </p:cTn>
                        </p:par>
                        <p:par>
                          <p:cTn fill="hold" id="95" nodeType="afterGroup">
                            <p:stCondLst>
                              <p:cond delay="750"/>
                            </p:stCondLst>
                            <p:childTnLst>
                              <p:par>
                                <p:cTn fill="hold" grpId="0" id="96" nodeType="afterEffect" presetClass="entr" presetID="2" presetSubtype="1">
                                  <p:stCondLst>
                                    <p:cond delay="0"/>
                                  </p:stCondLst>
                                  <p:childTnLst>
                                    <p:set>
                                      <p:cBhvr>
                                        <p:cTn dur="1" fill="hold" id="97">
                                          <p:stCondLst>
                                            <p:cond delay="0"/>
                                          </p:stCondLst>
                                        </p:cTn>
                                        <p:tgtEl>
                                          <p:spTgt spid="46"/>
                                        </p:tgtEl>
                                        <p:attrNameLst>
                                          <p:attrName>style.visibility</p:attrName>
                                        </p:attrNameLst>
                                      </p:cBhvr>
                                      <p:to>
                                        <p:strVal val="visible"/>
                                      </p:to>
                                    </p:set>
                                    <p:anim calcmode="lin" valueType="num">
                                      <p:cBhvr>
                                        <p:cTn dur="500" fill="hold" id="98"/>
                                        <p:tgtEl>
                                          <p:spTgt spid="46"/>
                                        </p:tgtEl>
                                        <p:attrNameLst>
                                          <p:attrName>ppt_x</p:attrName>
                                        </p:attrNameLst>
                                      </p:cBhvr>
                                      <p:tavLst>
                                        <p:tav tm="0">
                                          <p:val>
                                            <p:strVal val="#ppt_x"/>
                                          </p:val>
                                        </p:tav>
                                        <p:tav tm="100000">
                                          <p:val>
                                            <p:strVal val="#ppt_x"/>
                                          </p:val>
                                        </p:tav>
                                      </p:tavLst>
                                    </p:anim>
                                    <p:anim calcmode="lin" valueType="num">
                                      <p:cBhvr>
                                        <p:cTn dur="500" fill="hold" id="99"/>
                                        <p:tgtEl>
                                          <p:spTgt spid="46"/>
                                        </p:tgtEl>
                                        <p:attrNameLst>
                                          <p:attrName>ppt_y</p:attrName>
                                        </p:attrNameLst>
                                      </p:cBhvr>
                                      <p:tavLst>
                                        <p:tav tm="0">
                                          <p:val>
                                            <p:strVal val="0-#ppt_h/2"/>
                                          </p:val>
                                        </p:tav>
                                        <p:tav tm="100000">
                                          <p:val>
                                            <p:strVal val="#ppt_y"/>
                                          </p:val>
                                        </p:tav>
                                      </p:tavLst>
                                    </p:anim>
                                  </p:childTnLst>
                                </p:cTn>
                              </p:par>
                              <p:par>
                                <p:cTn fill="hold" grpId="0" id="100" nodeType="withEffect" presetClass="entr" presetID="2" presetSubtype="1">
                                  <p:stCondLst>
                                    <p:cond delay="0"/>
                                  </p:stCondLst>
                                  <p:childTnLst>
                                    <p:set>
                                      <p:cBhvr>
                                        <p:cTn dur="1" fill="hold" id="101">
                                          <p:stCondLst>
                                            <p:cond delay="0"/>
                                          </p:stCondLst>
                                        </p:cTn>
                                        <p:tgtEl>
                                          <p:spTgt spid="47"/>
                                        </p:tgtEl>
                                        <p:attrNameLst>
                                          <p:attrName>style.visibility</p:attrName>
                                        </p:attrNameLst>
                                      </p:cBhvr>
                                      <p:to>
                                        <p:strVal val="visible"/>
                                      </p:to>
                                    </p:set>
                                    <p:anim calcmode="lin" valueType="num">
                                      <p:cBhvr>
                                        <p:cTn dur="500" fill="hold" id="102"/>
                                        <p:tgtEl>
                                          <p:spTgt spid="47"/>
                                        </p:tgtEl>
                                        <p:attrNameLst>
                                          <p:attrName>ppt_x</p:attrName>
                                        </p:attrNameLst>
                                      </p:cBhvr>
                                      <p:tavLst>
                                        <p:tav tm="0">
                                          <p:val>
                                            <p:strVal val="#ppt_x"/>
                                          </p:val>
                                        </p:tav>
                                        <p:tav tm="100000">
                                          <p:val>
                                            <p:strVal val="#ppt_x"/>
                                          </p:val>
                                        </p:tav>
                                      </p:tavLst>
                                    </p:anim>
                                    <p:anim calcmode="lin" valueType="num">
                                      <p:cBhvr>
                                        <p:cTn dur="500" fill="hold" id="103"/>
                                        <p:tgtEl>
                                          <p:spTgt spid="47"/>
                                        </p:tgtEl>
                                        <p:attrNameLst>
                                          <p:attrName>ppt_y</p:attrName>
                                        </p:attrNameLst>
                                      </p:cBhvr>
                                      <p:tavLst>
                                        <p:tav tm="0">
                                          <p:val>
                                            <p:strVal val="0-#ppt_h/2"/>
                                          </p:val>
                                        </p:tav>
                                        <p:tav tm="100000">
                                          <p:val>
                                            <p:strVal val="#ppt_y"/>
                                          </p:val>
                                        </p:tav>
                                      </p:tavLst>
                                    </p:anim>
                                  </p:childTnLst>
                                </p:cTn>
                              </p:par>
                            </p:childTnLst>
                          </p:cTn>
                        </p:par>
                      </p:childTnLst>
                    </p:cTn>
                  </p:par>
                  <p:par>
                    <p:cTn fill="hold" id="104" nodeType="clickPar">
                      <p:stCondLst>
                        <p:cond delay="indefinite"/>
                        <p:cond delay="0" evt="onBegin">
                          <p:tn val="103"/>
                        </p:cond>
                      </p:stCondLst>
                      <p:childTnLst>
                        <p:par>
                          <p:cTn fill="hold" id="105" nodeType="afterGroup">
                            <p:stCondLst>
                              <p:cond delay="0"/>
                            </p:stCondLst>
                            <p:childTnLst>
                              <p:par>
                                <p:cTn fill="hold" id="106" nodeType="clickEffect" presetClass="entr" presetID="42" presetSubtype="0">
                                  <p:stCondLst>
                                    <p:cond delay="0"/>
                                  </p:stCondLst>
                                  <p:childTnLst>
                                    <p:set>
                                      <p:cBhvr>
                                        <p:cTn dur="1" fill="hold" id="107">
                                          <p:stCondLst>
                                            <p:cond delay="0"/>
                                          </p:stCondLst>
                                        </p:cTn>
                                        <p:tgtEl>
                                          <p:spTgt spid="23"/>
                                        </p:tgtEl>
                                        <p:attrNameLst>
                                          <p:attrName>style.visibility</p:attrName>
                                        </p:attrNameLst>
                                      </p:cBhvr>
                                      <p:to>
                                        <p:strVal val="visible"/>
                                      </p:to>
                                    </p:set>
                                    <p:animEffect filter="fade" transition="in">
                                      <p:cBhvr>
                                        <p:cTn dur="750" id="108"/>
                                        <p:tgtEl>
                                          <p:spTgt spid="23"/>
                                        </p:tgtEl>
                                      </p:cBhvr>
                                    </p:animEffect>
                                    <p:anim calcmode="lin" valueType="num">
                                      <p:cBhvr>
                                        <p:cTn dur="750" fill="hold" id="109"/>
                                        <p:tgtEl>
                                          <p:spTgt spid="23"/>
                                        </p:tgtEl>
                                        <p:attrNameLst>
                                          <p:attrName>ppt_x</p:attrName>
                                        </p:attrNameLst>
                                      </p:cBhvr>
                                      <p:tavLst>
                                        <p:tav tm="0">
                                          <p:val>
                                            <p:strVal val="#ppt_x"/>
                                          </p:val>
                                        </p:tav>
                                        <p:tav tm="100000">
                                          <p:val>
                                            <p:strVal val="#ppt_x"/>
                                          </p:val>
                                        </p:tav>
                                      </p:tavLst>
                                    </p:anim>
                                    <p:anim calcmode="lin" valueType="num">
                                      <p:cBhvr>
                                        <p:cTn dur="750" fill="hold" id="110"/>
                                        <p:tgtEl>
                                          <p:spTgt spid="23"/>
                                        </p:tgtEl>
                                        <p:attrNameLst>
                                          <p:attrName>ppt_y</p:attrName>
                                        </p:attrNameLst>
                                      </p:cBhvr>
                                      <p:tavLst>
                                        <p:tav tm="0">
                                          <p:val>
                                            <p:strVal val="#ppt_y+.1"/>
                                          </p:val>
                                        </p:tav>
                                        <p:tav tm="100000">
                                          <p:val>
                                            <p:strVal val="#ppt_y"/>
                                          </p:val>
                                        </p:tav>
                                      </p:tavLst>
                                    </p:anim>
                                  </p:childTnLst>
                                </p:cTn>
                              </p:par>
                            </p:childTnLst>
                          </p:cTn>
                        </p:par>
                        <p:par>
                          <p:cTn fill="hold" id="111" nodeType="afterGroup">
                            <p:stCondLst>
                              <p:cond delay="750"/>
                            </p:stCondLst>
                            <p:childTnLst>
                              <p:par>
                                <p:cTn fill="hold" grpId="0" id="112" nodeType="afterEffect" presetClass="entr" presetID="2" presetSubtype="4">
                                  <p:stCondLst>
                                    <p:cond delay="0"/>
                                  </p:stCondLst>
                                  <p:childTnLst>
                                    <p:set>
                                      <p:cBhvr>
                                        <p:cTn dur="1" fill="hold" id="113">
                                          <p:stCondLst>
                                            <p:cond delay="0"/>
                                          </p:stCondLst>
                                        </p:cTn>
                                        <p:tgtEl>
                                          <p:spTgt spid="48"/>
                                        </p:tgtEl>
                                        <p:attrNameLst>
                                          <p:attrName>style.visibility</p:attrName>
                                        </p:attrNameLst>
                                      </p:cBhvr>
                                      <p:to>
                                        <p:strVal val="visible"/>
                                      </p:to>
                                    </p:set>
                                    <p:anim calcmode="lin" valueType="num">
                                      <p:cBhvr>
                                        <p:cTn dur="500" fill="hold" id="114"/>
                                        <p:tgtEl>
                                          <p:spTgt spid="48"/>
                                        </p:tgtEl>
                                        <p:attrNameLst>
                                          <p:attrName>ppt_x</p:attrName>
                                        </p:attrNameLst>
                                      </p:cBhvr>
                                      <p:tavLst>
                                        <p:tav tm="0">
                                          <p:val>
                                            <p:strVal val="#ppt_x"/>
                                          </p:val>
                                        </p:tav>
                                        <p:tav tm="100000">
                                          <p:val>
                                            <p:strVal val="#ppt_x"/>
                                          </p:val>
                                        </p:tav>
                                      </p:tavLst>
                                    </p:anim>
                                    <p:anim calcmode="lin" valueType="num">
                                      <p:cBhvr>
                                        <p:cTn dur="500" fill="hold" id="115"/>
                                        <p:tgtEl>
                                          <p:spTgt spid="48"/>
                                        </p:tgtEl>
                                        <p:attrNameLst>
                                          <p:attrName>ppt_y</p:attrName>
                                        </p:attrNameLst>
                                      </p:cBhvr>
                                      <p:tavLst>
                                        <p:tav tm="0">
                                          <p:val>
                                            <p:strVal val="1+#ppt_h/2"/>
                                          </p:val>
                                        </p:tav>
                                        <p:tav tm="100000">
                                          <p:val>
                                            <p:strVal val="#ppt_y"/>
                                          </p:val>
                                        </p:tav>
                                      </p:tavLst>
                                    </p:anim>
                                  </p:childTnLst>
                                </p:cTn>
                              </p:par>
                              <p:par>
                                <p:cTn fill="hold" grpId="0" id="116" nodeType="withEffect" presetClass="entr" presetID="2" presetSubtype="4">
                                  <p:stCondLst>
                                    <p:cond delay="0"/>
                                  </p:stCondLst>
                                  <p:childTnLst>
                                    <p:set>
                                      <p:cBhvr>
                                        <p:cTn dur="1" fill="hold" id="117">
                                          <p:stCondLst>
                                            <p:cond delay="0"/>
                                          </p:stCondLst>
                                        </p:cTn>
                                        <p:tgtEl>
                                          <p:spTgt spid="49"/>
                                        </p:tgtEl>
                                        <p:attrNameLst>
                                          <p:attrName>style.visibility</p:attrName>
                                        </p:attrNameLst>
                                      </p:cBhvr>
                                      <p:to>
                                        <p:strVal val="visible"/>
                                      </p:to>
                                    </p:set>
                                    <p:anim calcmode="lin" valueType="num">
                                      <p:cBhvr>
                                        <p:cTn dur="500" fill="hold" id="118"/>
                                        <p:tgtEl>
                                          <p:spTgt spid="49"/>
                                        </p:tgtEl>
                                        <p:attrNameLst>
                                          <p:attrName>ppt_x</p:attrName>
                                        </p:attrNameLst>
                                      </p:cBhvr>
                                      <p:tavLst>
                                        <p:tav tm="0">
                                          <p:val>
                                            <p:strVal val="#ppt_x"/>
                                          </p:val>
                                        </p:tav>
                                        <p:tav tm="100000">
                                          <p:val>
                                            <p:strVal val="#ppt_x"/>
                                          </p:val>
                                        </p:tav>
                                      </p:tavLst>
                                    </p:anim>
                                    <p:anim calcmode="lin" valueType="num">
                                      <p:cBhvr>
                                        <p:cTn dur="500" fill="hold" id="119"/>
                                        <p:tgtEl>
                                          <p:spTgt spid="49"/>
                                        </p:tgtEl>
                                        <p:attrNameLst>
                                          <p:attrName>ppt_y</p:attrName>
                                        </p:attrNameLst>
                                      </p:cBhvr>
                                      <p:tavLst>
                                        <p:tav tm="0">
                                          <p:val>
                                            <p:strVal val="1+#ppt_h/2"/>
                                          </p:val>
                                        </p:tav>
                                        <p:tav tm="100000">
                                          <p:val>
                                            <p:strVal val="#ppt_y"/>
                                          </p:val>
                                        </p:tav>
                                      </p:tavLst>
                                    </p:anim>
                                  </p:childTnLst>
                                </p:cTn>
                              </p:par>
                            </p:childTnLst>
                          </p:cTn>
                        </p:par>
                      </p:childTnLst>
                    </p:cTn>
                  </p:par>
                  <p:par>
                    <p:cTn fill="hold" id="120" nodeType="clickPar">
                      <p:stCondLst>
                        <p:cond delay="indefinite"/>
                        <p:cond delay="0" evt="onBegin">
                          <p:tn val="119"/>
                        </p:cond>
                      </p:stCondLst>
                      <p:childTnLst>
                        <p:par>
                          <p:cTn fill="hold" id="121" nodeType="afterGroup">
                            <p:stCondLst>
                              <p:cond delay="0"/>
                            </p:stCondLst>
                            <p:childTnLst>
                              <p:par>
                                <p:cTn fill="hold" grpId="0" id="122" nodeType="clickEffect" presetClass="entr" presetID="22" presetSubtype="8">
                                  <p:stCondLst>
                                    <p:cond delay="0"/>
                                  </p:stCondLst>
                                  <p:childTnLst>
                                    <p:set>
                                      <p:cBhvr>
                                        <p:cTn dur="1" fill="hold" id="123">
                                          <p:stCondLst>
                                            <p:cond delay="0"/>
                                          </p:stCondLst>
                                        </p:cTn>
                                        <p:tgtEl>
                                          <p:spTgt spid="22"/>
                                        </p:tgtEl>
                                        <p:attrNameLst>
                                          <p:attrName>style.visibility</p:attrName>
                                        </p:attrNameLst>
                                      </p:cBhvr>
                                      <p:to>
                                        <p:strVal val="visible"/>
                                      </p:to>
                                    </p:set>
                                    <p:animEffect filter="wipe(left)" transition="in">
                                      <p:cBhvr>
                                        <p:cTn dur="500" id="124"/>
                                        <p:tgtEl>
                                          <p:spTgt spid="22"/>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51">
                  <p:stCondLst>
                    <p:cond delay="indefinite"/>
                  </p:stCondLst>
                  <p:endCondLst>
                    <p:cond delay="0" evt="onPrev">
                      <p:tgtEl>
                        <p:sldTgt/>
                      </p:tgtEl>
                    </p:cond>
                    <p:cond delay="0" evt="onStopAudio">
                      <p:tgtEl>
                        <p:sldTgt/>
                      </p:tgtEl>
                    </p:cond>
                  </p:endCondLst>
                </p:cTn>
                <p:tgtEl>
                  <p:spTgt spid="63"/>
                </p:tgtEl>
              </p:cMediaNode>
            </p:audio>
          </p:childTnLst>
        </p:cTn>
      </p:par>
    </p:tnLst>
    <p:bldLst>
      <p:bldP grpId="0" spid="22"/>
      <p:bldP grpId="0" spid="38"/>
      <p:bldP grpId="0" spid="39"/>
      <p:bldP grpId="0" spid="40"/>
      <p:bldP grpId="0" spid="41"/>
      <p:bldP grpId="0" spid="42"/>
      <p:bldP grpId="0" spid="43"/>
      <p:bldP grpId="0" spid="44"/>
      <p:bldP grpId="0" spid="45"/>
      <p:bldP grpId="0" spid="46"/>
      <p:bldP grpId="0" spid="47"/>
      <p:bldP grpId="0" spid="48"/>
      <p:bldP grpId="0" spid="49"/>
      <p:bldP grpId="0" spid="55"/>
      <p:bldP grpId="0" spid="58"/>
    </p:bldLst>
  </p:timing>
  <p:extLst mod="1">
    <p:ext uri="{E180D4A7-C9FB-4DFB-919C-405C955672EB}">
      <p14:showEvtLst>
        <p14:playEvt objId="63" time="1314"/>
        <p14:stopEvt objId="63" time="2061"/>
      </p14:showEvtLst>
    </p:ext>
  </p:extLst>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0" name="AutoShape 2"/>
          <p:cNvSpPr/>
          <p:nvPr/>
        </p:nvSpPr>
        <p:spPr bwMode="auto">
          <a:xfrm>
            <a:off x="5266214" y="3824487"/>
            <a:ext cx="405606" cy="466860"/>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anchor="ctr" bIns="0" lIns="0" rIns="0" tIns="0"/>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defRPr/>
            </a:pPr>
            <a:r>
              <a:rPr altLang="zh-CN" b="0" lang="es-ES" noProof="1" sz="1200">
                <a:solidFill>
                  <a:schemeClr val="bg1">
                    <a:lumMod val="85000"/>
                  </a:schemeClr>
                </a:solidFill>
                <a:latin charset="0" typeface="Helvetica Light"/>
                <a:sym charset="0" typeface="Helvetica Light"/>
              </a:rPr>
              <a:t> </a:t>
            </a:r>
          </a:p>
        </p:txBody>
      </p:sp>
      <p:sp>
        <p:nvSpPr>
          <p:cNvPr id="31" name="AutoShape 4"/>
          <p:cNvSpPr/>
          <p:nvPr/>
        </p:nvSpPr>
        <p:spPr bwMode="auto">
          <a:xfrm>
            <a:off x="3334862" y="2344255"/>
            <a:ext cx="406718" cy="466860"/>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anchor="ctr" bIns="0" lIns="0" rIns="0" tIns="0"/>
          <a:lstStyle/>
          <a:p>
            <a:pPr eaLnBrk="1" hangingPunct="1">
              <a:defRPr/>
            </a:pPr>
            <a:endParaRPr lang="es-ES" noProof="1" sz="1200">
              <a:solidFill>
                <a:schemeClr val="bg1">
                  <a:lumMod val="85000"/>
                </a:schemeClr>
              </a:solidFill>
              <a:latin charset="0" typeface="Helvetica Light"/>
              <a:ea charset="-128" panose="020b0600070205080204" pitchFamily="34" typeface="MS PGothic"/>
              <a:cs charset="0" typeface="Helvetica Light"/>
              <a:sym charset="0" typeface="Helvetica Light"/>
            </a:endParaRPr>
          </a:p>
        </p:txBody>
      </p:sp>
      <p:sp>
        <p:nvSpPr>
          <p:cNvPr id="32" name="AutoShape 6"/>
          <p:cNvSpPr/>
          <p:nvPr/>
        </p:nvSpPr>
        <p:spPr bwMode="auto">
          <a:xfrm>
            <a:off x="5256213" y="2730354"/>
            <a:ext cx="406718" cy="465754"/>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anchor="ctr" bIns="0" lIns="0" rIns="0" tIns="0"/>
          <a:lstStyle/>
          <a:p>
            <a:pPr eaLnBrk="1" hangingPunct="1">
              <a:defRPr/>
            </a:pPr>
            <a:endParaRPr lang="es-ES" noProof="1" sz="1200">
              <a:solidFill>
                <a:schemeClr val="bg1">
                  <a:lumMod val="85000"/>
                </a:schemeClr>
              </a:solidFill>
              <a:latin charset="0" typeface="Helvetica Light"/>
              <a:ea charset="-128" panose="020b0600070205080204" pitchFamily="34" typeface="MS PGothic"/>
              <a:cs charset="0" typeface="Helvetica Light"/>
              <a:sym charset="0" typeface="Helvetica Light"/>
            </a:endParaRPr>
          </a:p>
        </p:txBody>
      </p:sp>
      <p:sp>
        <p:nvSpPr>
          <p:cNvPr id="33" name="AutoShape 8"/>
          <p:cNvSpPr/>
          <p:nvPr/>
        </p:nvSpPr>
        <p:spPr bwMode="auto">
          <a:xfrm>
            <a:off x="3325972" y="1374027"/>
            <a:ext cx="405606" cy="465754"/>
          </a:xfrm>
          <a:custGeom>
            <a:gdLst>
              <a:gd fmla="*/ 2147483647 w 21600" name="T0"/>
              <a:gd fmla="*/ 2147483647 h 21600" name="T1"/>
              <a:gd fmla="*/ 2147483647 w 21600" name="T2"/>
              <a:gd fmla="*/ 2147483647 h 21600" name="T3"/>
              <a:gd fmla="*/ 2147483647 w 21600" name="T4"/>
              <a:gd fmla="*/ 2147483647 h 21600" name="T5"/>
              <a:gd fmla="*/ 2147483647 w 21600" name="T6"/>
              <a:gd fmla="*/ 2147483647 h 21600" name="T7"/>
              <a:gd fmla="*/ 0 60000 65536" name="T8"/>
              <a:gd fmla="*/ 0 60000 65536" name="T9"/>
              <a:gd fmla="*/ 0 60000 65536" name="T10"/>
              <a:gd fmla="*/ 0 60000 65536" name="T11"/>
              <a:gd fmla="*/ 0 w 21600" name="T12"/>
              <a:gd fmla="*/ 0 h 21600" name="T13"/>
              <a:gd fmla="*/ 21600 w 21600" name="T14"/>
              <a:gd fmla="*/ 21600 h 21600" name="T15"/>
            </a:gdLst>
            <a:cxnLst>
              <a:cxn ang="T8">
                <a:pos x="T0" y="T1"/>
              </a:cxn>
              <a:cxn ang="T9">
                <a:pos x="T2" y="T3"/>
              </a:cxn>
              <a:cxn ang="T10">
                <a:pos x="T4" y="T5"/>
              </a:cxn>
              <a:cxn ang="T11">
                <a:pos x="T6" y="T7"/>
              </a:cxn>
            </a:cxnLst>
            <a:rect b="T15" l="T12" r="T14" t="T13"/>
            <a:pathLst>
              <a:path h="21600" w="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anchor="ctr" bIns="0" lIns="0" rIns="0" tIns="0"/>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defRPr/>
            </a:pPr>
            <a:r>
              <a:rPr altLang="zh-CN" b="0" lang="es-ES" noProof="1" sz="1200">
                <a:solidFill>
                  <a:schemeClr val="bg1">
                    <a:lumMod val="85000"/>
                  </a:schemeClr>
                </a:solidFill>
                <a:latin charset="0" typeface="Helvetica Light"/>
                <a:sym charset="0" typeface="Helvetica Light"/>
              </a:rPr>
              <a:t> </a:t>
            </a:r>
          </a:p>
        </p:txBody>
      </p:sp>
      <p:sp>
        <p:nvSpPr>
          <p:cNvPr id="34" name="AutoShape 10"/>
          <p:cNvSpPr/>
          <p:nvPr/>
        </p:nvSpPr>
        <p:spPr bwMode="auto">
          <a:xfrm>
            <a:off x="3350419" y="3431750"/>
            <a:ext cx="405606" cy="466860"/>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anchor="ctr" bIns="0" lIns="0" rIns="0" tIns="0"/>
          <a:lstStyle/>
          <a:p>
            <a:pPr eaLnBrk="1" hangingPunct="1">
              <a:defRPr/>
            </a:pPr>
            <a:endParaRPr lang="es-ES" noProof="1" sz="1200">
              <a:solidFill>
                <a:schemeClr val="bg1">
                  <a:lumMod val="85000"/>
                </a:schemeClr>
              </a:solidFill>
              <a:latin charset="0" typeface="Helvetica Light"/>
              <a:ea charset="-128" panose="020b0600070205080204" pitchFamily="34" typeface="MS PGothic"/>
              <a:cs charset="0" typeface="Helvetica Light"/>
              <a:sym charset="0" typeface="Helvetica Light"/>
            </a:endParaRPr>
          </a:p>
        </p:txBody>
      </p:sp>
      <p:sp>
        <p:nvSpPr>
          <p:cNvPr id="35" name="AutoShape 12"/>
          <p:cNvSpPr>
            <a:spLocks noChangeArrowheads="1"/>
          </p:cNvSpPr>
          <p:nvPr/>
        </p:nvSpPr>
        <p:spPr bwMode="auto">
          <a:xfrm>
            <a:off x="5252879" y="1759021"/>
            <a:ext cx="406718" cy="466860"/>
          </a:xfrm>
          <a:custGeom>
            <a:gdLst>
              <a:gd fmla="*/ 290513 w 21600" name="T0"/>
              <a:gd fmla="*/ 0 h 21600" name="T1"/>
              <a:gd fmla="*/ 580998 w 21600" name="T2"/>
              <a:gd fmla="*/ 167481 h 21600" name="T3"/>
              <a:gd fmla="*/ 580998 w 21600" name="T4"/>
              <a:gd fmla="*/ 502444 h 21600" name="T5"/>
              <a:gd fmla="*/ 290486 w 21600" name="T6"/>
              <a:gd fmla="*/ 669894 h 21600" name="T7"/>
              <a:gd fmla="*/ 0 w 21600" name="T8"/>
              <a:gd fmla="*/ 502413 h 21600" name="T9"/>
              <a:gd fmla="*/ 0 w 21600" name="T10"/>
              <a:gd fmla="*/ 167481 h 21600" name="T11"/>
              <a:gd fmla="*/ 290513 w 21600" name="T12"/>
              <a:gd fmla="*/ 0 h 21600"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21600" w="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a:extLst/>
        </p:spPr>
        <p:txBody>
          <a:bodyPr anchor="ctr" bIns="0" lIns="0" rIns="0" tIns="0"/>
          <a:lstStyle/>
          <a:p>
            <a:endParaRPr altLang="en-US" lang="zh-CN">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cap="flat" cmpd="sng" w="101600">
            <a:solidFill>
              <a:srgbClr val="B9B9B9"/>
            </a:solidFill>
            <a:prstDash val="solid"/>
            <a:round/>
          </a:ln>
          <a:effectLst/>
        </p:spPr>
        <p:txBody>
          <a:bodyPr anchor="ctr" bIns="0" lIns="0" rIns="0" tIns="0"/>
          <a:lstStyle/>
          <a:p>
            <a:pPr defTabSz="168177" eaLnBrk="1" hangingPunct="1">
              <a:defRPr/>
            </a:pPr>
            <a:endParaRPr lang="es-ES" noProof="1" sz="400">
              <a:solidFill>
                <a:schemeClr val="bg1">
                  <a:lumMod val="85000"/>
                </a:schemeClr>
              </a:solidFill>
              <a:latin charset="0" panose="020b0604020202030204" typeface="Helvetica"/>
              <a:ea charset="-128" panose="020b0600070205080204" pitchFamily="34" typeface="MS PGothic"/>
              <a:sym charset="0" panose="020b0604020202030204" typeface="Helvetica"/>
            </a:endParaRPr>
          </a:p>
        </p:txBody>
      </p:sp>
      <p:sp>
        <p:nvSpPr>
          <p:cNvPr id="37" name="Line 17"/>
          <p:cNvSpPr>
            <a:spLocks noChangeShapeType="1"/>
          </p:cNvSpPr>
          <p:nvPr/>
        </p:nvSpPr>
        <p:spPr bwMode="auto">
          <a:xfrm flipV="1">
            <a:off x="3932714" y="2967103"/>
            <a:ext cx="1136808" cy="708033"/>
          </a:xfrm>
          <a:prstGeom prst="line">
            <a:avLst/>
          </a:prstGeom>
          <a:noFill/>
          <a:ln cap="flat" cmpd="sng" w="101600">
            <a:solidFill>
              <a:srgbClr val="B9B9B9"/>
            </a:solidFill>
            <a:prstDash val="solid"/>
            <a:round/>
          </a:ln>
          <a:effectLst/>
        </p:spPr>
        <p:txBody>
          <a:bodyPr anchor="ctr" bIns="0" lIns="0" rIns="0" tIns="0"/>
          <a:lstStyle/>
          <a:p>
            <a:pPr defTabSz="168177" eaLnBrk="1" hangingPunct="1">
              <a:defRPr/>
            </a:pPr>
            <a:endParaRPr lang="es-ES" noProof="1" sz="400">
              <a:solidFill>
                <a:schemeClr val="bg1">
                  <a:lumMod val="85000"/>
                </a:schemeClr>
              </a:solidFill>
              <a:latin charset="0" panose="020b0604020202030204" typeface="Helvetica"/>
              <a:ea charset="-128" panose="020b0600070205080204" pitchFamily="34" typeface="MS PGothic"/>
              <a:sym charset="0" panose="020b0604020202030204" typeface="Helvetica"/>
            </a:endParaRPr>
          </a:p>
        </p:txBody>
      </p:sp>
      <p:sp>
        <p:nvSpPr>
          <p:cNvPr id="38" name="Line 18"/>
          <p:cNvSpPr>
            <a:spLocks noChangeShapeType="1"/>
          </p:cNvSpPr>
          <p:nvPr/>
        </p:nvSpPr>
        <p:spPr bwMode="auto">
          <a:xfrm>
            <a:off x="3930492" y="2583216"/>
            <a:ext cx="1137920" cy="381674"/>
          </a:xfrm>
          <a:prstGeom prst="line">
            <a:avLst/>
          </a:prstGeom>
          <a:noFill/>
          <a:ln cap="flat" cmpd="sng" w="101600">
            <a:solidFill>
              <a:srgbClr val="B9B9B9"/>
            </a:solidFill>
            <a:prstDash val="solid"/>
            <a:round/>
          </a:ln>
          <a:effectLst/>
        </p:spPr>
        <p:txBody>
          <a:bodyPr anchor="ctr" bIns="0" lIns="0" rIns="0" tIns="0"/>
          <a:lstStyle/>
          <a:p>
            <a:pPr defTabSz="168177" eaLnBrk="1" hangingPunct="1">
              <a:defRPr/>
            </a:pPr>
            <a:endParaRPr lang="es-ES" noProof="1" sz="400">
              <a:solidFill>
                <a:schemeClr val="bg1">
                  <a:lumMod val="85000"/>
                </a:schemeClr>
              </a:solidFill>
              <a:latin charset="0" panose="020b0604020202030204" typeface="Helvetica"/>
              <a:ea charset="-128" panose="020b0600070205080204" pitchFamily="34" typeface="MS PGothic"/>
              <a:sym charset="0" panose="020b0604020202030204" typeface="Helvetica"/>
            </a:endParaRPr>
          </a:p>
        </p:txBody>
      </p:sp>
      <p:sp>
        <p:nvSpPr>
          <p:cNvPr id="39" name="Line 19"/>
          <p:cNvSpPr>
            <a:spLocks noChangeShapeType="1"/>
          </p:cNvSpPr>
          <p:nvPr/>
        </p:nvSpPr>
        <p:spPr bwMode="auto">
          <a:xfrm flipV="1">
            <a:off x="3932714" y="2006833"/>
            <a:ext cx="1113473" cy="578596"/>
          </a:xfrm>
          <a:prstGeom prst="line">
            <a:avLst/>
          </a:prstGeom>
          <a:noFill/>
          <a:ln cap="flat" cmpd="sng" w="101600">
            <a:solidFill>
              <a:srgbClr val="B9B9B9"/>
            </a:solidFill>
            <a:prstDash val="solid"/>
            <a:round/>
          </a:ln>
          <a:effectLst/>
        </p:spPr>
        <p:txBody>
          <a:bodyPr anchor="ctr" bIns="0" lIns="0" rIns="0" tIns="0"/>
          <a:lstStyle/>
          <a:p>
            <a:pPr defTabSz="168177" eaLnBrk="1" hangingPunct="1">
              <a:defRPr/>
            </a:pPr>
            <a:endParaRPr lang="es-ES" noProof="1" sz="400">
              <a:solidFill>
                <a:schemeClr val="bg1">
                  <a:lumMod val="85000"/>
                </a:schemeClr>
              </a:solidFill>
              <a:latin charset="0" panose="020b0604020202030204" typeface="Helvetica"/>
              <a:ea charset="-128" panose="020b0600070205080204" pitchFamily="34" typeface="MS PGothic"/>
              <a:sym charset="0" panose="020b0604020202030204" typeface="Helvetica"/>
            </a:endParaRPr>
          </a:p>
        </p:txBody>
      </p:sp>
      <p:sp>
        <p:nvSpPr>
          <p:cNvPr id="40" name="Line 20"/>
          <p:cNvSpPr>
            <a:spLocks noChangeShapeType="1"/>
          </p:cNvSpPr>
          <p:nvPr/>
        </p:nvSpPr>
        <p:spPr bwMode="auto">
          <a:xfrm>
            <a:off x="3941604" y="1605245"/>
            <a:ext cx="1101248" cy="392737"/>
          </a:xfrm>
          <a:prstGeom prst="line">
            <a:avLst/>
          </a:prstGeom>
          <a:noFill/>
          <a:ln cap="flat" cmpd="sng" w="101600">
            <a:solidFill>
              <a:srgbClr val="B9B9B9"/>
            </a:solidFill>
            <a:prstDash val="solid"/>
            <a:round/>
          </a:ln>
          <a:effectLst/>
        </p:spPr>
        <p:txBody>
          <a:bodyPr anchor="ctr" bIns="0" lIns="0" rIns="0" tIns="0"/>
          <a:lstStyle/>
          <a:p>
            <a:pPr defTabSz="168177" eaLnBrk="1" hangingPunct="1">
              <a:defRPr/>
            </a:pPr>
            <a:endParaRPr lang="es-ES" noProof="1" sz="400">
              <a:solidFill>
                <a:schemeClr val="bg1">
                  <a:lumMod val="85000"/>
                </a:schemeClr>
              </a:solidFill>
              <a:latin charset="0" panose="020b0604020202030204" typeface="Helvetica"/>
              <a:ea charset="-128" panose="020b0600070205080204" pitchFamily="34" typeface="MS PGothic"/>
              <a:sym charset="0" panose="020b0604020202030204" typeface="Helvetica"/>
            </a:endParaRPr>
          </a:p>
        </p:txBody>
      </p:sp>
      <p:sp>
        <p:nvSpPr>
          <p:cNvPr id="41" name="AutoShape 21"/>
          <p:cNvSpPr/>
          <p:nvPr/>
        </p:nvSpPr>
        <p:spPr bwMode="auto">
          <a:xfrm>
            <a:off x="4962843" y="1915009"/>
            <a:ext cx="160020" cy="159308"/>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cap="flat" cmpd="sng" w="25400">
            <a:solidFill>
              <a:srgbClr val="000000">
                <a:alpha val="0"/>
              </a:srgbClr>
            </a:solidFill>
            <a:prstDash val="solid"/>
            <a:miter lim="0"/>
          </a:ln>
          <a:effectLst/>
        </p:spPr>
        <p:txBody>
          <a:bodyPr anchor="ctr" bIns="0" lIns="0" rIns="0" tIns="0"/>
          <a:lstStyle/>
          <a:p>
            <a:pPr defTabSz="215213" eaLnBrk="1" hangingPunct="1">
              <a:defRPr/>
            </a:pPr>
            <a:endParaRPr lang="es-ES" noProof="1" sz="1500">
              <a:solidFill>
                <a:schemeClr val="bg1">
                  <a:lumMod val="85000"/>
                </a:schemeClr>
              </a:solidFill>
              <a:effectLst>
                <a:outerShdw algn="tl" blurRad="38100" dir="2700000" dist="38100">
                  <a:srgbClr val="000000"/>
                </a:outerShdw>
              </a:effectLst>
              <a:latin charset="0" typeface="Gill Sans"/>
              <a:ea charset="-128" panose="020b0600070205080204" pitchFamily="34" typeface="MS PGothic"/>
              <a:cs charset="0" typeface="Gill Sans"/>
              <a:sym charset="0" typeface="Gill Sans"/>
            </a:endParaRPr>
          </a:p>
        </p:txBody>
      </p:sp>
      <p:sp>
        <p:nvSpPr>
          <p:cNvPr id="42" name="AutoShape 22"/>
          <p:cNvSpPr/>
          <p:nvPr/>
        </p:nvSpPr>
        <p:spPr bwMode="auto">
          <a:xfrm>
            <a:off x="4987290" y="2879705"/>
            <a:ext cx="160020" cy="158201"/>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cap="flat" cmpd="sng" w="25400">
            <a:solidFill>
              <a:srgbClr val="000000">
                <a:alpha val="0"/>
              </a:srgbClr>
            </a:solidFill>
            <a:prstDash val="solid"/>
            <a:miter lim="0"/>
          </a:ln>
          <a:effectLst/>
        </p:spPr>
        <p:txBody>
          <a:bodyPr anchor="ctr" bIns="0" lIns="0" rIns="0" tIns="0"/>
          <a:lstStyle/>
          <a:p>
            <a:pPr defTabSz="215213" eaLnBrk="1" hangingPunct="1">
              <a:defRPr/>
            </a:pPr>
            <a:endParaRPr lang="es-ES" noProof="1" sz="1500">
              <a:solidFill>
                <a:schemeClr val="bg1">
                  <a:lumMod val="85000"/>
                </a:schemeClr>
              </a:solidFill>
              <a:effectLst>
                <a:outerShdw algn="tl" blurRad="38100" dir="2700000" dist="38100">
                  <a:srgbClr val="000000"/>
                </a:outerShdw>
              </a:effectLst>
              <a:latin charset="0" typeface="Gill Sans"/>
              <a:ea charset="-128" panose="020b0600070205080204" pitchFamily="34" typeface="MS PGothic"/>
              <a:cs charset="0" typeface="Gill Sans"/>
              <a:sym charset="0" typeface="Gill Sans"/>
            </a:endParaRPr>
          </a:p>
        </p:txBody>
      </p:sp>
      <p:sp>
        <p:nvSpPr>
          <p:cNvPr id="43" name="AutoShape 23"/>
          <p:cNvSpPr/>
          <p:nvPr/>
        </p:nvSpPr>
        <p:spPr bwMode="auto">
          <a:xfrm>
            <a:off x="5019517" y="3962775"/>
            <a:ext cx="158908" cy="158202"/>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cap="flat" cmpd="sng" w="25400">
            <a:solidFill>
              <a:srgbClr val="000000">
                <a:alpha val="0"/>
              </a:srgbClr>
            </a:solidFill>
            <a:prstDash val="solid"/>
            <a:miter lim="0"/>
          </a:ln>
          <a:effectLst/>
        </p:spPr>
        <p:txBody>
          <a:bodyPr anchor="ctr" bIns="0" lIns="0" rIns="0" tIns="0"/>
          <a:lstStyle/>
          <a:p>
            <a:pPr defTabSz="215213" eaLnBrk="1" hangingPunct="1">
              <a:defRPr/>
            </a:pPr>
            <a:endParaRPr lang="es-ES" noProof="1" sz="1500">
              <a:solidFill>
                <a:schemeClr val="bg1">
                  <a:lumMod val="85000"/>
                </a:schemeClr>
              </a:solidFill>
              <a:effectLst>
                <a:outerShdw algn="tl" blurRad="38100" dir="2700000" dist="38100">
                  <a:srgbClr val="000000"/>
                </a:outerShdw>
              </a:effectLst>
              <a:latin charset="0" typeface="Gill Sans"/>
              <a:ea charset="-128" panose="020b0600070205080204" pitchFamily="34" typeface="MS PGothic"/>
              <a:cs charset="0" typeface="Gill Sans"/>
              <a:sym charset="0" typeface="Gill Sans"/>
            </a:endParaRPr>
          </a:p>
        </p:txBody>
      </p:sp>
      <p:sp>
        <p:nvSpPr>
          <p:cNvPr id="44" name="AutoShape 24"/>
          <p:cNvSpPr/>
          <p:nvPr/>
        </p:nvSpPr>
        <p:spPr bwMode="auto">
          <a:xfrm>
            <a:off x="3872707" y="1523378"/>
            <a:ext cx="160020" cy="158201"/>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cap="flat" cmpd="sng" w="25400">
            <a:solidFill>
              <a:srgbClr val="000000">
                <a:alpha val="0"/>
              </a:srgbClr>
            </a:solidFill>
            <a:prstDash val="solid"/>
            <a:miter lim="0"/>
          </a:ln>
          <a:effectLst/>
        </p:spPr>
        <p:txBody>
          <a:bodyPr anchor="ctr" bIns="0" lIns="0" rIns="0" tIns="0"/>
          <a:lstStyle/>
          <a:p>
            <a:pPr algn="r" defTabSz="215213" eaLnBrk="1" hangingPunct="1">
              <a:defRPr/>
            </a:pPr>
            <a:endParaRPr lang="es-ES" noProof="1" sz="1500">
              <a:solidFill>
                <a:schemeClr val="bg1">
                  <a:lumMod val="85000"/>
                </a:schemeClr>
              </a:solidFill>
              <a:effectLst>
                <a:outerShdw algn="tl" blurRad="38100" dir="2700000" dist="38100">
                  <a:srgbClr val="000000"/>
                </a:outerShdw>
              </a:effectLst>
              <a:latin charset="0" typeface="Gill Sans"/>
              <a:ea charset="-128" panose="020b0600070205080204" pitchFamily="34" typeface="MS PGothic"/>
              <a:cs charset="0" typeface="Gill Sans"/>
              <a:sym charset="0" typeface="Gill Sans"/>
            </a:endParaRPr>
          </a:p>
        </p:txBody>
      </p:sp>
      <p:sp>
        <p:nvSpPr>
          <p:cNvPr id="45" name="AutoShape 25"/>
          <p:cNvSpPr/>
          <p:nvPr/>
        </p:nvSpPr>
        <p:spPr bwMode="auto">
          <a:xfrm>
            <a:off x="3860483" y="2493605"/>
            <a:ext cx="158909" cy="159308"/>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cap="flat" cmpd="sng" w="25400">
            <a:solidFill>
              <a:srgbClr val="000000">
                <a:alpha val="0"/>
              </a:srgbClr>
            </a:solidFill>
            <a:prstDash val="solid"/>
            <a:miter lim="0"/>
          </a:ln>
          <a:effectLst/>
        </p:spPr>
        <p:txBody>
          <a:bodyPr anchor="ctr" bIns="0" lIns="0" rIns="0" tIns="0"/>
          <a:lstStyle/>
          <a:p>
            <a:pPr algn="r" defTabSz="215213" eaLnBrk="1" hangingPunct="1">
              <a:defRPr/>
            </a:pPr>
            <a:endParaRPr lang="es-ES" noProof="1" sz="1500">
              <a:solidFill>
                <a:schemeClr val="bg1">
                  <a:lumMod val="85000"/>
                </a:schemeClr>
              </a:solidFill>
              <a:effectLst>
                <a:outerShdw algn="tl" blurRad="38100" dir="2700000" dist="38100">
                  <a:srgbClr val="000000"/>
                </a:outerShdw>
              </a:effectLst>
              <a:latin charset="0" typeface="Gill Sans"/>
              <a:ea charset="-128" panose="020b0600070205080204" pitchFamily="34" typeface="MS PGothic"/>
              <a:cs charset="0" typeface="Gill Sans"/>
              <a:sym charset="0" typeface="Gill Sans"/>
            </a:endParaRPr>
          </a:p>
        </p:txBody>
      </p:sp>
      <p:sp>
        <p:nvSpPr>
          <p:cNvPr id="46" name="AutoShape 26"/>
          <p:cNvSpPr/>
          <p:nvPr/>
        </p:nvSpPr>
        <p:spPr bwMode="auto">
          <a:xfrm>
            <a:off x="3854927" y="3588844"/>
            <a:ext cx="158908" cy="159308"/>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cap="flat" cmpd="sng" w="25400">
            <a:solidFill>
              <a:srgbClr val="000000">
                <a:alpha val="0"/>
              </a:srgbClr>
            </a:solidFill>
            <a:prstDash val="solid"/>
            <a:miter lim="0"/>
          </a:ln>
          <a:effectLst/>
        </p:spPr>
        <p:txBody>
          <a:bodyPr anchor="ctr" bIns="0" lIns="0" rIns="0" tIns="0"/>
          <a:lstStyle/>
          <a:p>
            <a:pPr algn="r" defTabSz="215213" eaLnBrk="1" hangingPunct="1">
              <a:defRPr/>
            </a:pPr>
            <a:endParaRPr lang="es-ES" noProof="1" sz="1500">
              <a:solidFill>
                <a:schemeClr val="bg1">
                  <a:lumMod val="85000"/>
                </a:schemeClr>
              </a:solidFill>
              <a:effectLst>
                <a:outerShdw algn="tl" blurRad="38100" dir="2700000" dist="38100">
                  <a:srgbClr val="000000"/>
                </a:outerShdw>
              </a:effectLst>
              <a:latin charset="0" typeface="Gill Sans"/>
              <a:ea charset="-128" panose="020b0600070205080204" pitchFamily="34" typeface="MS PGothic"/>
              <a:cs charset="0" pitchFamily="34" typeface="Arial"/>
              <a:sym charset="0" typeface="Gill Sans"/>
            </a:endParaRPr>
          </a:p>
        </p:txBody>
      </p:sp>
      <p:sp>
        <p:nvSpPr>
          <p:cNvPr id="47" name="TextBox 23"/>
          <p:cNvSpPr txBox="1">
            <a:spLocks noChangeArrowheads="1"/>
          </p:cNvSpPr>
          <p:nvPr/>
        </p:nvSpPr>
        <p:spPr bwMode="auto">
          <a:xfrm>
            <a:off x="1044575" y="1574268"/>
            <a:ext cx="1806893"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48" name="TextBox 24"/>
          <p:cNvSpPr txBox="1">
            <a:spLocks noChangeArrowheads="1"/>
          </p:cNvSpPr>
          <p:nvPr/>
        </p:nvSpPr>
        <p:spPr bwMode="auto">
          <a:xfrm>
            <a:off x="1745772" y="1374027"/>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algn="r" eaLnBrk="1" hangingPunct="1"/>
            <a:r>
              <a:rPr altLang="en-US" lang="zh-CN" sz="1100">
                <a:solidFill>
                  <a:schemeClr val="bg1">
                    <a:lumMod val="85000"/>
                  </a:schemeClr>
                </a:solidFill>
                <a:ea charset="-122" panose="020b0503020204020204" pitchFamily="34" typeface="微软雅黑"/>
              </a:rPr>
              <a:t>请替换文字内容</a:t>
            </a:r>
          </a:p>
        </p:txBody>
      </p:sp>
      <p:sp>
        <p:nvSpPr>
          <p:cNvPr id="49" name="TextBox 23"/>
          <p:cNvSpPr txBox="1">
            <a:spLocks noChangeArrowheads="1"/>
          </p:cNvSpPr>
          <p:nvPr/>
        </p:nvSpPr>
        <p:spPr bwMode="auto">
          <a:xfrm>
            <a:off x="1044575" y="2527901"/>
            <a:ext cx="1806893"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50" name="TextBox 24"/>
          <p:cNvSpPr txBox="1">
            <a:spLocks noChangeArrowheads="1"/>
          </p:cNvSpPr>
          <p:nvPr/>
        </p:nvSpPr>
        <p:spPr bwMode="auto">
          <a:xfrm>
            <a:off x="1745772" y="2326554"/>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algn="r" eaLnBrk="1" hangingPunct="1"/>
            <a:r>
              <a:rPr altLang="en-US" lang="zh-CN" sz="1100">
                <a:solidFill>
                  <a:schemeClr val="bg1">
                    <a:lumMod val="85000"/>
                  </a:schemeClr>
                </a:solidFill>
                <a:ea charset="-122" panose="020b0503020204020204" pitchFamily="34" typeface="微软雅黑"/>
              </a:rPr>
              <a:t>请替换文字内容</a:t>
            </a:r>
          </a:p>
        </p:txBody>
      </p:sp>
      <p:sp>
        <p:nvSpPr>
          <p:cNvPr id="51" name="TextBox 23"/>
          <p:cNvSpPr txBox="1">
            <a:spLocks noChangeArrowheads="1"/>
          </p:cNvSpPr>
          <p:nvPr/>
        </p:nvSpPr>
        <p:spPr bwMode="auto">
          <a:xfrm>
            <a:off x="1044575" y="3524679"/>
            <a:ext cx="1806893"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algn="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52" name="TextBox 24"/>
          <p:cNvSpPr txBox="1">
            <a:spLocks noChangeArrowheads="1"/>
          </p:cNvSpPr>
          <p:nvPr/>
        </p:nvSpPr>
        <p:spPr bwMode="auto">
          <a:xfrm>
            <a:off x="1745772" y="3324439"/>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algn="r" eaLnBrk="1" hangingPunct="1"/>
            <a:r>
              <a:rPr altLang="en-US" lang="zh-CN" sz="1100">
                <a:solidFill>
                  <a:schemeClr val="bg1">
                    <a:lumMod val="85000"/>
                  </a:schemeClr>
                </a:solidFill>
                <a:ea charset="-122" panose="020b0503020204020204" pitchFamily="34" typeface="微软雅黑"/>
              </a:rPr>
              <a:t>请替换文字内容</a:t>
            </a:r>
          </a:p>
        </p:txBody>
      </p:sp>
      <p:sp>
        <p:nvSpPr>
          <p:cNvPr id="53" name="TextBox 23"/>
          <p:cNvSpPr txBox="1">
            <a:spLocks noChangeArrowheads="1"/>
          </p:cNvSpPr>
          <p:nvPr/>
        </p:nvSpPr>
        <p:spPr bwMode="auto">
          <a:xfrm>
            <a:off x="6191886" y="1715875"/>
            <a:ext cx="1806893"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54" name="TextBox 24"/>
          <p:cNvSpPr txBox="1">
            <a:spLocks noChangeArrowheads="1"/>
          </p:cNvSpPr>
          <p:nvPr/>
        </p:nvSpPr>
        <p:spPr bwMode="auto">
          <a:xfrm>
            <a:off x="6191884" y="1525591"/>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55" name="TextBox 23"/>
          <p:cNvSpPr txBox="1">
            <a:spLocks noChangeArrowheads="1"/>
          </p:cNvSpPr>
          <p:nvPr/>
        </p:nvSpPr>
        <p:spPr bwMode="auto">
          <a:xfrm>
            <a:off x="6191886" y="2669508"/>
            <a:ext cx="1806893"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56" name="TextBox 24"/>
          <p:cNvSpPr txBox="1">
            <a:spLocks noChangeArrowheads="1"/>
          </p:cNvSpPr>
          <p:nvPr/>
        </p:nvSpPr>
        <p:spPr bwMode="auto">
          <a:xfrm>
            <a:off x="6191884" y="2478117"/>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57" name="TextBox 23"/>
          <p:cNvSpPr txBox="1">
            <a:spLocks noChangeArrowheads="1"/>
          </p:cNvSpPr>
          <p:nvPr/>
        </p:nvSpPr>
        <p:spPr bwMode="auto">
          <a:xfrm>
            <a:off x="6191886" y="3666286"/>
            <a:ext cx="1806893"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点击添加相关标题文字。</a:t>
            </a:r>
          </a:p>
        </p:txBody>
      </p:sp>
      <p:sp>
        <p:nvSpPr>
          <p:cNvPr id="58" name="TextBox 24"/>
          <p:cNvSpPr txBox="1">
            <a:spLocks noChangeArrowheads="1"/>
          </p:cNvSpPr>
          <p:nvPr/>
        </p:nvSpPr>
        <p:spPr bwMode="auto">
          <a:xfrm>
            <a:off x="6191884" y="3476003"/>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59" name="平行四边形 58"/>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平行四边形 59"/>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1" name="平行四边形 60"/>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2" name="平行四边形 61"/>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65" name="Group 7"/>
          <p:cNvGrpSpPr/>
          <p:nvPr/>
        </p:nvGrpSpPr>
        <p:grpSpPr>
          <a:xfrm>
            <a:off x="180202" y="181952"/>
            <a:ext cx="216018" cy="113981"/>
            <a:chExt cx="1041399" cy="549275"/>
          </a:xfrm>
          <a:solidFill>
            <a:srgbClr val="133E73"/>
          </a:solidFill>
        </p:grpSpPr>
        <p:sp>
          <p:nvSpPr>
            <p:cNvPr id="66"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67"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68"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69"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65"/>
                                        </p:tgtEl>
                                        <p:attrNameLst>
                                          <p:attrName>style.visibility</p:attrName>
                                        </p:attrNameLst>
                                      </p:cBhvr>
                                      <p:to>
                                        <p:strVal val="visible"/>
                                      </p:to>
                                    </p:set>
                                    <p:anim calcmode="lin" valueType="num">
                                      <p:cBhvr additive="base">
                                        <p:cTn dur="500" fill="hold" id="7"/>
                                        <p:tgtEl>
                                          <p:spTgt spid="65"/>
                                        </p:tgtEl>
                                        <p:attrNameLst>
                                          <p:attrName>ppt_x</p:attrName>
                                        </p:attrNameLst>
                                      </p:cBhvr>
                                      <p:tavLst>
                                        <p:tav tm="0">
                                          <p:val>
                                            <p:strVal val="0-#ppt_w/2"/>
                                          </p:val>
                                        </p:tav>
                                        <p:tav tm="100000">
                                          <p:val>
                                            <p:strVal val="#ppt_x"/>
                                          </p:val>
                                        </p:tav>
                                      </p:tavLst>
                                    </p:anim>
                                    <p:anim calcmode="lin" valueType="num">
                                      <p:cBhvr additive="base">
                                        <p:cTn dur="500" fill="hold" id="8"/>
                                        <p:tgtEl>
                                          <p:spTgt spid="65"/>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64"/>
                                        </p:tgtEl>
                                        <p:attrNameLst>
                                          <p:attrName>style.visibility</p:attrName>
                                        </p:attrNameLst>
                                      </p:cBhvr>
                                      <p:to>
                                        <p:strVal val="visible"/>
                                      </p:to>
                                    </p:set>
                                    <p:anim calcmode="lin" valueType="num">
                                      <p:cBhvr>
                                        <p:cTn dur="500" fill="hold" id="12"/>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64"/>
                                        </p:tgtEl>
                                        <p:attrNameLst>
                                          <p:attrName>ppt_y</p:attrName>
                                        </p:attrNameLst>
                                      </p:cBhvr>
                                      <p:tavLst>
                                        <p:tav tm="0">
                                          <p:val>
                                            <p:strVal val="#ppt_y"/>
                                          </p:val>
                                        </p:tav>
                                        <p:tav tm="100000">
                                          <p:val>
                                            <p:strVal val="#ppt_y"/>
                                          </p:val>
                                        </p:tav>
                                      </p:tavLst>
                                    </p:anim>
                                    <p:anim calcmode="lin" valueType="num">
                                      <p:cBhvr>
                                        <p:cTn dur="500" fill="hold" id="14"/>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64"/>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64"/>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61"/>
                                        </p:tgtEl>
                                        <p:attrNameLst>
                                          <p:attrName>fillcolor</p:attrName>
                                        </p:attrNameLst>
                                      </p:cBhvr>
                                      <p:to>
                                        <a:srgbClr val="00AEEF"/>
                                      </p:to>
                                    </p:animClr>
                                    <p:set>
                                      <p:cBhvr>
                                        <p:cTn dur="300" fill="hold" id="20"/>
                                        <p:tgtEl>
                                          <p:spTgt spid="61"/>
                                        </p:tgtEl>
                                        <p:attrNameLst>
                                          <p:attrName>fill.type</p:attrName>
                                        </p:attrNameLst>
                                      </p:cBhvr>
                                      <p:to>
                                        <p:strVal val="solid"/>
                                      </p:to>
                                    </p:set>
                                    <p:set>
                                      <p:cBhvr>
                                        <p:cTn dur="300" fill="hold" id="21"/>
                                        <p:tgtEl>
                                          <p:spTgt spid="61"/>
                                        </p:tgtEl>
                                        <p:attrNameLst>
                                          <p:attrName>fill.on</p:attrName>
                                        </p:attrNameLst>
                                      </p:cBhvr>
                                      <p:to>
                                        <p:strVal val="true"/>
                                      </p:to>
                                    </p:set>
                                  </p:childTnLst>
                                </p:cTn>
                              </p:par>
                            </p:childTnLst>
                          </p:cTn>
                        </p:par>
                        <p:par>
                          <p:cTn fill="hold" id="22" nodeType="afterGroup">
                            <p:stCondLst>
                              <p:cond delay="1300"/>
                            </p:stCondLst>
                            <p:childTnLst>
                              <p:par>
                                <p:cTn fill="hold" grpId="0" id="23" nodeType="afterEffect" presetClass="entr" presetID="9" presetSubtype="0">
                                  <p:stCondLst>
                                    <p:cond delay="100"/>
                                  </p:stCondLst>
                                  <p:childTnLst>
                                    <p:set>
                                      <p:cBhvr>
                                        <p:cTn dur="1" fill="hold" id="24">
                                          <p:stCondLst>
                                            <p:cond delay="0"/>
                                          </p:stCondLst>
                                        </p:cTn>
                                        <p:tgtEl>
                                          <p:spTgt spid="33"/>
                                        </p:tgtEl>
                                        <p:attrNameLst>
                                          <p:attrName>style.visibility</p:attrName>
                                        </p:attrNameLst>
                                      </p:cBhvr>
                                      <p:to>
                                        <p:strVal val="visible"/>
                                      </p:to>
                                    </p:set>
                                    <p:animEffect filter="dissolve" transition="in">
                                      <p:cBhvr>
                                        <p:cTn dur="500" id="25"/>
                                        <p:tgtEl>
                                          <p:spTgt spid="33"/>
                                        </p:tgtEl>
                                      </p:cBhvr>
                                    </p:animEffect>
                                  </p:childTnLst>
                                </p:cTn>
                              </p:par>
                            </p:childTnLst>
                          </p:cTn>
                        </p:par>
                        <p:par>
                          <p:cTn fill="hold" id="26" nodeType="afterGroup">
                            <p:stCondLst>
                              <p:cond delay="1900"/>
                            </p:stCondLst>
                            <p:childTnLst>
                              <p:par>
                                <p:cTn fill="hold" grpId="0" id="27" nodeType="afterEffect" presetClass="entr" presetID="9" presetSubtype="0">
                                  <p:stCondLst>
                                    <p:cond delay="100"/>
                                  </p:stCondLst>
                                  <p:childTnLst>
                                    <p:set>
                                      <p:cBhvr>
                                        <p:cTn dur="1" fill="hold" id="28">
                                          <p:stCondLst>
                                            <p:cond delay="0"/>
                                          </p:stCondLst>
                                        </p:cTn>
                                        <p:tgtEl>
                                          <p:spTgt spid="35"/>
                                        </p:tgtEl>
                                        <p:attrNameLst>
                                          <p:attrName>style.visibility</p:attrName>
                                        </p:attrNameLst>
                                      </p:cBhvr>
                                      <p:to>
                                        <p:strVal val="visible"/>
                                      </p:to>
                                    </p:set>
                                    <p:animEffect filter="dissolve" transition="in">
                                      <p:cBhvr>
                                        <p:cTn dur="500" id="29"/>
                                        <p:tgtEl>
                                          <p:spTgt spid="35"/>
                                        </p:tgtEl>
                                      </p:cBhvr>
                                    </p:animEffect>
                                  </p:childTnLst>
                                </p:cTn>
                              </p:par>
                            </p:childTnLst>
                          </p:cTn>
                        </p:par>
                        <p:par>
                          <p:cTn fill="hold" id="30" nodeType="afterGroup">
                            <p:stCondLst>
                              <p:cond delay="2500"/>
                            </p:stCondLst>
                            <p:childTnLst>
                              <p:par>
                                <p:cTn fill="hold" id="31" nodeType="afterEffect" presetClass="entr" presetID="9" presetSubtype="0">
                                  <p:stCondLst>
                                    <p:cond delay="100"/>
                                  </p:stCondLst>
                                  <p:childTnLst>
                                    <p:set>
                                      <p:cBhvr>
                                        <p:cTn dur="1" fill="hold" id="32">
                                          <p:stCondLst>
                                            <p:cond delay="0"/>
                                          </p:stCondLst>
                                        </p:cTn>
                                        <p:tgtEl>
                                          <p:spTgt spid="31"/>
                                        </p:tgtEl>
                                        <p:attrNameLst>
                                          <p:attrName>style.visibility</p:attrName>
                                        </p:attrNameLst>
                                      </p:cBhvr>
                                      <p:to>
                                        <p:strVal val="visible"/>
                                      </p:to>
                                    </p:set>
                                    <p:animEffect filter="dissolve" transition="in">
                                      <p:cBhvr>
                                        <p:cTn dur="500" id="33"/>
                                        <p:tgtEl>
                                          <p:spTgt spid="31"/>
                                        </p:tgtEl>
                                      </p:cBhvr>
                                    </p:animEffect>
                                  </p:childTnLst>
                                </p:cTn>
                              </p:par>
                            </p:childTnLst>
                          </p:cTn>
                        </p:par>
                        <p:par>
                          <p:cTn fill="hold" id="34" nodeType="afterGroup">
                            <p:stCondLst>
                              <p:cond delay="3100"/>
                            </p:stCondLst>
                            <p:childTnLst>
                              <p:par>
                                <p:cTn fill="hold" id="35" nodeType="afterEffect" presetClass="entr" presetID="9" presetSubtype="0">
                                  <p:stCondLst>
                                    <p:cond delay="100"/>
                                  </p:stCondLst>
                                  <p:childTnLst>
                                    <p:set>
                                      <p:cBhvr>
                                        <p:cTn dur="1" fill="hold" id="36">
                                          <p:stCondLst>
                                            <p:cond delay="0"/>
                                          </p:stCondLst>
                                        </p:cTn>
                                        <p:tgtEl>
                                          <p:spTgt spid="32"/>
                                        </p:tgtEl>
                                        <p:attrNameLst>
                                          <p:attrName>style.visibility</p:attrName>
                                        </p:attrNameLst>
                                      </p:cBhvr>
                                      <p:to>
                                        <p:strVal val="visible"/>
                                      </p:to>
                                    </p:set>
                                    <p:animEffect filter="dissolve" transition="in">
                                      <p:cBhvr>
                                        <p:cTn dur="500" id="37"/>
                                        <p:tgtEl>
                                          <p:spTgt spid="32"/>
                                        </p:tgtEl>
                                      </p:cBhvr>
                                    </p:animEffect>
                                  </p:childTnLst>
                                </p:cTn>
                              </p:par>
                            </p:childTnLst>
                          </p:cTn>
                        </p:par>
                        <p:par>
                          <p:cTn fill="hold" id="38" nodeType="afterGroup">
                            <p:stCondLst>
                              <p:cond delay="3700"/>
                            </p:stCondLst>
                            <p:childTnLst>
                              <p:par>
                                <p:cTn fill="hold" id="39" nodeType="afterEffect" presetClass="entr" presetID="9" presetSubtype="0">
                                  <p:stCondLst>
                                    <p:cond delay="100"/>
                                  </p:stCondLst>
                                  <p:childTnLst>
                                    <p:set>
                                      <p:cBhvr>
                                        <p:cTn dur="1" fill="hold" id="40">
                                          <p:stCondLst>
                                            <p:cond delay="0"/>
                                          </p:stCondLst>
                                        </p:cTn>
                                        <p:tgtEl>
                                          <p:spTgt spid="34"/>
                                        </p:tgtEl>
                                        <p:attrNameLst>
                                          <p:attrName>style.visibility</p:attrName>
                                        </p:attrNameLst>
                                      </p:cBhvr>
                                      <p:to>
                                        <p:strVal val="visible"/>
                                      </p:to>
                                    </p:set>
                                    <p:animEffect filter="dissolve" transition="in">
                                      <p:cBhvr>
                                        <p:cTn dur="500" id="41"/>
                                        <p:tgtEl>
                                          <p:spTgt spid="34"/>
                                        </p:tgtEl>
                                      </p:cBhvr>
                                    </p:animEffect>
                                  </p:childTnLst>
                                </p:cTn>
                              </p:par>
                            </p:childTnLst>
                          </p:cTn>
                        </p:par>
                        <p:par>
                          <p:cTn fill="hold" id="42" nodeType="afterGroup">
                            <p:stCondLst>
                              <p:cond delay="4300"/>
                            </p:stCondLst>
                            <p:childTnLst>
                              <p:par>
                                <p:cTn fill="hold" grpId="0" id="43" nodeType="afterEffect" presetClass="entr" presetID="9" presetSubtype="0">
                                  <p:stCondLst>
                                    <p:cond delay="100"/>
                                  </p:stCondLst>
                                  <p:childTnLst>
                                    <p:set>
                                      <p:cBhvr>
                                        <p:cTn dur="1" fill="hold" id="44">
                                          <p:stCondLst>
                                            <p:cond delay="0"/>
                                          </p:stCondLst>
                                        </p:cTn>
                                        <p:tgtEl>
                                          <p:spTgt spid="30"/>
                                        </p:tgtEl>
                                        <p:attrNameLst>
                                          <p:attrName>style.visibility</p:attrName>
                                        </p:attrNameLst>
                                      </p:cBhvr>
                                      <p:to>
                                        <p:strVal val="visible"/>
                                      </p:to>
                                    </p:set>
                                    <p:animEffect filter="dissolve" transition="in">
                                      <p:cBhvr>
                                        <p:cTn dur="500" id="45"/>
                                        <p:tgtEl>
                                          <p:spTgt spid="30"/>
                                        </p:tgtEl>
                                      </p:cBhvr>
                                    </p:animEffect>
                                  </p:childTnLst>
                                </p:cTn>
                              </p:par>
                            </p:childTnLst>
                          </p:cTn>
                        </p:par>
                        <p:par>
                          <p:cTn fill="hold" id="46" nodeType="afterGroup">
                            <p:stCondLst>
                              <p:cond delay="4900"/>
                            </p:stCondLst>
                            <p:childTnLst>
                              <p:par>
                                <p:cTn fill="hold" id="47" nodeType="afterEffect" presetClass="entr" presetID="9" presetSubtype="0">
                                  <p:stCondLst>
                                    <p:cond delay="100"/>
                                  </p:stCondLst>
                                  <p:childTnLst>
                                    <p:set>
                                      <p:cBhvr>
                                        <p:cTn dur="1" fill="hold" id="48">
                                          <p:stCondLst>
                                            <p:cond delay="0"/>
                                          </p:stCondLst>
                                        </p:cTn>
                                        <p:tgtEl>
                                          <p:spTgt spid="41"/>
                                        </p:tgtEl>
                                        <p:attrNameLst>
                                          <p:attrName>style.visibility</p:attrName>
                                        </p:attrNameLst>
                                      </p:cBhvr>
                                      <p:to>
                                        <p:strVal val="visible"/>
                                      </p:to>
                                    </p:set>
                                    <p:animEffect filter="dissolve" transition="in">
                                      <p:cBhvr>
                                        <p:cTn dur="500" id="49"/>
                                        <p:tgtEl>
                                          <p:spTgt spid="41"/>
                                        </p:tgtEl>
                                      </p:cBhvr>
                                    </p:animEffect>
                                  </p:childTnLst>
                                </p:cTn>
                              </p:par>
                            </p:childTnLst>
                          </p:cTn>
                        </p:par>
                        <p:par>
                          <p:cTn fill="hold" id="50" nodeType="afterGroup">
                            <p:stCondLst>
                              <p:cond delay="5500"/>
                            </p:stCondLst>
                            <p:childTnLst>
                              <p:par>
                                <p:cTn fill="hold" id="51" nodeType="afterEffect" presetClass="entr" presetID="9" presetSubtype="0">
                                  <p:stCondLst>
                                    <p:cond delay="100"/>
                                  </p:stCondLst>
                                  <p:childTnLst>
                                    <p:set>
                                      <p:cBhvr>
                                        <p:cTn dur="1" fill="hold" id="52">
                                          <p:stCondLst>
                                            <p:cond delay="0"/>
                                          </p:stCondLst>
                                        </p:cTn>
                                        <p:tgtEl>
                                          <p:spTgt spid="42"/>
                                        </p:tgtEl>
                                        <p:attrNameLst>
                                          <p:attrName>style.visibility</p:attrName>
                                        </p:attrNameLst>
                                      </p:cBhvr>
                                      <p:to>
                                        <p:strVal val="visible"/>
                                      </p:to>
                                    </p:set>
                                    <p:animEffect filter="dissolve" transition="in">
                                      <p:cBhvr>
                                        <p:cTn dur="500" id="53"/>
                                        <p:tgtEl>
                                          <p:spTgt spid="42"/>
                                        </p:tgtEl>
                                      </p:cBhvr>
                                    </p:animEffect>
                                  </p:childTnLst>
                                </p:cTn>
                              </p:par>
                            </p:childTnLst>
                          </p:cTn>
                        </p:par>
                        <p:par>
                          <p:cTn fill="hold" id="54" nodeType="afterGroup">
                            <p:stCondLst>
                              <p:cond delay="6100"/>
                            </p:stCondLst>
                            <p:childTnLst>
                              <p:par>
                                <p:cTn fill="hold" id="55" nodeType="afterEffect" presetClass="entr" presetID="9" presetSubtype="0">
                                  <p:stCondLst>
                                    <p:cond delay="100"/>
                                  </p:stCondLst>
                                  <p:childTnLst>
                                    <p:set>
                                      <p:cBhvr>
                                        <p:cTn dur="1" fill="hold" id="56">
                                          <p:stCondLst>
                                            <p:cond delay="0"/>
                                          </p:stCondLst>
                                        </p:cTn>
                                        <p:tgtEl>
                                          <p:spTgt spid="43"/>
                                        </p:tgtEl>
                                        <p:attrNameLst>
                                          <p:attrName>style.visibility</p:attrName>
                                        </p:attrNameLst>
                                      </p:cBhvr>
                                      <p:to>
                                        <p:strVal val="visible"/>
                                      </p:to>
                                    </p:set>
                                    <p:animEffect filter="dissolve" transition="in">
                                      <p:cBhvr>
                                        <p:cTn dur="500" id="57"/>
                                        <p:tgtEl>
                                          <p:spTgt spid="43"/>
                                        </p:tgtEl>
                                      </p:cBhvr>
                                    </p:animEffect>
                                  </p:childTnLst>
                                </p:cTn>
                              </p:par>
                            </p:childTnLst>
                          </p:cTn>
                        </p:par>
                        <p:par>
                          <p:cTn fill="hold" id="58" nodeType="afterGroup">
                            <p:stCondLst>
                              <p:cond delay="6700"/>
                            </p:stCondLst>
                            <p:childTnLst>
                              <p:par>
                                <p:cTn fill="hold" id="59" nodeType="afterEffect" presetClass="entr" presetID="9" presetSubtype="0">
                                  <p:stCondLst>
                                    <p:cond delay="100"/>
                                  </p:stCondLst>
                                  <p:childTnLst>
                                    <p:set>
                                      <p:cBhvr>
                                        <p:cTn dur="1" fill="hold" id="60">
                                          <p:stCondLst>
                                            <p:cond delay="0"/>
                                          </p:stCondLst>
                                        </p:cTn>
                                        <p:tgtEl>
                                          <p:spTgt spid="44"/>
                                        </p:tgtEl>
                                        <p:attrNameLst>
                                          <p:attrName>style.visibility</p:attrName>
                                        </p:attrNameLst>
                                      </p:cBhvr>
                                      <p:to>
                                        <p:strVal val="visible"/>
                                      </p:to>
                                    </p:set>
                                    <p:animEffect filter="dissolve" transition="in">
                                      <p:cBhvr>
                                        <p:cTn dur="500" id="61"/>
                                        <p:tgtEl>
                                          <p:spTgt spid="44"/>
                                        </p:tgtEl>
                                      </p:cBhvr>
                                    </p:animEffect>
                                  </p:childTnLst>
                                </p:cTn>
                              </p:par>
                            </p:childTnLst>
                          </p:cTn>
                        </p:par>
                        <p:par>
                          <p:cTn fill="hold" id="62" nodeType="afterGroup">
                            <p:stCondLst>
                              <p:cond delay="7300"/>
                            </p:stCondLst>
                            <p:childTnLst>
                              <p:par>
                                <p:cTn fill="hold" id="63" nodeType="afterEffect" presetClass="entr" presetID="9" presetSubtype="0">
                                  <p:stCondLst>
                                    <p:cond delay="100"/>
                                  </p:stCondLst>
                                  <p:childTnLst>
                                    <p:set>
                                      <p:cBhvr>
                                        <p:cTn dur="1" fill="hold" id="64">
                                          <p:stCondLst>
                                            <p:cond delay="0"/>
                                          </p:stCondLst>
                                        </p:cTn>
                                        <p:tgtEl>
                                          <p:spTgt spid="45"/>
                                        </p:tgtEl>
                                        <p:attrNameLst>
                                          <p:attrName>style.visibility</p:attrName>
                                        </p:attrNameLst>
                                      </p:cBhvr>
                                      <p:to>
                                        <p:strVal val="visible"/>
                                      </p:to>
                                    </p:set>
                                    <p:animEffect filter="dissolve" transition="in">
                                      <p:cBhvr>
                                        <p:cTn dur="500" id="65"/>
                                        <p:tgtEl>
                                          <p:spTgt spid="45"/>
                                        </p:tgtEl>
                                      </p:cBhvr>
                                    </p:animEffect>
                                  </p:childTnLst>
                                </p:cTn>
                              </p:par>
                            </p:childTnLst>
                          </p:cTn>
                        </p:par>
                        <p:par>
                          <p:cTn fill="hold" id="66" nodeType="afterGroup">
                            <p:stCondLst>
                              <p:cond delay="7900"/>
                            </p:stCondLst>
                            <p:childTnLst>
                              <p:par>
                                <p:cTn fill="hold" id="67" nodeType="afterEffect" presetClass="entr" presetID="9" presetSubtype="0">
                                  <p:stCondLst>
                                    <p:cond delay="100"/>
                                  </p:stCondLst>
                                  <p:childTnLst>
                                    <p:set>
                                      <p:cBhvr>
                                        <p:cTn dur="1" fill="hold" id="68">
                                          <p:stCondLst>
                                            <p:cond delay="0"/>
                                          </p:stCondLst>
                                        </p:cTn>
                                        <p:tgtEl>
                                          <p:spTgt spid="46"/>
                                        </p:tgtEl>
                                        <p:attrNameLst>
                                          <p:attrName>style.visibility</p:attrName>
                                        </p:attrNameLst>
                                      </p:cBhvr>
                                      <p:to>
                                        <p:strVal val="visible"/>
                                      </p:to>
                                    </p:set>
                                    <p:animEffect filter="dissolve" transition="in">
                                      <p:cBhvr>
                                        <p:cTn dur="500" id="69"/>
                                        <p:tgtEl>
                                          <p:spTgt spid="46"/>
                                        </p:tgtEl>
                                      </p:cBhvr>
                                    </p:animEffect>
                                  </p:childTnLst>
                                </p:cTn>
                              </p:par>
                            </p:childTnLst>
                          </p:cTn>
                        </p:par>
                        <p:par>
                          <p:cTn fill="hold" id="70" nodeType="afterGroup">
                            <p:stCondLst>
                              <p:cond delay="8500"/>
                            </p:stCondLst>
                            <p:childTnLst>
                              <p:par>
                                <p:cTn fill="hold" id="71" nodeType="afterEffect" presetClass="mediacall" presetID="1" presetSubtype="0">
                                  <p:stCondLst>
                                    <p:cond delay="0"/>
                                  </p:stCondLst>
                                  <p:childTnLst>
                                    <p:cmd cmd="playFrom(0.0)" type="call">
                                      <p:cBhvr>
                                        <p:cTn dur="1" fill="hold" id="72"/>
                                        <p:tgtEl>
                                          <p:spTgt spid="69"/>
                                        </p:tgtEl>
                                      </p:cBhvr>
                                    </p:cmd>
                                  </p:childTnLst>
                                </p:cTn>
                              </p:par>
                            </p:childTnLst>
                          </p:cTn>
                        </p:par>
                        <p:par>
                          <p:cTn fill="hold" id="74" nodeType="afterGroup">
                            <p:stCondLst>
                              <p:cond delay="8501"/>
                            </p:stCondLst>
                            <p:childTnLst>
                              <p:par>
                                <p:cTn fill="hold" id="75" nodeType="afterEffect" presetClass="entr" presetID="9" presetSubtype="0">
                                  <p:stCondLst>
                                    <p:cond delay="100"/>
                                  </p:stCondLst>
                                  <p:childTnLst>
                                    <p:set>
                                      <p:cBhvr>
                                        <p:cTn dur="1" fill="hold" id="76">
                                          <p:stCondLst>
                                            <p:cond delay="0"/>
                                          </p:stCondLst>
                                        </p:cTn>
                                        <p:tgtEl>
                                          <p:spTgt spid="40"/>
                                        </p:tgtEl>
                                        <p:attrNameLst>
                                          <p:attrName>style.visibility</p:attrName>
                                        </p:attrNameLst>
                                      </p:cBhvr>
                                      <p:to>
                                        <p:strVal val="visible"/>
                                      </p:to>
                                    </p:set>
                                    <p:animEffect filter="dissolve" transition="in">
                                      <p:cBhvr>
                                        <p:cTn dur="500" id="77"/>
                                        <p:tgtEl>
                                          <p:spTgt spid="40"/>
                                        </p:tgtEl>
                                      </p:cBhvr>
                                    </p:animEffect>
                                  </p:childTnLst>
                                </p:cTn>
                              </p:par>
                            </p:childTnLst>
                          </p:cTn>
                        </p:par>
                        <p:par>
                          <p:cTn fill="hold" id="78" nodeType="afterGroup">
                            <p:stCondLst>
                              <p:cond delay="9101"/>
                            </p:stCondLst>
                            <p:childTnLst>
                              <p:par>
                                <p:cTn fill="hold" id="79" nodeType="afterEffect" presetClass="entr" presetID="9" presetSubtype="0">
                                  <p:stCondLst>
                                    <p:cond delay="100"/>
                                  </p:stCondLst>
                                  <p:childTnLst>
                                    <p:set>
                                      <p:cBhvr>
                                        <p:cTn dur="1" fill="hold" id="80">
                                          <p:stCondLst>
                                            <p:cond delay="0"/>
                                          </p:stCondLst>
                                        </p:cTn>
                                        <p:tgtEl>
                                          <p:spTgt spid="39"/>
                                        </p:tgtEl>
                                        <p:attrNameLst>
                                          <p:attrName>style.visibility</p:attrName>
                                        </p:attrNameLst>
                                      </p:cBhvr>
                                      <p:to>
                                        <p:strVal val="visible"/>
                                      </p:to>
                                    </p:set>
                                    <p:animEffect filter="dissolve" transition="in">
                                      <p:cBhvr>
                                        <p:cTn dur="500" id="81"/>
                                        <p:tgtEl>
                                          <p:spTgt spid="39"/>
                                        </p:tgtEl>
                                      </p:cBhvr>
                                    </p:animEffect>
                                  </p:childTnLst>
                                </p:cTn>
                              </p:par>
                            </p:childTnLst>
                          </p:cTn>
                        </p:par>
                        <p:par>
                          <p:cTn fill="hold" id="82" nodeType="afterGroup">
                            <p:stCondLst>
                              <p:cond delay="9701"/>
                            </p:stCondLst>
                            <p:childTnLst>
                              <p:par>
                                <p:cTn fill="hold" id="83" nodeType="afterEffect" presetClass="entr" presetID="9" presetSubtype="0">
                                  <p:stCondLst>
                                    <p:cond delay="100"/>
                                  </p:stCondLst>
                                  <p:childTnLst>
                                    <p:set>
                                      <p:cBhvr>
                                        <p:cTn dur="1" fill="hold" id="84">
                                          <p:stCondLst>
                                            <p:cond delay="0"/>
                                          </p:stCondLst>
                                        </p:cTn>
                                        <p:tgtEl>
                                          <p:spTgt spid="38"/>
                                        </p:tgtEl>
                                        <p:attrNameLst>
                                          <p:attrName>style.visibility</p:attrName>
                                        </p:attrNameLst>
                                      </p:cBhvr>
                                      <p:to>
                                        <p:strVal val="visible"/>
                                      </p:to>
                                    </p:set>
                                    <p:animEffect filter="dissolve" transition="in">
                                      <p:cBhvr>
                                        <p:cTn dur="500" id="85"/>
                                        <p:tgtEl>
                                          <p:spTgt spid="38"/>
                                        </p:tgtEl>
                                      </p:cBhvr>
                                    </p:animEffect>
                                  </p:childTnLst>
                                </p:cTn>
                              </p:par>
                            </p:childTnLst>
                          </p:cTn>
                        </p:par>
                        <p:par>
                          <p:cTn fill="hold" id="86" nodeType="afterGroup">
                            <p:stCondLst>
                              <p:cond delay="10301"/>
                            </p:stCondLst>
                            <p:childTnLst>
                              <p:par>
                                <p:cTn fill="hold" id="87" nodeType="afterEffect" presetClass="entr" presetID="9" presetSubtype="0">
                                  <p:stCondLst>
                                    <p:cond delay="100"/>
                                  </p:stCondLst>
                                  <p:childTnLst>
                                    <p:set>
                                      <p:cBhvr>
                                        <p:cTn dur="1" fill="hold" id="88">
                                          <p:stCondLst>
                                            <p:cond delay="0"/>
                                          </p:stCondLst>
                                        </p:cTn>
                                        <p:tgtEl>
                                          <p:spTgt spid="37"/>
                                        </p:tgtEl>
                                        <p:attrNameLst>
                                          <p:attrName>style.visibility</p:attrName>
                                        </p:attrNameLst>
                                      </p:cBhvr>
                                      <p:to>
                                        <p:strVal val="visible"/>
                                      </p:to>
                                    </p:set>
                                    <p:animEffect filter="dissolve" transition="in">
                                      <p:cBhvr>
                                        <p:cTn dur="500" id="89"/>
                                        <p:tgtEl>
                                          <p:spTgt spid="37"/>
                                        </p:tgtEl>
                                      </p:cBhvr>
                                    </p:animEffect>
                                  </p:childTnLst>
                                </p:cTn>
                              </p:par>
                            </p:childTnLst>
                          </p:cTn>
                        </p:par>
                        <p:par>
                          <p:cTn fill="hold" id="90" nodeType="afterGroup">
                            <p:stCondLst>
                              <p:cond delay="10901"/>
                            </p:stCondLst>
                            <p:childTnLst>
                              <p:par>
                                <p:cTn fill="hold" id="91" nodeType="afterEffect" presetClass="entr" presetID="9" presetSubtype="0">
                                  <p:stCondLst>
                                    <p:cond delay="100"/>
                                  </p:stCondLst>
                                  <p:childTnLst>
                                    <p:set>
                                      <p:cBhvr>
                                        <p:cTn dur="1" fill="hold" id="92">
                                          <p:stCondLst>
                                            <p:cond delay="0"/>
                                          </p:stCondLst>
                                        </p:cTn>
                                        <p:tgtEl>
                                          <p:spTgt spid="36"/>
                                        </p:tgtEl>
                                        <p:attrNameLst>
                                          <p:attrName>style.visibility</p:attrName>
                                        </p:attrNameLst>
                                      </p:cBhvr>
                                      <p:to>
                                        <p:strVal val="visible"/>
                                      </p:to>
                                    </p:set>
                                    <p:animEffect filter="dissolve" transition="in">
                                      <p:cBhvr>
                                        <p:cTn dur="500" id="93"/>
                                        <p:tgtEl>
                                          <p:spTgt spid="36"/>
                                        </p:tgtEl>
                                      </p:cBhvr>
                                    </p:animEffect>
                                  </p:childTnLst>
                                </p:cTn>
                              </p:par>
                            </p:childTnLst>
                          </p:cTn>
                        </p:par>
                        <p:par>
                          <p:cTn fill="hold" id="94" nodeType="afterGroup">
                            <p:stCondLst>
                              <p:cond delay="11501"/>
                            </p:stCondLst>
                            <p:childTnLst>
                              <p:par>
                                <p:cTn fill="hold" grpId="0" id="95" nodeType="afterEffect" presetClass="entr" presetID="12" presetSubtype="4">
                                  <p:stCondLst>
                                    <p:cond delay="0"/>
                                  </p:stCondLst>
                                  <p:childTnLst>
                                    <p:set>
                                      <p:cBhvr>
                                        <p:cTn dur="1" fill="hold" id="96">
                                          <p:stCondLst>
                                            <p:cond delay="0"/>
                                          </p:stCondLst>
                                        </p:cTn>
                                        <p:tgtEl>
                                          <p:spTgt spid="47"/>
                                        </p:tgtEl>
                                        <p:attrNameLst>
                                          <p:attrName>style.visibility</p:attrName>
                                        </p:attrNameLst>
                                      </p:cBhvr>
                                      <p:to>
                                        <p:strVal val="visible"/>
                                      </p:to>
                                    </p:set>
                                    <p:anim calcmode="lin" valueType="num">
                                      <p:cBhvr>
                                        <p:cTn dur="500" id="97"/>
                                        <p:tgtEl>
                                          <p:spTgt spid="47"/>
                                        </p:tgtEl>
                                        <p:attrNameLst>
                                          <p:attrName>ppt_y</p:attrName>
                                        </p:attrNameLst>
                                      </p:cBhvr>
                                      <p:tavLst>
                                        <p:tav tm="0">
                                          <p:val>
                                            <p:strVal val="#ppt_y+#ppt_h*1.125000"/>
                                          </p:val>
                                        </p:tav>
                                        <p:tav tm="100000">
                                          <p:val>
                                            <p:strVal val="#ppt_y"/>
                                          </p:val>
                                        </p:tav>
                                      </p:tavLst>
                                    </p:anim>
                                    <p:animEffect filter="wipe(up)" transition="in">
                                      <p:cBhvr>
                                        <p:cTn dur="500" id="98"/>
                                        <p:tgtEl>
                                          <p:spTgt spid="47"/>
                                        </p:tgtEl>
                                      </p:cBhvr>
                                    </p:animEffect>
                                  </p:childTnLst>
                                </p:cTn>
                              </p:par>
                              <p:par>
                                <p:cTn fill="hold" grpId="0" id="99" nodeType="withEffect" presetClass="entr" presetID="12" presetSubtype="1">
                                  <p:stCondLst>
                                    <p:cond delay="0"/>
                                  </p:stCondLst>
                                  <p:childTnLst>
                                    <p:set>
                                      <p:cBhvr>
                                        <p:cTn dur="1" fill="hold" id="100">
                                          <p:stCondLst>
                                            <p:cond delay="0"/>
                                          </p:stCondLst>
                                        </p:cTn>
                                        <p:tgtEl>
                                          <p:spTgt spid="48"/>
                                        </p:tgtEl>
                                        <p:attrNameLst>
                                          <p:attrName>style.visibility</p:attrName>
                                        </p:attrNameLst>
                                      </p:cBhvr>
                                      <p:to>
                                        <p:strVal val="visible"/>
                                      </p:to>
                                    </p:set>
                                    <p:anim calcmode="lin" valueType="num">
                                      <p:cBhvr>
                                        <p:cTn dur="500" id="101"/>
                                        <p:tgtEl>
                                          <p:spTgt spid="48"/>
                                        </p:tgtEl>
                                        <p:attrNameLst>
                                          <p:attrName>ppt_y</p:attrName>
                                        </p:attrNameLst>
                                      </p:cBhvr>
                                      <p:tavLst>
                                        <p:tav tm="0">
                                          <p:val>
                                            <p:strVal val="#ppt_y-#ppt_h*1.125000"/>
                                          </p:val>
                                        </p:tav>
                                        <p:tav tm="100000">
                                          <p:val>
                                            <p:strVal val="#ppt_y"/>
                                          </p:val>
                                        </p:tav>
                                      </p:tavLst>
                                    </p:anim>
                                    <p:animEffect filter="wipe(down)" transition="in">
                                      <p:cBhvr>
                                        <p:cTn dur="500" id="102"/>
                                        <p:tgtEl>
                                          <p:spTgt spid="48"/>
                                        </p:tgtEl>
                                      </p:cBhvr>
                                    </p:animEffect>
                                  </p:childTnLst>
                                </p:cTn>
                              </p:par>
                            </p:childTnLst>
                          </p:cTn>
                        </p:par>
                        <p:par>
                          <p:cTn fill="hold" id="103" nodeType="afterGroup">
                            <p:stCondLst>
                              <p:cond delay="12001"/>
                            </p:stCondLst>
                            <p:childTnLst>
                              <p:par>
                                <p:cTn fill="hold" grpId="0" id="104" nodeType="afterEffect" presetClass="entr" presetID="12" presetSubtype="4">
                                  <p:stCondLst>
                                    <p:cond delay="0"/>
                                  </p:stCondLst>
                                  <p:childTnLst>
                                    <p:set>
                                      <p:cBhvr>
                                        <p:cTn dur="1" fill="hold" id="105">
                                          <p:stCondLst>
                                            <p:cond delay="0"/>
                                          </p:stCondLst>
                                        </p:cTn>
                                        <p:tgtEl>
                                          <p:spTgt spid="49"/>
                                        </p:tgtEl>
                                        <p:attrNameLst>
                                          <p:attrName>style.visibility</p:attrName>
                                        </p:attrNameLst>
                                      </p:cBhvr>
                                      <p:to>
                                        <p:strVal val="visible"/>
                                      </p:to>
                                    </p:set>
                                    <p:anim calcmode="lin" valueType="num">
                                      <p:cBhvr>
                                        <p:cTn dur="500" id="106"/>
                                        <p:tgtEl>
                                          <p:spTgt spid="49"/>
                                        </p:tgtEl>
                                        <p:attrNameLst>
                                          <p:attrName>ppt_y</p:attrName>
                                        </p:attrNameLst>
                                      </p:cBhvr>
                                      <p:tavLst>
                                        <p:tav tm="0">
                                          <p:val>
                                            <p:strVal val="#ppt_y+#ppt_h*1.125000"/>
                                          </p:val>
                                        </p:tav>
                                        <p:tav tm="100000">
                                          <p:val>
                                            <p:strVal val="#ppt_y"/>
                                          </p:val>
                                        </p:tav>
                                      </p:tavLst>
                                    </p:anim>
                                    <p:animEffect filter="wipe(up)" transition="in">
                                      <p:cBhvr>
                                        <p:cTn dur="500" id="107"/>
                                        <p:tgtEl>
                                          <p:spTgt spid="49"/>
                                        </p:tgtEl>
                                      </p:cBhvr>
                                    </p:animEffect>
                                  </p:childTnLst>
                                </p:cTn>
                              </p:par>
                              <p:par>
                                <p:cTn fill="hold" grpId="0" id="108" nodeType="withEffect" presetClass="entr" presetID="12" presetSubtype="1">
                                  <p:stCondLst>
                                    <p:cond delay="0"/>
                                  </p:stCondLst>
                                  <p:childTnLst>
                                    <p:set>
                                      <p:cBhvr>
                                        <p:cTn dur="1" fill="hold" id="109">
                                          <p:stCondLst>
                                            <p:cond delay="0"/>
                                          </p:stCondLst>
                                        </p:cTn>
                                        <p:tgtEl>
                                          <p:spTgt spid="50"/>
                                        </p:tgtEl>
                                        <p:attrNameLst>
                                          <p:attrName>style.visibility</p:attrName>
                                        </p:attrNameLst>
                                      </p:cBhvr>
                                      <p:to>
                                        <p:strVal val="visible"/>
                                      </p:to>
                                    </p:set>
                                    <p:anim calcmode="lin" valueType="num">
                                      <p:cBhvr>
                                        <p:cTn dur="500" id="110"/>
                                        <p:tgtEl>
                                          <p:spTgt spid="50"/>
                                        </p:tgtEl>
                                        <p:attrNameLst>
                                          <p:attrName>ppt_y</p:attrName>
                                        </p:attrNameLst>
                                      </p:cBhvr>
                                      <p:tavLst>
                                        <p:tav tm="0">
                                          <p:val>
                                            <p:strVal val="#ppt_y-#ppt_h*1.125000"/>
                                          </p:val>
                                        </p:tav>
                                        <p:tav tm="100000">
                                          <p:val>
                                            <p:strVal val="#ppt_y"/>
                                          </p:val>
                                        </p:tav>
                                      </p:tavLst>
                                    </p:anim>
                                    <p:animEffect filter="wipe(down)" transition="in">
                                      <p:cBhvr>
                                        <p:cTn dur="500" id="111"/>
                                        <p:tgtEl>
                                          <p:spTgt spid="50"/>
                                        </p:tgtEl>
                                      </p:cBhvr>
                                    </p:animEffect>
                                  </p:childTnLst>
                                </p:cTn>
                              </p:par>
                            </p:childTnLst>
                          </p:cTn>
                        </p:par>
                        <p:par>
                          <p:cTn fill="hold" id="112" nodeType="afterGroup">
                            <p:stCondLst>
                              <p:cond delay="12501"/>
                            </p:stCondLst>
                            <p:childTnLst>
                              <p:par>
                                <p:cTn fill="hold" grpId="0" id="113" nodeType="afterEffect" presetClass="entr" presetID="12" presetSubtype="4">
                                  <p:stCondLst>
                                    <p:cond delay="0"/>
                                  </p:stCondLst>
                                  <p:childTnLst>
                                    <p:set>
                                      <p:cBhvr>
                                        <p:cTn dur="1" fill="hold" id="114">
                                          <p:stCondLst>
                                            <p:cond delay="0"/>
                                          </p:stCondLst>
                                        </p:cTn>
                                        <p:tgtEl>
                                          <p:spTgt spid="51"/>
                                        </p:tgtEl>
                                        <p:attrNameLst>
                                          <p:attrName>style.visibility</p:attrName>
                                        </p:attrNameLst>
                                      </p:cBhvr>
                                      <p:to>
                                        <p:strVal val="visible"/>
                                      </p:to>
                                    </p:set>
                                    <p:anim calcmode="lin" valueType="num">
                                      <p:cBhvr>
                                        <p:cTn dur="500" id="115"/>
                                        <p:tgtEl>
                                          <p:spTgt spid="51"/>
                                        </p:tgtEl>
                                        <p:attrNameLst>
                                          <p:attrName>ppt_y</p:attrName>
                                        </p:attrNameLst>
                                      </p:cBhvr>
                                      <p:tavLst>
                                        <p:tav tm="0">
                                          <p:val>
                                            <p:strVal val="#ppt_y+#ppt_h*1.125000"/>
                                          </p:val>
                                        </p:tav>
                                        <p:tav tm="100000">
                                          <p:val>
                                            <p:strVal val="#ppt_y"/>
                                          </p:val>
                                        </p:tav>
                                      </p:tavLst>
                                    </p:anim>
                                    <p:animEffect filter="wipe(up)" transition="in">
                                      <p:cBhvr>
                                        <p:cTn dur="500" id="116"/>
                                        <p:tgtEl>
                                          <p:spTgt spid="51"/>
                                        </p:tgtEl>
                                      </p:cBhvr>
                                    </p:animEffect>
                                  </p:childTnLst>
                                </p:cTn>
                              </p:par>
                              <p:par>
                                <p:cTn fill="hold" grpId="0" id="117" nodeType="withEffect" presetClass="entr" presetID="12" presetSubtype="1">
                                  <p:stCondLst>
                                    <p:cond delay="0"/>
                                  </p:stCondLst>
                                  <p:childTnLst>
                                    <p:set>
                                      <p:cBhvr>
                                        <p:cTn dur="1" fill="hold" id="118">
                                          <p:stCondLst>
                                            <p:cond delay="0"/>
                                          </p:stCondLst>
                                        </p:cTn>
                                        <p:tgtEl>
                                          <p:spTgt spid="52"/>
                                        </p:tgtEl>
                                        <p:attrNameLst>
                                          <p:attrName>style.visibility</p:attrName>
                                        </p:attrNameLst>
                                      </p:cBhvr>
                                      <p:to>
                                        <p:strVal val="visible"/>
                                      </p:to>
                                    </p:set>
                                    <p:anim calcmode="lin" valueType="num">
                                      <p:cBhvr>
                                        <p:cTn dur="500" id="119"/>
                                        <p:tgtEl>
                                          <p:spTgt spid="52"/>
                                        </p:tgtEl>
                                        <p:attrNameLst>
                                          <p:attrName>ppt_y</p:attrName>
                                        </p:attrNameLst>
                                      </p:cBhvr>
                                      <p:tavLst>
                                        <p:tav tm="0">
                                          <p:val>
                                            <p:strVal val="#ppt_y-#ppt_h*1.125000"/>
                                          </p:val>
                                        </p:tav>
                                        <p:tav tm="100000">
                                          <p:val>
                                            <p:strVal val="#ppt_y"/>
                                          </p:val>
                                        </p:tav>
                                      </p:tavLst>
                                    </p:anim>
                                    <p:animEffect filter="wipe(down)" transition="in">
                                      <p:cBhvr>
                                        <p:cTn dur="500" id="120"/>
                                        <p:tgtEl>
                                          <p:spTgt spid="52"/>
                                        </p:tgtEl>
                                      </p:cBhvr>
                                    </p:animEffect>
                                  </p:childTnLst>
                                </p:cTn>
                              </p:par>
                            </p:childTnLst>
                          </p:cTn>
                        </p:par>
                        <p:par>
                          <p:cTn fill="hold" id="121" nodeType="afterGroup">
                            <p:stCondLst>
                              <p:cond delay="13001"/>
                            </p:stCondLst>
                            <p:childTnLst>
                              <p:par>
                                <p:cTn fill="hold" grpId="0" id="122" nodeType="afterEffect" presetClass="entr" presetID="12" presetSubtype="4">
                                  <p:stCondLst>
                                    <p:cond delay="0"/>
                                  </p:stCondLst>
                                  <p:childTnLst>
                                    <p:set>
                                      <p:cBhvr>
                                        <p:cTn dur="1" fill="hold" id="123">
                                          <p:stCondLst>
                                            <p:cond delay="0"/>
                                          </p:stCondLst>
                                        </p:cTn>
                                        <p:tgtEl>
                                          <p:spTgt spid="53"/>
                                        </p:tgtEl>
                                        <p:attrNameLst>
                                          <p:attrName>style.visibility</p:attrName>
                                        </p:attrNameLst>
                                      </p:cBhvr>
                                      <p:to>
                                        <p:strVal val="visible"/>
                                      </p:to>
                                    </p:set>
                                    <p:anim calcmode="lin" valueType="num">
                                      <p:cBhvr>
                                        <p:cTn dur="500" id="124"/>
                                        <p:tgtEl>
                                          <p:spTgt spid="53"/>
                                        </p:tgtEl>
                                        <p:attrNameLst>
                                          <p:attrName>ppt_y</p:attrName>
                                        </p:attrNameLst>
                                      </p:cBhvr>
                                      <p:tavLst>
                                        <p:tav tm="0">
                                          <p:val>
                                            <p:strVal val="#ppt_y+#ppt_h*1.125000"/>
                                          </p:val>
                                        </p:tav>
                                        <p:tav tm="100000">
                                          <p:val>
                                            <p:strVal val="#ppt_y"/>
                                          </p:val>
                                        </p:tav>
                                      </p:tavLst>
                                    </p:anim>
                                    <p:animEffect filter="wipe(up)" transition="in">
                                      <p:cBhvr>
                                        <p:cTn dur="500" id="125"/>
                                        <p:tgtEl>
                                          <p:spTgt spid="53"/>
                                        </p:tgtEl>
                                      </p:cBhvr>
                                    </p:animEffect>
                                  </p:childTnLst>
                                </p:cTn>
                              </p:par>
                              <p:par>
                                <p:cTn fill="hold" grpId="0" id="126" nodeType="withEffect" presetClass="entr" presetID="12" presetSubtype="1">
                                  <p:stCondLst>
                                    <p:cond delay="0"/>
                                  </p:stCondLst>
                                  <p:childTnLst>
                                    <p:set>
                                      <p:cBhvr>
                                        <p:cTn dur="1" fill="hold" id="127">
                                          <p:stCondLst>
                                            <p:cond delay="0"/>
                                          </p:stCondLst>
                                        </p:cTn>
                                        <p:tgtEl>
                                          <p:spTgt spid="54"/>
                                        </p:tgtEl>
                                        <p:attrNameLst>
                                          <p:attrName>style.visibility</p:attrName>
                                        </p:attrNameLst>
                                      </p:cBhvr>
                                      <p:to>
                                        <p:strVal val="visible"/>
                                      </p:to>
                                    </p:set>
                                    <p:anim calcmode="lin" valueType="num">
                                      <p:cBhvr>
                                        <p:cTn dur="500" id="128"/>
                                        <p:tgtEl>
                                          <p:spTgt spid="54"/>
                                        </p:tgtEl>
                                        <p:attrNameLst>
                                          <p:attrName>ppt_y</p:attrName>
                                        </p:attrNameLst>
                                      </p:cBhvr>
                                      <p:tavLst>
                                        <p:tav tm="0">
                                          <p:val>
                                            <p:strVal val="#ppt_y-#ppt_h*1.125000"/>
                                          </p:val>
                                        </p:tav>
                                        <p:tav tm="100000">
                                          <p:val>
                                            <p:strVal val="#ppt_y"/>
                                          </p:val>
                                        </p:tav>
                                      </p:tavLst>
                                    </p:anim>
                                    <p:animEffect filter="wipe(down)" transition="in">
                                      <p:cBhvr>
                                        <p:cTn dur="500" id="129"/>
                                        <p:tgtEl>
                                          <p:spTgt spid="54"/>
                                        </p:tgtEl>
                                      </p:cBhvr>
                                    </p:animEffect>
                                  </p:childTnLst>
                                </p:cTn>
                              </p:par>
                            </p:childTnLst>
                          </p:cTn>
                        </p:par>
                        <p:par>
                          <p:cTn fill="hold" id="130" nodeType="afterGroup">
                            <p:stCondLst>
                              <p:cond delay="13501"/>
                            </p:stCondLst>
                            <p:childTnLst>
                              <p:par>
                                <p:cTn fill="hold" grpId="0" id="131" nodeType="afterEffect" presetClass="entr" presetID="12" presetSubtype="4">
                                  <p:stCondLst>
                                    <p:cond delay="0"/>
                                  </p:stCondLst>
                                  <p:childTnLst>
                                    <p:set>
                                      <p:cBhvr>
                                        <p:cTn dur="1" fill="hold" id="132">
                                          <p:stCondLst>
                                            <p:cond delay="0"/>
                                          </p:stCondLst>
                                        </p:cTn>
                                        <p:tgtEl>
                                          <p:spTgt spid="55"/>
                                        </p:tgtEl>
                                        <p:attrNameLst>
                                          <p:attrName>style.visibility</p:attrName>
                                        </p:attrNameLst>
                                      </p:cBhvr>
                                      <p:to>
                                        <p:strVal val="visible"/>
                                      </p:to>
                                    </p:set>
                                    <p:anim calcmode="lin" valueType="num">
                                      <p:cBhvr>
                                        <p:cTn dur="500" id="133"/>
                                        <p:tgtEl>
                                          <p:spTgt spid="55"/>
                                        </p:tgtEl>
                                        <p:attrNameLst>
                                          <p:attrName>ppt_y</p:attrName>
                                        </p:attrNameLst>
                                      </p:cBhvr>
                                      <p:tavLst>
                                        <p:tav tm="0">
                                          <p:val>
                                            <p:strVal val="#ppt_y+#ppt_h*1.125000"/>
                                          </p:val>
                                        </p:tav>
                                        <p:tav tm="100000">
                                          <p:val>
                                            <p:strVal val="#ppt_y"/>
                                          </p:val>
                                        </p:tav>
                                      </p:tavLst>
                                    </p:anim>
                                    <p:animEffect filter="wipe(up)" transition="in">
                                      <p:cBhvr>
                                        <p:cTn dur="500" id="134"/>
                                        <p:tgtEl>
                                          <p:spTgt spid="55"/>
                                        </p:tgtEl>
                                      </p:cBhvr>
                                    </p:animEffect>
                                  </p:childTnLst>
                                </p:cTn>
                              </p:par>
                              <p:par>
                                <p:cTn fill="hold" grpId="0" id="135" nodeType="withEffect" presetClass="entr" presetID="12" presetSubtype="1">
                                  <p:stCondLst>
                                    <p:cond delay="0"/>
                                  </p:stCondLst>
                                  <p:childTnLst>
                                    <p:set>
                                      <p:cBhvr>
                                        <p:cTn dur="1" fill="hold" id="136">
                                          <p:stCondLst>
                                            <p:cond delay="0"/>
                                          </p:stCondLst>
                                        </p:cTn>
                                        <p:tgtEl>
                                          <p:spTgt spid="56"/>
                                        </p:tgtEl>
                                        <p:attrNameLst>
                                          <p:attrName>style.visibility</p:attrName>
                                        </p:attrNameLst>
                                      </p:cBhvr>
                                      <p:to>
                                        <p:strVal val="visible"/>
                                      </p:to>
                                    </p:set>
                                    <p:anim calcmode="lin" valueType="num">
                                      <p:cBhvr>
                                        <p:cTn dur="500" id="137"/>
                                        <p:tgtEl>
                                          <p:spTgt spid="56"/>
                                        </p:tgtEl>
                                        <p:attrNameLst>
                                          <p:attrName>ppt_y</p:attrName>
                                        </p:attrNameLst>
                                      </p:cBhvr>
                                      <p:tavLst>
                                        <p:tav tm="0">
                                          <p:val>
                                            <p:strVal val="#ppt_y-#ppt_h*1.125000"/>
                                          </p:val>
                                        </p:tav>
                                        <p:tav tm="100000">
                                          <p:val>
                                            <p:strVal val="#ppt_y"/>
                                          </p:val>
                                        </p:tav>
                                      </p:tavLst>
                                    </p:anim>
                                    <p:animEffect filter="wipe(down)" transition="in">
                                      <p:cBhvr>
                                        <p:cTn dur="500" id="138"/>
                                        <p:tgtEl>
                                          <p:spTgt spid="56"/>
                                        </p:tgtEl>
                                      </p:cBhvr>
                                    </p:animEffect>
                                  </p:childTnLst>
                                </p:cTn>
                              </p:par>
                            </p:childTnLst>
                          </p:cTn>
                        </p:par>
                        <p:par>
                          <p:cTn fill="hold" id="139" nodeType="afterGroup">
                            <p:stCondLst>
                              <p:cond delay="14001"/>
                            </p:stCondLst>
                            <p:childTnLst>
                              <p:par>
                                <p:cTn fill="hold" grpId="0" id="140" nodeType="afterEffect" presetClass="entr" presetID="12" presetSubtype="4">
                                  <p:stCondLst>
                                    <p:cond delay="0"/>
                                  </p:stCondLst>
                                  <p:childTnLst>
                                    <p:set>
                                      <p:cBhvr>
                                        <p:cTn dur="1" fill="hold" id="141">
                                          <p:stCondLst>
                                            <p:cond delay="0"/>
                                          </p:stCondLst>
                                        </p:cTn>
                                        <p:tgtEl>
                                          <p:spTgt spid="57"/>
                                        </p:tgtEl>
                                        <p:attrNameLst>
                                          <p:attrName>style.visibility</p:attrName>
                                        </p:attrNameLst>
                                      </p:cBhvr>
                                      <p:to>
                                        <p:strVal val="visible"/>
                                      </p:to>
                                    </p:set>
                                    <p:anim calcmode="lin" valueType="num">
                                      <p:cBhvr>
                                        <p:cTn dur="500" id="142"/>
                                        <p:tgtEl>
                                          <p:spTgt spid="57"/>
                                        </p:tgtEl>
                                        <p:attrNameLst>
                                          <p:attrName>ppt_y</p:attrName>
                                        </p:attrNameLst>
                                      </p:cBhvr>
                                      <p:tavLst>
                                        <p:tav tm="0">
                                          <p:val>
                                            <p:strVal val="#ppt_y+#ppt_h*1.125000"/>
                                          </p:val>
                                        </p:tav>
                                        <p:tav tm="100000">
                                          <p:val>
                                            <p:strVal val="#ppt_y"/>
                                          </p:val>
                                        </p:tav>
                                      </p:tavLst>
                                    </p:anim>
                                    <p:animEffect filter="wipe(up)" transition="in">
                                      <p:cBhvr>
                                        <p:cTn dur="500" id="143"/>
                                        <p:tgtEl>
                                          <p:spTgt spid="57"/>
                                        </p:tgtEl>
                                      </p:cBhvr>
                                    </p:animEffect>
                                  </p:childTnLst>
                                </p:cTn>
                              </p:par>
                              <p:par>
                                <p:cTn fill="hold" grpId="0" id="144" nodeType="withEffect" presetClass="entr" presetID="12" presetSubtype="1">
                                  <p:stCondLst>
                                    <p:cond delay="0"/>
                                  </p:stCondLst>
                                  <p:childTnLst>
                                    <p:set>
                                      <p:cBhvr>
                                        <p:cTn dur="1" fill="hold" id="145">
                                          <p:stCondLst>
                                            <p:cond delay="0"/>
                                          </p:stCondLst>
                                        </p:cTn>
                                        <p:tgtEl>
                                          <p:spTgt spid="58"/>
                                        </p:tgtEl>
                                        <p:attrNameLst>
                                          <p:attrName>style.visibility</p:attrName>
                                        </p:attrNameLst>
                                      </p:cBhvr>
                                      <p:to>
                                        <p:strVal val="visible"/>
                                      </p:to>
                                    </p:set>
                                    <p:anim calcmode="lin" valueType="num">
                                      <p:cBhvr>
                                        <p:cTn dur="500" id="146"/>
                                        <p:tgtEl>
                                          <p:spTgt spid="58"/>
                                        </p:tgtEl>
                                        <p:attrNameLst>
                                          <p:attrName>ppt_y</p:attrName>
                                        </p:attrNameLst>
                                      </p:cBhvr>
                                      <p:tavLst>
                                        <p:tav tm="0">
                                          <p:val>
                                            <p:strVal val="#ppt_y-#ppt_h*1.125000"/>
                                          </p:val>
                                        </p:tav>
                                        <p:tav tm="100000">
                                          <p:val>
                                            <p:strVal val="#ppt_y"/>
                                          </p:val>
                                        </p:tav>
                                      </p:tavLst>
                                    </p:anim>
                                    <p:animEffect filter="wipe(down)" transition="in">
                                      <p:cBhvr>
                                        <p:cTn dur="500" id="147"/>
                                        <p:tgtEl>
                                          <p:spTgt spid="58"/>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73">
                  <p:stCondLst>
                    <p:cond delay="indefinite"/>
                  </p:stCondLst>
                  <p:endCondLst>
                    <p:cond delay="0" evt="onPrev">
                      <p:tgtEl>
                        <p:sldTgt/>
                      </p:tgtEl>
                    </p:cond>
                    <p:cond delay="0" evt="onStopAudio">
                      <p:tgtEl>
                        <p:sldTgt/>
                      </p:tgtEl>
                    </p:cond>
                  </p:endCondLst>
                </p:cTn>
                <p:tgtEl>
                  <p:spTgt spid="69"/>
                </p:tgtEl>
              </p:cMediaNode>
            </p:audio>
          </p:childTnLst>
        </p:cTn>
      </p:par>
    </p:tnLst>
    <p:bldLst>
      <p:bldP grpId="0" spid="30"/>
      <p:bldP grpId="0" spid="33"/>
      <p:bldP grpId="0" spid="35"/>
      <p:bldP grpId="0" spid="47"/>
      <p:bldP grpId="0" spid="48"/>
      <p:bldP grpId="0" spid="49"/>
      <p:bldP grpId="0" spid="50"/>
      <p:bldP grpId="0" spid="51"/>
      <p:bldP grpId="0" spid="52"/>
      <p:bldP grpId="0" spid="53"/>
      <p:bldP grpId="0" spid="54"/>
      <p:bldP grpId="0" spid="55"/>
      <p:bldP grpId="0" spid="56"/>
      <p:bldP grpId="0" spid="57"/>
      <p:bldP grpId="0" spid="58"/>
      <p:bldP grpId="0" spid="61"/>
      <p:bldP grpId="0" spid="64"/>
    </p:bldLst>
  </p:timing>
  <p:extLst mod="1">
    <p:ext uri="{E180D4A7-C9FB-4DFB-919C-405C955672EB}">
      <p14:showEvtLst>
        <p14:playEvt objId="69" time="1316"/>
        <p14:stopEvt objId="69" time="2082"/>
      </p14:showEvtLst>
    </p:ext>
  </p:extLst>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pic>
          <p:nvPicPr>
            <p:cNvPr id="45" name="Picture 5"/>
            <p:cNvPicPr>
              <a:picLocks noChangeArrowheads="1" noChangeAspect="1"/>
            </p:cNvPicPr>
            <p:nvPr/>
          </p:nvPicPr>
          <p:blipFill>
            <a:blip r:embed="rId3">
              <a:extLst>
                <a:ext uri="{28A0092B-C50C-407E-A947-70E740481C1C}">
                  <a14:useLocalDpi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gdLst>
                <a:gd fmla="*/ 455 w 708" name="T0"/>
                <a:gd fmla="*/ 121 h 709" name="T1"/>
                <a:gd fmla="*/ 392 w 708" name="T2"/>
                <a:gd fmla="*/ 121 h 709" name="T3"/>
                <a:gd fmla="*/ 392 w 708" name="T4"/>
                <a:gd fmla="*/ 206 h 709" name="T5"/>
                <a:gd fmla="*/ 316 w 708" name="T6"/>
                <a:gd fmla="*/ 206 h 709" name="T7"/>
                <a:gd fmla="*/ 316 w 708" name="T8"/>
                <a:gd fmla="*/ 121 h 709" name="T9"/>
                <a:gd fmla="*/ 250 w 708" name="T10"/>
                <a:gd fmla="*/ 121 h 709" name="T11"/>
                <a:gd fmla="*/ 354 w 708" name="T12"/>
                <a:gd fmla="*/ 0 h 709" name="T13"/>
                <a:gd fmla="*/ 455 w 708" name="T14"/>
                <a:gd fmla="*/ 121 h 709" name="T15"/>
                <a:gd fmla="*/ 205 w 708" name="T16"/>
                <a:gd fmla="*/ 371 h 709" name="T17"/>
                <a:gd fmla="*/ 139 w 708" name="T18"/>
                <a:gd fmla="*/ 371 h 709" name="T19"/>
                <a:gd fmla="*/ 139 w 708" name="T20"/>
                <a:gd fmla="*/ 456 h 709" name="T21"/>
                <a:gd fmla="*/ 63 w 708" name="T22"/>
                <a:gd fmla="*/ 456 h 709" name="T23"/>
                <a:gd fmla="*/ 63 w 708" name="T24"/>
                <a:gd fmla="*/ 371 h 709" name="T25"/>
                <a:gd fmla="*/ 0 w 708" name="T26"/>
                <a:gd fmla="*/ 371 h 709" name="T27"/>
                <a:gd fmla="*/ 101 w 708" name="T28"/>
                <a:gd fmla="*/ 251 h 709" name="T29"/>
                <a:gd fmla="*/ 205 w 708" name="T30"/>
                <a:gd fmla="*/ 371 h 709" name="T31"/>
                <a:gd fmla="*/ 205 w 708" name="T32"/>
                <a:gd fmla="*/ 503 h 709" name="T33"/>
                <a:gd fmla="*/ 0 w 708" name="T34"/>
                <a:gd fmla="*/ 503 h 709" name="T35"/>
                <a:gd fmla="*/ 0 w 708" name="T36"/>
                <a:gd fmla="*/ 709 h 709" name="T37"/>
                <a:gd fmla="*/ 205 w 708" name="T38"/>
                <a:gd fmla="*/ 709 h 709" name="T39"/>
                <a:gd fmla="*/ 205 w 708" name="T40"/>
                <a:gd fmla="*/ 503 h 709" name="T41"/>
                <a:gd fmla="*/ 708 w 708" name="T42"/>
                <a:gd fmla="*/ 503 h 709" name="T43"/>
                <a:gd fmla="*/ 503 w 708" name="T44"/>
                <a:gd fmla="*/ 503 h 709" name="T45"/>
                <a:gd fmla="*/ 503 w 708" name="T46"/>
                <a:gd fmla="*/ 709 h 709" name="T47"/>
                <a:gd fmla="*/ 708 w 708" name="T48"/>
                <a:gd fmla="*/ 709 h 709" name="T49"/>
                <a:gd fmla="*/ 708 w 708" name="T50"/>
                <a:gd fmla="*/ 503 h 709" name="T51"/>
                <a:gd fmla="*/ 708 w 708" name="T52"/>
                <a:gd fmla="*/ 0 h 709" name="T53"/>
                <a:gd fmla="*/ 503 w 708" name="T54"/>
                <a:gd fmla="*/ 0 h 709" name="T55"/>
                <a:gd fmla="*/ 503 w 708" name="T56"/>
                <a:gd fmla="*/ 206 h 709" name="T57"/>
                <a:gd fmla="*/ 708 w 708" name="T58"/>
                <a:gd fmla="*/ 206 h 709" name="T59"/>
                <a:gd fmla="*/ 708 w 708" name="T60"/>
                <a:gd fmla="*/ 0 h 709" name="T61"/>
                <a:gd fmla="*/ 708 w 708" name="T62"/>
                <a:gd fmla="*/ 251 h 709" name="T63"/>
                <a:gd fmla="*/ 503 w 708" name="T64"/>
                <a:gd fmla="*/ 251 h 709" name="T65"/>
                <a:gd fmla="*/ 503 w 708" name="T66"/>
                <a:gd fmla="*/ 456 h 709" name="T67"/>
                <a:gd fmla="*/ 708 w 708" name="T68"/>
                <a:gd fmla="*/ 456 h 709" name="T69"/>
                <a:gd fmla="*/ 708 w 708" name="T70"/>
                <a:gd fmla="*/ 251 h 709" name="T71"/>
                <a:gd fmla="*/ 455 w 708" name="T72"/>
                <a:gd fmla="*/ 251 h 709" name="T73"/>
                <a:gd fmla="*/ 250 w 708" name="T74"/>
                <a:gd fmla="*/ 251 h 709" name="T75"/>
                <a:gd fmla="*/ 250 w 708" name="T76"/>
                <a:gd fmla="*/ 456 h 709" name="T77"/>
                <a:gd fmla="*/ 455 w 708" name="T78"/>
                <a:gd fmla="*/ 456 h 709" name="T79"/>
                <a:gd fmla="*/ 455 w 708" name="T80"/>
                <a:gd fmla="*/ 251 h 709" name="T81"/>
                <a:gd fmla="*/ 455 w 708" name="T82"/>
                <a:gd fmla="*/ 503 h 709" name="T83"/>
                <a:gd fmla="*/ 250 w 708" name="T84"/>
                <a:gd fmla="*/ 503 h 709" name="T85"/>
                <a:gd fmla="*/ 250 w 708" name="T86"/>
                <a:gd fmla="*/ 709 h 709" name="T87"/>
                <a:gd fmla="*/ 455 w 708" name="T88"/>
                <a:gd fmla="*/ 709 h 709" name="T89"/>
                <a:gd fmla="*/ 455 w 708" name="T90"/>
                <a:gd fmla="*/ 503 h 709"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709" w="708">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anchor="t" anchorCtr="0" bIns="54847" compatLnSpc="1" lIns="0" numCol="1" rIns="109693" tIns="54847" vert="horz" wrap="square"/>
            <a:lstStyle/>
            <a:p>
              <a:pPr algn="ctr"/>
              <a:endParaRPr lang="en-US" sz="120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pic>
          <p:nvPicPr>
            <p:cNvPr descr="service-based.png" id="53" name="Picture 30"/>
            <p:cNvPicPr>
              <a:picLocks noChangeAspect="1"/>
            </p:cNvPicPr>
            <p:nvPr/>
          </p:nvPicPr>
          <p:blipFill>
            <a:blip r:embed="rId4"/>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solidFill>
                    <a:schemeClr val="bg1">
                      <a:lumMod val="85000"/>
                    </a:schemeClr>
                  </a:solidFill>
                </a:endParaRPr>
              </a:p>
            </p:txBody>
          </p:sp>
          <p:pic>
            <p:nvPicPr>
              <p:cNvPr id="58" name="Picture 186"/>
              <p:cNvPicPr/>
              <p:nvPr>
                <p:custDataLst>
                  <p:tags r:id="rId6"/>
                </p:custDataLst>
              </p:nvPr>
            </p:nvPicPr>
            <p:blipFill>
              <a:blip r:embed="rId5">
                <a:extLst>
                  <a:ext uri="{28A0092B-C50C-407E-A947-70E740481C1C}">
                    <a14:useLocalDpi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60018"/>
            </a:xfrm>
            <a:prstGeom prst="rect">
              <a:avLst/>
            </a:prstGeom>
          </p:spPr>
          <p:txBody>
            <a:bodyPr wrap="square">
              <a:spAutoFit/>
            </a:bodyPr>
            <a:lstStyle/>
            <a:p>
              <a:pPr algn="just">
                <a:lnSpc>
                  <a:spcPct val="150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sp>
          <p:nvSpPr>
            <p:cNvPr id="61" name="矩形 27"/>
            <p:cNvSpPr/>
            <p:nvPr/>
          </p:nvSpPr>
          <p:spPr>
            <a:xfrm>
              <a:off x="550382" y="2746886"/>
              <a:ext cx="895183" cy="311121"/>
            </a:xfrm>
            <a:prstGeom prst="rect">
              <a:avLst/>
            </a:prstGeom>
          </p:spPr>
          <p:txBody>
            <a:bodyPr wrap="none">
              <a:spAutoFit/>
            </a:bodyPr>
            <a:lstStyle/>
            <a:p>
              <a:pPr algn="l">
                <a:defRPr/>
              </a:pPr>
              <a:r>
                <a:rPr altLang="en-US" lang="zh-CN" sz="1400">
                  <a:solidFill>
                    <a:schemeClr val="bg1">
                      <a:lumMod val="85000"/>
                    </a:schemeClr>
                  </a:solidFill>
                  <a:latin charset="-122" panose="020b0503020204020204" pitchFamily="34" typeface="微软雅黑"/>
                  <a:ea charset="-122" panose="020b0503020204020204" pitchFamily="34" typeface="微软雅黑"/>
                </a:rPr>
                <a:t>点击添加标题</a:t>
              </a: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793359"/>
            </a:xfrm>
            <a:prstGeom prst="rect">
              <a:avLst/>
            </a:prstGeom>
          </p:spPr>
          <p:txBody>
            <a:bodyPr wrap="square">
              <a:spAutoFit/>
            </a:bodyPr>
            <a:lstStyle/>
            <a:p>
              <a:pPr algn="just">
                <a:lnSpc>
                  <a:spcPct val="150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sp>
          <p:nvSpPr>
            <p:cNvPr id="64" name="矩形 27"/>
            <p:cNvSpPr/>
            <p:nvPr/>
          </p:nvSpPr>
          <p:spPr>
            <a:xfrm>
              <a:off x="550383" y="2746886"/>
              <a:ext cx="895184" cy="311121"/>
            </a:xfrm>
            <a:prstGeom prst="rect">
              <a:avLst/>
            </a:prstGeom>
          </p:spPr>
          <p:txBody>
            <a:bodyPr wrap="none">
              <a:spAutoFit/>
            </a:bodyPr>
            <a:lstStyle/>
            <a:p>
              <a:pPr algn="l">
                <a:defRPr/>
              </a:pPr>
              <a:r>
                <a:rPr altLang="en-US" lang="zh-CN" sz="1400">
                  <a:solidFill>
                    <a:schemeClr val="bg1">
                      <a:lumMod val="85000"/>
                    </a:schemeClr>
                  </a:solidFill>
                  <a:latin charset="-122" panose="020b0503020204020204" pitchFamily="34" typeface="微软雅黑"/>
                  <a:ea charset="-122" panose="020b0503020204020204" pitchFamily="34" typeface="微软雅黑"/>
                </a:rPr>
                <a:t>点击添加标题</a:t>
              </a: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793359"/>
            </a:xfrm>
            <a:prstGeom prst="rect">
              <a:avLst/>
            </a:prstGeom>
          </p:spPr>
          <p:txBody>
            <a:bodyPr wrap="square">
              <a:spAutoFit/>
            </a:bodyPr>
            <a:lstStyle/>
            <a:p>
              <a:pPr algn="just">
                <a:lnSpc>
                  <a:spcPct val="150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sp>
          <p:nvSpPr>
            <p:cNvPr id="67" name="矩形 27"/>
            <p:cNvSpPr/>
            <p:nvPr/>
          </p:nvSpPr>
          <p:spPr>
            <a:xfrm>
              <a:off x="840984" y="2746886"/>
              <a:ext cx="698348" cy="311121"/>
            </a:xfrm>
            <a:prstGeom prst="rect">
              <a:avLst/>
            </a:prstGeom>
          </p:spPr>
          <p:txBody>
            <a:bodyPr wrap="none">
              <a:spAutoFit/>
            </a:bodyPr>
            <a:lstStyle/>
            <a:p>
              <a:pPr algn="r">
                <a:defRPr/>
              </a:pPr>
              <a:r>
                <a:rPr altLang="en-US" lang="zh-CN" sz="1400">
                  <a:solidFill>
                    <a:schemeClr val="bg1">
                      <a:lumMod val="85000"/>
                    </a:schemeClr>
                  </a:solidFill>
                  <a:latin charset="-122" panose="020b0503020204020204" pitchFamily="34" typeface="微软雅黑"/>
                  <a:ea charset="-122" panose="020b0503020204020204" pitchFamily="34" typeface="微软雅黑"/>
                </a:rPr>
                <a:t>点击添加标题</a:t>
              </a: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60018"/>
            </a:xfrm>
            <a:prstGeom prst="rect">
              <a:avLst/>
            </a:prstGeom>
          </p:spPr>
          <p:txBody>
            <a:bodyPr wrap="square">
              <a:spAutoFit/>
            </a:bodyPr>
            <a:lstStyle/>
            <a:p>
              <a:pPr algn="just">
                <a:lnSpc>
                  <a:spcPct val="150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a:t>
              </a:r>
            </a:p>
          </p:txBody>
        </p:sp>
        <p:sp>
          <p:nvSpPr>
            <p:cNvPr id="70" name="矩形 27"/>
            <p:cNvSpPr/>
            <p:nvPr/>
          </p:nvSpPr>
          <p:spPr>
            <a:xfrm>
              <a:off x="840984" y="2746886"/>
              <a:ext cx="698348" cy="311121"/>
            </a:xfrm>
            <a:prstGeom prst="rect">
              <a:avLst/>
            </a:prstGeom>
          </p:spPr>
          <p:txBody>
            <a:bodyPr wrap="none">
              <a:spAutoFit/>
            </a:bodyPr>
            <a:lstStyle/>
            <a:p>
              <a:pPr algn="r">
                <a:defRPr/>
              </a:pPr>
              <a:r>
                <a:rPr altLang="en-US" lang="zh-CN" sz="1400">
                  <a:solidFill>
                    <a:schemeClr val="bg1">
                      <a:lumMod val="85000"/>
                    </a:schemeClr>
                  </a:solidFill>
                  <a:latin charset="-122" panose="020b0503020204020204" pitchFamily="34" typeface="微软雅黑"/>
                  <a:ea charset="-122" panose="020b0503020204020204" pitchFamily="34" typeface="微软雅黑"/>
                </a:rPr>
                <a:t>点击添加标题</a:t>
              </a:r>
            </a:p>
          </p:txBody>
        </p:sp>
      </p:grpSp>
      <p:sp>
        <p:nvSpPr>
          <p:cNvPr id="71" name="平行四边形 70"/>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2" name="平行四边形 71"/>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3" name="平行四边形 72"/>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4" name="平行四边形 73"/>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77" name="Group 7"/>
          <p:cNvGrpSpPr/>
          <p:nvPr/>
        </p:nvGrpSpPr>
        <p:grpSpPr>
          <a:xfrm>
            <a:off x="180202" y="181952"/>
            <a:ext cx="216018" cy="113981"/>
            <a:chExt cx="1041399" cy="549275"/>
          </a:xfrm>
          <a:solidFill>
            <a:srgbClr val="133E73"/>
          </a:solidFill>
        </p:grpSpPr>
        <p:sp>
          <p:nvSpPr>
            <p:cNvPr id="78"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79"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80"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81" name="6112">
            <a:hlinkClick action="ppaction://media"/>
          </p:cNvPr>
          <p:cNvPicPr>
            <a:picLocks noChangeAspect="1"/>
          </p:cNvPicPr>
          <p:nvPr>
            <a:audioFile r:link="rId8"/>
            <p:extLst>
              <p:ext uri="{DAA4B4D4-6D71-4841-9C94-3DE7FCFB9230}">
                <p14:media r:embed="rId9"/>
              </p:ext>
            </p:extLst>
          </p:nvPr>
        </p:nvPicPr>
        <p:blipFill>
          <a:blip r:embed="rId7"/>
          <a:stretch>
            <a:fillRect/>
          </a:stretch>
        </p:blipFill>
        <p:spPr>
          <a:xfrm>
            <a:off x="2268377" y="-1568065"/>
            <a:ext cx="1008084" cy="1008084"/>
          </a:xfrm>
          <a:prstGeom prst="rect">
            <a:avLst/>
          </a:prstGeom>
        </p:spPr>
      </p:pic>
    </p:spTree>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77"/>
                                        </p:tgtEl>
                                        <p:attrNameLst>
                                          <p:attrName>style.visibility</p:attrName>
                                        </p:attrNameLst>
                                      </p:cBhvr>
                                      <p:to>
                                        <p:strVal val="visible"/>
                                      </p:to>
                                    </p:set>
                                    <p:anim calcmode="lin" valueType="num">
                                      <p:cBhvr additive="base">
                                        <p:cTn dur="500" fill="hold" id="7"/>
                                        <p:tgtEl>
                                          <p:spTgt spid="77"/>
                                        </p:tgtEl>
                                        <p:attrNameLst>
                                          <p:attrName>ppt_x</p:attrName>
                                        </p:attrNameLst>
                                      </p:cBhvr>
                                      <p:tavLst>
                                        <p:tav tm="0">
                                          <p:val>
                                            <p:strVal val="0-#ppt_w/2"/>
                                          </p:val>
                                        </p:tav>
                                        <p:tav tm="100000">
                                          <p:val>
                                            <p:strVal val="#ppt_x"/>
                                          </p:val>
                                        </p:tav>
                                      </p:tavLst>
                                    </p:anim>
                                    <p:anim calcmode="lin" valueType="num">
                                      <p:cBhvr additive="base">
                                        <p:cTn dur="500" fill="hold" id="8"/>
                                        <p:tgtEl>
                                          <p:spTgt spid="77"/>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76"/>
                                        </p:tgtEl>
                                        <p:attrNameLst>
                                          <p:attrName>style.visibility</p:attrName>
                                        </p:attrNameLst>
                                      </p:cBhvr>
                                      <p:to>
                                        <p:strVal val="visible"/>
                                      </p:to>
                                    </p:set>
                                    <p:anim calcmode="lin" valueType="num">
                                      <p:cBhvr>
                                        <p:cTn dur="500" fill="hold" id="12"/>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76"/>
                                        </p:tgtEl>
                                        <p:attrNameLst>
                                          <p:attrName>ppt_y</p:attrName>
                                        </p:attrNameLst>
                                      </p:cBhvr>
                                      <p:tavLst>
                                        <p:tav tm="0">
                                          <p:val>
                                            <p:strVal val="#ppt_y"/>
                                          </p:val>
                                        </p:tav>
                                        <p:tav tm="100000">
                                          <p:val>
                                            <p:strVal val="#ppt_y"/>
                                          </p:val>
                                        </p:tav>
                                      </p:tavLst>
                                    </p:anim>
                                    <p:anim calcmode="lin" valueType="num">
                                      <p:cBhvr>
                                        <p:cTn dur="500" fill="hold" id="14"/>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76"/>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76"/>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73"/>
                                        </p:tgtEl>
                                        <p:attrNameLst>
                                          <p:attrName>fillcolor</p:attrName>
                                        </p:attrNameLst>
                                      </p:cBhvr>
                                      <p:to>
                                        <a:srgbClr val="00AEEF"/>
                                      </p:to>
                                    </p:animClr>
                                    <p:set>
                                      <p:cBhvr>
                                        <p:cTn dur="300" fill="hold" id="20"/>
                                        <p:tgtEl>
                                          <p:spTgt spid="73"/>
                                        </p:tgtEl>
                                        <p:attrNameLst>
                                          <p:attrName>fill.type</p:attrName>
                                        </p:attrNameLst>
                                      </p:cBhvr>
                                      <p:to>
                                        <p:strVal val="solid"/>
                                      </p:to>
                                    </p:set>
                                    <p:set>
                                      <p:cBhvr>
                                        <p:cTn dur="300" fill="hold" id="21"/>
                                        <p:tgtEl>
                                          <p:spTgt spid="73"/>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30" presetSubtype="0">
                                  <p:stCondLst>
                                    <p:cond delay="0"/>
                                  </p:stCondLst>
                                  <p:childTnLst>
                                    <p:set>
                                      <p:cBhvr>
                                        <p:cTn dur="1" fill="hold" id="24">
                                          <p:stCondLst>
                                            <p:cond delay="0"/>
                                          </p:stCondLst>
                                        </p:cTn>
                                        <p:tgtEl>
                                          <p:spTgt spid="42"/>
                                        </p:tgtEl>
                                        <p:attrNameLst>
                                          <p:attrName>style.visibility</p:attrName>
                                        </p:attrNameLst>
                                      </p:cBhvr>
                                      <p:to>
                                        <p:strVal val="visible"/>
                                      </p:to>
                                    </p:set>
                                    <p:animEffect filter="fade" transition="in">
                                      <p:cBhvr>
                                        <p:cTn decel="100000" dur="800" id="25"/>
                                        <p:tgtEl>
                                          <p:spTgt spid="42"/>
                                        </p:tgtEl>
                                      </p:cBhvr>
                                    </p:animEffect>
                                    <p:anim calcmode="lin" valueType="num">
                                      <p:cBhvr>
                                        <p:cTn decel="100000" dur="800" fill="hold" id="26"/>
                                        <p:tgtEl>
                                          <p:spTgt spid="42"/>
                                        </p:tgtEl>
                                        <p:attrNameLst>
                                          <p:attrName>style.rotation</p:attrName>
                                        </p:attrNameLst>
                                      </p:cBhvr>
                                      <p:tavLst>
                                        <p:tav tm="0">
                                          <p:val>
                                            <p:fltVal val="-90"/>
                                          </p:val>
                                        </p:tav>
                                        <p:tav tm="100000">
                                          <p:val>
                                            <p:fltVal val="0"/>
                                          </p:val>
                                        </p:tav>
                                      </p:tavLst>
                                    </p:anim>
                                    <p:anim calcmode="lin" valueType="num">
                                      <p:cBhvr>
                                        <p:cTn decel="100000" dur="800" fill="hold" id="27"/>
                                        <p:tgtEl>
                                          <p:spTgt spid="42"/>
                                        </p:tgtEl>
                                        <p:attrNameLst>
                                          <p:attrName>ppt_x</p:attrName>
                                        </p:attrNameLst>
                                      </p:cBhvr>
                                      <p:tavLst>
                                        <p:tav tm="0">
                                          <p:val>
                                            <p:strVal val="#ppt_x+0.4"/>
                                          </p:val>
                                        </p:tav>
                                        <p:tav tm="100000">
                                          <p:val>
                                            <p:strVal val="#ppt_x-0.05"/>
                                          </p:val>
                                        </p:tav>
                                      </p:tavLst>
                                    </p:anim>
                                    <p:anim calcmode="lin" valueType="num">
                                      <p:cBhvr>
                                        <p:cTn decel="100000" dur="800" fill="hold" id="28"/>
                                        <p:tgtEl>
                                          <p:spTgt spid="42"/>
                                        </p:tgtEl>
                                        <p:attrNameLst>
                                          <p:attrName>ppt_y</p:attrName>
                                        </p:attrNameLst>
                                      </p:cBhvr>
                                      <p:tavLst>
                                        <p:tav tm="0">
                                          <p:val>
                                            <p:strVal val="#ppt_y-0.4"/>
                                          </p:val>
                                        </p:tav>
                                        <p:tav tm="100000">
                                          <p:val>
                                            <p:strVal val="#ppt_y+0.1"/>
                                          </p:val>
                                        </p:tav>
                                      </p:tavLst>
                                    </p:anim>
                                    <p:anim calcmode="lin" valueType="num">
                                      <p:cBhvr>
                                        <p:cTn accel="100000" dur="200" fill="hold" id="29">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accel="100000" dur="200" fill="hold" id="30">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fill="hold" id="31" nodeType="afterGroup">
                            <p:stCondLst>
                              <p:cond delay="2300"/>
                            </p:stCondLst>
                            <p:childTnLst>
                              <p:par>
                                <p:cTn fill="hold" id="32" nodeType="afterEffect" presetClass="entr" presetID="30" presetSubtype="0">
                                  <p:stCondLst>
                                    <p:cond delay="0"/>
                                  </p:stCondLst>
                                  <p:childTnLst>
                                    <p:set>
                                      <p:cBhvr>
                                        <p:cTn dur="1" fill="hold" id="33">
                                          <p:stCondLst>
                                            <p:cond delay="0"/>
                                          </p:stCondLst>
                                        </p:cTn>
                                        <p:tgtEl>
                                          <p:spTgt spid="50"/>
                                        </p:tgtEl>
                                        <p:attrNameLst>
                                          <p:attrName>style.visibility</p:attrName>
                                        </p:attrNameLst>
                                      </p:cBhvr>
                                      <p:to>
                                        <p:strVal val="visible"/>
                                      </p:to>
                                    </p:set>
                                    <p:animEffect filter="fade" transition="in">
                                      <p:cBhvr>
                                        <p:cTn decel="100000" dur="800" id="34"/>
                                        <p:tgtEl>
                                          <p:spTgt spid="50"/>
                                        </p:tgtEl>
                                      </p:cBhvr>
                                    </p:animEffect>
                                    <p:anim calcmode="lin" valueType="num">
                                      <p:cBhvr>
                                        <p:cTn decel="100000" dur="800" fill="hold" id="35"/>
                                        <p:tgtEl>
                                          <p:spTgt spid="50"/>
                                        </p:tgtEl>
                                        <p:attrNameLst>
                                          <p:attrName>style.rotation</p:attrName>
                                        </p:attrNameLst>
                                      </p:cBhvr>
                                      <p:tavLst>
                                        <p:tav tm="0">
                                          <p:val>
                                            <p:fltVal val="-90"/>
                                          </p:val>
                                        </p:tav>
                                        <p:tav tm="100000">
                                          <p:val>
                                            <p:fltVal val="0"/>
                                          </p:val>
                                        </p:tav>
                                      </p:tavLst>
                                    </p:anim>
                                    <p:anim calcmode="lin" valueType="num">
                                      <p:cBhvr>
                                        <p:cTn decel="100000" dur="800" fill="hold" id="36"/>
                                        <p:tgtEl>
                                          <p:spTgt spid="50"/>
                                        </p:tgtEl>
                                        <p:attrNameLst>
                                          <p:attrName>ppt_x</p:attrName>
                                        </p:attrNameLst>
                                      </p:cBhvr>
                                      <p:tavLst>
                                        <p:tav tm="0">
                                          <p:val>
                                            <p:strVal val="#ppt_x+0.4"/>
                                          </p:val>
                                        </p:tav>
                                        <p:tav tm="100000">
                                          <p:val>
                                            <p:strVal val="#ppt_x-0.05"/>
                                          </p:val>
                                        </p:tav>
                                      </p:tavLst>
                                    </p:anim>
                                    <p:anim calcmode="lin" valueType="num">
                                      <p:cBhvr>
                                        <p:cTn decel="100000" dur="800" fill="hold" id="37"/>
                                        <p:tgtEl>
                                          <p:spTgt spid="50"/>
                                        </p:tgtEl>
                                        <p:attrNameLst>
                                          <p:attrName>ppt_y</p:attrName>
                                        </p:attrNameLst>
                                      </p:cBhvr>
                                      <p:tavLst>
                                        <p:tav tm="0">
                                          <p:val>
                                            <p:strVal val="#ppt_y-0.4"/>
                                          </p:val>
                                        </p:tav>
                                        <p:tav tm="100000">
                                          <p:val>
                                            <p:strVal val="#ppt_y+0.1"/>
                                          </p:val>
                                        </p:tav>
                                      </p:tavLst>
                                    </p:anim>
                                    <p:anim calcmode="lin" valueType="num">
                                      <p:cBhvr>
                                        <p:cTn accel="100000" dur="200" fill="hold" id="38">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accel="100000" dur="200" fill="hold" id="39">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fill="hold" id="40" nodeType="afterGroup">
                            <p:stCondLst>
                              <p:cond delay="3300"/>
                            </p:stCondLst>
                            <p:childTnLst>
                              <p:par>
                                <p:cTn fill="hold" id="41" nodeType="afterEffect" presetClass="entr" presetID="30" presetSubtype="0">
                                  <p:stCondLst>
                                    <p:cond delay="0"/>
                                  </p:stCondLst>
                                  <p:childTnLst>
                                    <p:set>
                                      <p:cBhvr>
                                        <p:cTn dur="1" fill="hold" id="42">
                                          <p:stCondLst>
                                            <p:cond delay="0"/>
                                          </p:stCondLst>
                                        </p:cTn>
                                        <p:tgtEl>
                                          <p:spTgt spid="46"/>
                                        </p:tgtEl>
                                        <p:attrNameLst>
                                          <p:attrName>style.visibility</p:attrName>
                                        </p:attrNameLst>
                                      </p:cBhvr>
                                      <p:to>
                                        <p:strVal val="visible"/>
                                      </p:to>
                                    </p:set>
                                    <p:animEffect filter="fade" transition="in">
                                      <p:cBhvr>
                                        <p:cTn decel="100000" dur="800" id="43"/>
                                        <p:tgtEl>
                                          <p:spTgt spid="46"/>
                                        </p:tgtEl>
                                      </p:cBhvr>
                                    </p:animEffect>
                                    <p:anim calcmode="lin" valueType="num">
                                      <p:cBhvr>
                                        <p:cTn decel="100000" dur="800" fill="hold" id="44"/>
                                        <p:tgtEl>
                                          <p:spTgt spid="46"/>
                                        </p:tgtEl>
                                        <p:attrNameLst>
                                          <p:attrName>style.rotation</p:attrName>
                                        </p:attrNameLst>
                                      </p:cBhvr>
                                      <p:tavLst>
                                        <p:tav tm="0">
                                          <p:val>
                                            <p:fltVal val="-90"/>
                                          </p:val>
                                        </p:tav>
                                        <p:tav tm="100000">
                                          <p:val>
                                            <p:fltVal val="0"/>
                                          </p:val>
                                        </p:tav>
                                      </p:tavLst>
                                    </p:anim>
                                    <p:anim calcmode="lin" valueType="num">
                                      <p:cBhvr>
                                        <p:cTn decel="100000" dur="800" fill="hold" id="45"/>
                                        <p:tgtEl>
                                          <p:spTgt spid="46"/>
                                        </p:tgtEl>
                                        <p:attrNameLst>
                                          <p:attrName>ppt_x</p:attrName>
                                        </p:attrNameLst>
                                      </p:cBhvr>
                                      <p:tavLst>
                                        <p:tav tm="0">
                                          <p:val>
                                            <p:strVal val="#ppt_x+0.4"/>
                                          </p:val>
                                        </p:tav>
                                        <p:tav tm="100000">
                                          <p:val>
                                            <p:strVal val="#ppt_x-0.05"/>
                                          </p:val>
                                        </p:tav>
                                      </p:tavLst>
                                    </p:anim>
                                    <p:anim calcmode="lin" valueType="num">
                                      <p:cBhvr>
                                        <p:cTn decel="100000" dur="800" fill="hold" id="46"/>
                                        <p:tgtEl>
                                          <p:spTgt spid="46"/>
                                        </p:tgtEl>
                                        <p:attrNameLst>
                                          <p:attrName>ppt_y</p:attrName>
                                        </p:attrNameLst>
                                      </p:cBhvr>
                                      <p:tavLst>
                                        <p:tav tm="0">
                                          <p:val>
                                            <p:strVal val="#ppt_y-0.4"/>
                                          </p:val>
                                        </p:tav>
                                        <p:tav tm="100000">
                                          <p:val>
                                            <p:strVal val="#ppt_y+0.1"/>
                                          </p:val>
                                        </p:tav>
                                      </p:tavLst>
                                    </p:anim>
                                    <p:anim calcmode="lin" valueType="num">
                                      <p:cBhvr>
                                        <p:cTn accel="100000" dur="200" fill="hold" id="47">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accel="100000" dur="200" fill="hold" id="48">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fill="hold" id="49" nodeType="afterGroup">
                            <p:stCondLst>
                              <p:cond delay="4300"/>
                            </p:stCondLst>
                            <p:childTnLst>
                              <p:par>
                                <p:cTn fill="hold" id="50" nodeType="afterEffect" presetClass="entr" presetID="30" presetSubtype="0">
                                  <p:stCondLst>
                                    <p:cond delay="0"/>
                                  </p:stCondLst>
                                  <p:childTnLst>
                                    <p:set>
                                      <p:cBhvr>
                                        <p:cTn dur="1" fill="hold" id="51">
                                          <p:stCondLst>
                                            <p:cond delay="0"/>
                                          </p:stCondLst>
                                        </p:cTn>
                                        <p:tgtEl>
                                          <p:spTgt spid="54"/>
                                        </p:tgtEl>
                                        <p:attrNameLst>
                                          <p:attrName>style.visibility</p:attrName>
                                        </p:attrNameLst>
                                      </p:cBhvr>
                                      <p:to>
                                        <p:strVal val="visible"/>
                                      </p:to>
                                    </p:set>
                                    <p:animEffect filter="fade" transition="in">
                                      <p:cBhvr>
                                        <p:cTn decel="100000" dur="800" id="52"/>
                                        <p:tgtEl>
                                          <p:spTgt spid="54"/>
                                        </p:tgtEl>
                                      </p:cBhvr>
                                    </p:animEffect>
                                    <p:anim calcmode="lin" valueType="num">
                                      <p:cBhvr>
                                        <p:cTn decel="100000" dur="800" fill="hold" id="53"/>
                                        <p:tgtEl>
                                          <p:spTgt spid="54"/>
                                        </p:tgtEl>
                                        <p:attrNameLst>
                                          <p:attrName>style.rotation</p:attrName>
                                        </p:attrNameLst>
                                      </p:cBhvr>
                                      <p:tavLst>
                                        <p:tav tm="0">
                                          <p:val>
                                            <p:fltVal val="-90"/>
                                          </p:val>
                                        </p:tav>
                                        <p:tav tm="100000">
                                          <p:val>
                                            <p:fltVal val="0"/>
                                          </p:val>
                                        </p:tav>
                                      </p:tavLst>
                                    </p:anim>
                                    <p:anim calcmode="lin" valueType="num">
                                      <p:cBhvr>
                                        <p:cTn decel="100000" dur="800" fill="hold" id="54"/>
                                        <p:tgtEl>
                                          <p:spTgt spid="54"/>
                                        </p:tgtEl>
                                        <p:attrNameLst>
                                          <p:attrName>ppt_x</p:attrName>
                                        </p:attrNameLst>
                                      </p:cBhvr>
                                      <p:tavLst>
                                        <p:tav tm="0">
                                          <p:val>
                                            <p:strVal val="#ppt_x+0.4"/>
                                          </p:val>
                                        </p:tav>
                                        <p:tav tm="100000">
                                          <p:val>
                                            <p:strVal val="#ppt_x-0.05"/>
                                          </p:val>
                                        </p:tav>
                                      </p:tavLst>
                                    </p:anim>
                                    <p:anim calcmode="lin" valueType="num">
                                      <p:cBhvr>
                                        <p:cTn decel="100000" dur="800" fill="hold" id="55"/>
                                        <p:tgtEl>
                                          <p:spTgt spid="54"/>
                                        </p:tgtEl>
                                        <p:attrNameLst>
                                          <p:attrName>ppt_y</p:attrName>
                                        </p:attrNameLst>
                                      </p:cBhvr>
                                      <p:tavLst>
                                        <p:tav tm="0">
                                          <p:val>
                                            <p:strVal val="#ppt_y-0.4"/>
                                          </p:val>
                                        </p:tav>
                                        <p:tav tm="100000">
                                          <p:val>
                                            <p:strVal val="#ppt_y+0.1"/>
                                          </p:val>
                                        </p:tav>
                                      </p:tavLst>
                                    </p:anim>
                                    <p:anim calcmode="lin" valueType="num">
                                      <p:cBhvr>
                                        <p:cTn accel="100000" dur="200" fill="hold" id="56">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accel="100000" dur="200" fill="hold" id="57">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fill="hold" id="58" nodeType="afterGroup">
                            <p:stCondLst>
                              <p:cond delay="5300"/>
                            </p:stCondLst>
                            <p:childTnLst>
                              <p:par>
                                <p:cTn fill="hold" id="59" nodeType="afterEffect" presetClass="entr" presetID="10" presetSubtype="0">
                                  <p:stCondLst>
                                    <p:cond delay="0"/>
                                  </p:stCondLst>
                                  <p:childTnLst>
                                    <p:set>
                                      <p:cBhvr>
                                        <p:cTn dur="1" fill="hold" id="60">
                                          <p:stCondLst>
                                            <p:cond delay="0"/>
                                          </p:stCondLst>
                                        </p:cTn>
                                        <p:tgtEl>
                                          <p:spTgt spid="36"/>
                                        </p:tgtEl>
                                        <p:attrNameLst>
                                          <p:attrName>style.visibility</p:attrName>
                                        </p:attrNameLst>
                                      </p:cBhvr>
                                      <p:to>
                                        <p:strVal val="visible"/>
                                      </p:to>
                                    </p:set>
                                    <p:animEffect filter="fade" transition="in">
                                      <p:cBhvr>
                                        <p:cTn dur="500" id="61"/>
                                        <p:tgtEl>
                                          <p:spTgt spid="36"/>
                                        </p:tgtEl>
                                      </p:cBhvr>
                                    </p:animEffect>
                                  </p:childTnLst>
                                </p:cTn>
                              </p:par>
                              <p:par>
                                <p:cTn fill="hold" id="62" nodeType="withEffect" presetClass="entr" presetID="10" presetSubtype="0">
                                  <p:stCondLst>
                                    <p:cond delay="0"/>
                                  </p:stCondLst>
                                  <p:childTnLst>
                                    <p:set>
                                      <p:cBhvr>
                                        <p:cTn dur="1" fill="hold" id="63">
                                          <p:stCondLst>
                                            <p:cond delay="0"/>
                                          </p:stCondLst>
                                        </p:cTn>
                                        <p:tgtEl>
                                          <p:spTgt spid="30"/>
                                        </p:tgtEl>
                                        <p:attrNameLst>
                                          <p:attrName>style.visibility</p:attrName>
                                        </p:attrNameLst>
                                      </p:cBhvr>
                                      <p:to>
                                        <p:strVal val="visible"/>
                                      </p:to>
                                    </p:set>
                                    <p:animEffect filter="fade" transition="in">
                                      <p:cBhvr>
                                        <p:cTn dur="500" id="64"/>
                                        <p:tgtEl>
                                          <p:spTgt spid="30"/>
                                        </p:tgtEl>
                                      </p:cBhvr>
                                    </p:animEffect>
                                  </p:childTnLst>
                                </p:cTn>
                              </p:par>
                              <p:par>
                                <p:cTn fill="hold" id="65" nodeType="withEffect" presetClass="entr" presetID="10" presetSubtype="0">
                                  <p:stCondLst>
                                    <p:cond delay="0"/>
                                  </p:stCondLst>
                                  <p:childTnLst>
                                    <p:set>
                                      <p:cBhvr>
                                        <p:cTn dur="1" fill="hold" id="66">
                                          <p:stCondLst>
                                            <p:cond delay="0"/>
                                          </p:stCondLst>
                                        </p:cTn>
                                        <p:tgtEl>
                                          <p:spTgt spid="39"/>
                                        </p:tgtEl>
                                        <p:attrNameLst>
                                          <p:attrName>style.visibility</p:attrName>
                                        </p:attrNameLst>
                                      </p:cBhvr>
                                      <p:to>
                                        <p:strVal val="visible"/>
                                      </p:to>
                                    </p:set>
                                    <p:animEffect filter="fade" transition="in">
                                      <p:cBhvr>
                                        <p:cTn dur="500" id="67"/>
                                        <p:tgtEl>
                                          <p:spTgt spid="39"/>
                                        </p:tgtEl>
                                      </p:cBhvr>
                                    </p:animEffect>
                                  </p:childTnLst>
                                </p:cTn>
                              </p:par>
                              <p:par>
                                <p:cTn fill="hold" id="68" nodeType="withEffect" presetClass="entr" presetID="10" presetSubtype="0">
                                  <p:stCondLst>
                                    <p:cond delay="0"/>
                                  </p:stCondLst>
                                  <p:childTnLst>
                                    <p:set>
                                      <p:cBhvr>
                                        <p:cTn dur="1" fill="hold" id="69">
                                          <p:stCondLst>
                                            <p:cond delay="0"/>
                                          </p:stCondLst>
                                        </p:cTn>
                                        <p:tgtEl>
                                          <p:spTgt spid="33"/>
                                        </p:tgtEl>
                                        <p:attrNameLst>
                                          <p:attrName>style.visibility</p:attrName>
                                        </p:attrNameLst>
                                      </p:cBhvr>
                                      <p:to>
                                        <p:strVal val="visible"/>
                                      </p:to>
                                    </p:set>
                                    <p:animEffect filter="fade" transition="in">
                                      <p:cBhvr>
                                        <p:cTn dur="500" id="70"/>
                                        <p:tgtEl>
                                          <p:spTgt spid="33"/>
                                        </p:tgtEl>
                                      </p:cBhvr>
                                    </p:animEffect>
                                  </p:childTnLst>
                                </p:cTn>
                              </p:par>
                            </p:childTnLst>
                          </p:cTn>
                        </p:par>
                        <p:par>
                          <p:cTn fill="hold" id="71" nodeType="afterGroup">
                            <p:stCondLst>
                              <p:cond delay="5800"/>
                            </p:stCondLst>
                            <p:childTnLst>
                              <p:par>
                                <p:cTn decel="100000" fill="hold" id="72" nodeType="afterEffect" presetClass="entr" presetID="2" presetSubtype="2">
                                  <p:stCondLst>
                                    <p:cond delay="0"/>
                                  </p:stCondLst>
                                  <p:childTnLst>
                                    <p:set>
                                      <p:cBhvr>
                                        <p:cTn dur="1" fill="hold" id="73">
                                          <p:stCondLst>
                                            <p:cond delay="0"/>
                                          </p:stCondLst>
                                        </p:cTn>
                                        <p:tgtEl>
                                          <p:spTgt spid="59"/>
                                        </p:tgtEl>
                                        <p:attrNameLst>
                                          <p:attrName>style.visibility</p:attrName>
                                        </p:attrNameLst>
                                      </p:cBhvr>
                                      <p:to>
                                        <p:strVal val="visible"/>
                                      </p:to>
                                    </p:set>
                                    <p:anim calcmode="lin" valueType="num">
                                      <p:cBhvr additive="base">
                                        <p:cTn dur="500" fill="hold" id="74"/>
                                        <p:tgtEl>
                                          <p:spTgt spid="59"/>
                                        </p:tgtEl>
                                        <p:attrNameLst>
                                          <p:attrName>ppt_x</p:attrName>
                                        </p:attrNameLst>
                                      </p:cBhvr>
                                      <p:tavLst>
                                        <p:tav tm="0">
                                          <p:val>
                                            <p:strVal val="1+#ppt_w/2"/>
                                          </p:val>
                                        </p:tav>
                                        <p:tav tm="100000">
                                          <p:val>
                                            <p:strVal val="#ppt_x"/>
                                          </p:val>
                                        </p:tav>
                                      </p:tavLst>
                                    </p:anim>
                                    <p:anim calcmode="lin" valueType="num">
                                      <p:cBhvr additive="base">
                                        <p:cTn dur="500" fill="hold" id="75"/>
                                        <p:tgtEl>
                                          <p:spTgt spid="59"/>
                                        </p:tgtEl>
                                        <p:attrNameLst>
                                          <p:attrName>ppt_y</p:attrName>
                                        </p:attrNameLst>
                                      </p:cBhvr>
                                      <p:tavLst>
                                        <p:tav tm="0">
                                          <p:val>
                                            <p:strVal val="#ppt_y"/>
                                          </p:val>
                                        </p:tav>
                                        <p:tav tm="100000">
                                          <p:val>
                                            <p:strVal val="#ppt_y"/>
                                          </p:val>
                                        </p:tav>
                                      </p:tavLst>
                                    </p:anim>
                                  </p:childTnLst>
                                </p:cTn>
                              </p:par>
                            </p:childTnLst>
                          </p:cTn>
                        </p:par>
                        <p:par>
                          <p:cTn fill="hold" id="76" nodeType="afterGroup">
                            <p:stCondLst>
                              <p:cond delay="6300"/>
                            </p:stCondLst>
                            <p:childTnLst>
                              <p:par>
                                <p:cTn fill="hold" id="77" nodeType="afterEffect" presetClass="mediacall" presetID="1" presetSubtype="0">
                                  <p:stCondLst>
                                    <p:cond delay="0"/>
                                  </p:stCondLst>
                                  <p:childTnLst>
                                    <p:cmd cmd="playFrom(0.0)" type="call">
                                      <p:cBhvr>
                                        <p:cTn dur="1" fill="hold" id="78"/>
                                        <p:tgtEl>
                                          <p:spTgt spid="81"/>
                                        </p:tgtEl>
                                      </p:cBhvr>
                                    </p:cmd>
                                  </p:childTnLst>
                                </p:cTn>
                              </p:par>
                            </p:childTnLst>
                          </p:cTn>
                        </p:par>
                        <p:par>
                          <p:cTn fill="hold" id="80" nodeType="afterGroup">
                            <p:stCondLst>
                              <p:cond delay="6301"/>
                            </p:stCondLst>
                            <p:childTnLst>
                              <p:par>
                                <p:cTn decel="100000" fill="hold" id="81" nodeType="afterEffect" presetClass="entr" presetID="2" presetSubtype="2">
                                  <p:stCondLst>
                                    <p:cond delay="0"/>
                                  </p:stCondLst>
                                  <p:childTnLst>
                                    <p:set>
                                      <p:cBhvr>
                                        <p:cTn dur="1" fill="hold" id="82">
                                          <p:stCondLst>
                                            <p:cond delay="0"/>
                                          </p:stCondLst>
                                        </p:cTn>
                                        <p:tgtEl>
                                          <p:spTgt spid="62"/>
                                        </p:tgtEl>
                                        <p:attrNameLst>
                                          <p:attrName>style.visibility</p:attrName>
                                        </p:attrNameLst>
                                      </p:cBhvr>
                                      <p:to>
                                        <p:strVal val="visible"/>
                                      </p:to>
                                    </p:set>
                                    <p:anim calcmode="lin" valueType="num">
                                      <p:cBhvr additive="base">
                                        <p:cTn dur="500" fill="hold" id="83"/>
                                        <p:tgtEl>
                                          <p:spTgt spid="62"/>
                                        </p:tgtEl>
                                        <p:attrNameLst>
                                          <p:attrName>ppt_x</p:attrName>
                                        </p:attrNameLst>
                                      </p:cBhvr>
                                      <p:tavLst>
                                        <p:tav tm="0">
                                          <p:val>
                                            <p:strVal val="1+#ppt_w/2"/>
                                          </p:val>
                                        </p:tav>
                                        <p:tav tm="100000">
                                          <p:val>
                                            <p:strVal val="#ppt_x"/>
                                          </p:val>
                                        </p:tav>
                                      </p:tavLst>
                                    </p:anim>
                                    <p:anim calcmode="lin" valueType="num">
                                      <p:cBhvr additive="base">
                                        <p:cTn dur="500" fill="hold" id="84"/>
                                        <p:tgtEl>
                                          <p:spTgt spid="62"/>
                                        </p:tgtEl>
                                        <p:attrNameLst>
                                          <p:attrName>ppt_y</p:attrName>
                                        </p:attrNameLst>
                                      </p:cBhvr>
                                      <p:tavLst>
                                        <p:tav tm="0">
                                          <p:val>
                                            <p:strVal val="#ppt_y"/>
                                          </p:val>
                                        </p:tav>
                                        <p:tav tm="100000">
                                          <p:val>
                                            <p:strVal val="#ppt_y"/>
                                          </p:val>
                                        </p:tav>
                                      </p:tavLst>
                                    </p:anim>
                                  </p:childTnLst>
                                </p:cTn>
                              </p:par>
                            </p:childTnLst>
                          </p:cTn>
                        </p:par>
                        <p:par>
                          <p:cTn fill="hold" id="85" nodeType="afterGroup">
                            <p:stCondLst>
                              <p:cond delay="6801"/>
                            </p:stCondLst>
                            <p:childTnLst>
                              <p:par>
                                <p:cTn decel="100000" fill="hold" id="86" nodeType="afterEffect" presetClass="entr" presetID="2" presetSubtype="2">
                                  <p:stCondLst>
                                    <p:cond delay="0"/>
                                  </p:stCondLst>
                                  <p:childTnLst>
                                    <p:set>
                                      <p:cBhvr>
                                        <p:cTn dur="1" fill="hold" id="87">
                                          <p:stCondLst>
                                            <p:cond delay="0"/>
                                          </p:stCondLst>
                                        </p:cTn>
                                        <p:tgtEl>
                                          <p:spTgt spid="65"/>
                                        </p:tgtEl>
                                        <p:attrNameLst>
                                          <p:attrName>style.visibility</p:attrName>
                                        </p:attrNameLst>
                                      </p:cBhvr>
                                      <p:to>
                                        <p:strVal val="visible"/>
                                      </p:to>
                                    </p:set>
                                    <p:anim calcmode="lin" valueType="num">
                                      <p:cBhvr additive="base">
                                        <p:cTn dur="500" fill="hold" id="88"/>
                                        <p:tgtEl>
                                          <p:spTgt spid="65"/>
                                        </p:tgtEl>
                                        <p:attrNameLst>
                                          <p:attrName>ppt_x</p:attrName>
                                        </p:attrNameLst>
                                      </p:cBhvr>
                                      <p:tavLst>
                                        <p:tav tm="0">
                                          <p:val>
                                            <p:strVal val="1+#ppt_w/2"/>
                                          </p:val>
                                        </p:tav>
                                        <p:tav tm="100000">
                                          <p:val>
                                            <p:strVal val="#ppt_x"/>
                                          </p:val>
                                        </p:tav>
                                      </p:tavLst>
                                    </p:anim>
                                    <p:anim calcmode="lin" valueType="num">
                                      <p:cBhvr additive="base">
                                        <p:cTn dur="500" fill="hold" id="89"/>
                                        <p:tgtEl>
                                          <p:spTgt spid="65"/>
                                        </p:tgtEl>
                                        <p:attrNameLst>
                                          <p:attrName>ppt_y</p:attrName>
                                        </p:attrNameLst>
                                      </p:cBhvr>
                                      <p:tavLst>
                                        <p:tav tm="0">
                                          <p:val>
                                            <p:strVal val="#ppt_y"/>
                                          </p:val>
                                        </p:tav>
                                        <p:tav tm="100000">
                                          <p:val>
                                            <p:strVal val="#ppt_y"/>
                                          </p:val>
                                        </p:tav>
                                      </p:tavLst>
                                    </p:anim>
                                  </p:childTnLst>
                                </p:cTn>
                              </p:par>
                            </p:childTnLst>
                          </p:cTn>
                        </p:par>
                        <p:par>
                          <p:cTn fill="hold" id="90" nodeType="afterGroup">
                            <p:stCondLst>
                              <p:cond delay="7301"/>
                            </p:stCondLst>
                            <p:childTnLst>
                              <p:par>
                                <p:cTn decel="100000" fill="hold" id="91" nodeType="afterEffect" presetClass="entr" presetID="2" presetSubtype="2">
                                  <p:stCondLst>
                                    <p:cond delay="0"/>
                                  </p:stCondLst>
                                  <p:childTnLst>
                                    <p:set>
                                      <p:cBhvr>
                                        <p:cTn dur="1" fill="hold" id="92">
                                          <p:stCondLst>
                                            <p:cond delay="0"/>
                                          </p:stCondLst>
                                        </p:cTn>
                                        <p:tgtEl>
                                          <p:spTgt spid="68"/>
                                        </p:tgtEl>
                                        <p:attrNameLst>
                                          <p:attrName>style.visibility</p:attrName>
                                        </p:attrNameLst>
                                      </p:cBhvr>
                                      <p:to>
                                        <p:strVal val="visible"/>
                                      </p:to>
                                    </p:set>
                                    <p:anim calcmode="lin" valueType="num">
                                      <p:cBhvr additive="base">
                                        <p:cTn dur="500" fill="hold" id="93"/>
                                        <p:tgtEl>
                                          <p:spTgt spid="68"/>
                                        </p:tgtEl>
                                        <p:attrNameLst>
                                          <p:attrName>ppt_x</p:attrName>
                                        </p:attrNameLst>
                                      </p:cBhvr>
                                      <p:tavLst>
                                        <p:tav tm="0">
                                          <p:val>
                                            <p:strVal val="1+#ppt_w/2"/>
                                          </p:val>
                                        </p:tav>
                                        <p:tav tm="100000">
                                          <p:val>
                                            <p:strVal val="#ppt_x"/>
                                          </p:val>
                                        </p:tav>
                                      </p:tavLst>
                                    </p:anim>
                                    <p:anim calcmode="lin" valueType="num">
                                      <p:cBhvr additive="base">
                                        <p:cTn dur="500" fill="hold" id="94"/>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79">
                  <p:stCondLst>
                    <p:cond delay="indefinite"/>
                  </p:stCondLst>
                  <p:endCondLst>
                    <p:cond delay="0" evt="onPrev">
                      <p:tgtEl>
                        <p:sldTgt/>
                      </p:tgtEl>
                    </p:cond>
                    <p:cond delay="0" evt="onStopAudio">
                      <p:tgtEl>
                        <p:sldTgt/>
                      </p:tgtEl>
                    </p:cond>
                  </p:endCondLst>
                </p:cTn>
                <p:tgtEl>
                  <p:spTgt spid="81"/>
                </p:tgtEl>
              </p:cMediaNode>
            </p:audio>
          </p:childTnLst>
        </p:cTn>
      </p:par>
    </p:tnLst>
    <p:bldLst>
      <p:bldP grpId="0" spid="73"/>
      <p:bldP grpId="0" spid="76"/>
    </p:bldLst>
  </p:timing>
  <p:extLst mod="1">
    <p:ext uri="{E180D4A7-C9FB-4DFB-919C-405C955672EB}">
      <p14:showEvtLst>
        <p14:playEvt objId="81" time="1316"/>
        <p14:stopEvt objId="81" time="2082"/>
      </p14:showEvtLst>
    </p:ext>
  </p:extLst>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8" name="图片 17"/>
          <p:cNvPicPr>
            <a:picLocks noChangeAspect="1"/>
          </p:cNvPicPr>
          <p:nvPr/>
        </p:nvPicPr>
        <p:blipFill>
          <a:blip r:embed="rId3">
            <a:extLst>
              <a:ext uri="{28A0092B-C50C-407E-A947-70E740481C1C}">
                <a14:useLocalDpi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45080" cy="518160"/>
          </a:xfrm>
          <a:prstGeom prst="rect">
            <a:avLst/>
          </a:prstGeom>
          <a:noFill/>
        </p:spPr>
        <p:txBody>
          <a:bodyPr rtlCol="0" wrap="none">
            <a:spAutoFit/>
          </a:bodyPr>
          <a:lstStyle/>
          <a:p>
            <a:r>
              <a:rPr altLang="en-US" lang="zh-CN" spc="300" sz="2800">
                <a:solidFill>
                  <a:srgbClr val="0070C0"/>
                </a:solidFill>
                <a:latin charset="-122" panose="02010600030101010101" pitchFamily="2" typeface="黑体"/>
                <a:ea charset="-122" panose="02010600030101010101" pitchFamily="2" typeface="黑体"/>
              </a:rPr>
              <a:t>单击添加标题</a:t>
            </a:r>
          </a:p>
        </p:txBody>
      </p:sp>
      <p:sp>
        <p:nvSpPr>
          <p:cNvPr id="7" name="TextBox 11"/>
          <p:cNvSpPr txBox="1"/>
          <p:nvPr/>
        </p:nvSpPr>
        <p:spPr>
          <a:xfrm>
            <a:off x="1260292" y="3564725"/>
            <a:ext cx="3884930" cy="426720"/>
          </a:xfrm>
          <a:prstGeom prst="rect">
            <a:avLst/>
          </a:prstGeom>
          <a:noFill/>
        </p:spPr>
        <p:txBody>
          <a:bodyPr rtlCol="0" wrap="none">
            <a:spAutoFit/>
          </a:bodyPr>
          <a:lstStyle/>
          <a:p>
            <a:r>
              <a:rPr altLang="zh-CN" lang="en-US" sz="1100">
                <a:solidFill>
                  <a:schemeClr val="bg1"/>
                </a:solidFill>
                <a:latin charset="-122" panose="01010104010101010101" pitchFamily="2" typeface="汉仪细等线"/>
                <a:ea charset="-122" panose="01010104010101010101" pitchFamily="2" typeface="汉仪细等线"/>
              </a:rPr>
              <a:t>Please click enter to Please click enter add</a:t>
            </a:r>
          </a:p>
          <a:p>
            <a:r>
              <a:rPr altLang="zh-CN" lang="en-US" sz="1100">
                <a:solidFill>
                  <a:schemeClr val="bg1"/>
                </a:solidFill>
                <a:latin charset="-122" panose="01010104010101010101" pitchFamily="2" typeface="汉仪细等线"/>
                <a:ea charset="-122" panose="01010104010101010101" pitchFamily="2" typeface="汉仪细等线"/>
              </a:rPr>
              <a:t>text content Please click enter </a:t>
            </a:r>
          </a:p>
        </p:txBody>
      </p:sp>
      <p:sp>
        <p:nvSpPr>
          <p:cNvPr id="8" name="TextBox 21"/>
          <p:cNvSpPr txBox="1"/>
          <p:nvPr/>
        </p:nvSpPr>
        <p:spPr>
          <a:xfrm>
            <a:off x="1188194" y="1306180"/>
            <a:ext cx="2487930" cy="1844040"/>
          </a:xfrm>
          <a:prstGeom prst="rect">
            <a:avLst/>
          </a:prstGeom>
          <a:noFill/>
        </p:spPr>
        <p:txBody>
          <a:bodyPr rtlCol="0" wrap="none">
            <a:spAutoFit/>
          </a:bodyPr>
          <a:lstStyle/>
          <a:p>
            <a:r>
              <a:rPr altLang="zh-CN" lang="en-US" spc="300" sz="11500">
                <a:solidFill>
                  <a:srgbClr val="0070C0"/>
                </a:solidFill>
                <a:latin charset="-122" panose="02010600030101010101" pitchFamily="2" typeface="黑体"/>
                <a:ea charset="-122" panose="02010600030101010101" pitchFamily="2" typeface="黑体"/>
              </a:rPr>
              <a:t>05.</a:t>
            </a:r>
          </a:p>
        </p:txBody>
      </p:sp>
    </p:spTree>
    <p:extLst>
      <p:ext uri="{BB962C8B-B14F-4D97-AF65-F5344CB8AC3E}">
        <p14:creationId val="2143832270"/>
      </p:ext>
    </p:extLst>
  </p:cSld>
  <p:clrMapOvr>
    <a:masterClrMapping/>
  </p:clrMapOvr>
  <p:transition spd="slow">
    <p:fade/>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2" id="5" nodeType="afterEffect" presetClass="entr" presetID="10"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500" id="7"/>
                                        <p:tgtEl>
                                          <p:spTgt spid="8"/>
                                        </p:tgtEl>
                                      </p:cBhvr>
                                    </p:animEffect>
                                  </p:childTnLst>
                                </p:cTn>
                              </p:par>
                            </p:childTnLst>
                          </p:cTn>
                        </p:par>
                        <p:par>
                          <p:cTn fill="hold" id="8" nodeType="afterGroup">
                            <p:stCondLst>
                              <p:cond delay="500"/>
                            </p:stCondLst>
                            <p:childTnLst>
                              <p:par>
                                <p:cTn fill="hold" grpId="0" id="9" nodeType="afterEffect" presetClass="emph" presetID="35" presetSubtype="0">
                                  <p:stCondLst>
                                    <p:cond delay="0"/>
                                  </p:stCondLst>
                                  <p:childTnLst>
                                    <p:anim calcmode="discrete" valueType="str">
                                      <p:cBhvr>
                                        <p:cTn dur="1000" fill="hold" id="10"/>
                                        <p:tgtEl>
                                          <p:spTgt spid="8"/>
                                        </p:tgtEl>
                                        <p:attrNameLst>
                                          <p:attrName>style.visibility</p:attrName>
                                        </p:attrNameLst>
                                      </p:cBhvr>
                                      <p:tavLst>
                                        <p:tav tm="0">
                                          <p:val>
                                            <p:strVal val="hidden"/>
                                          </p:val>
                                        </p:tav>
                                        <p:tav tm="50000">
                                          <p:val>
                                            <p:strVal val="visible"/>
                                          </p:val>
                                        </p:tav>
                                      </p:tavLst>
                                    </p:anim>
                                  </p:childTnLst>
                                </p:cTn>
                              </p:par>
                            </p:childTnLst>
                          </p:cTn>
                        </p:par>
                        <p:par>
                          <p:cTn fill="hold" id="11" nodeType="afterGroup">
                            <p:stCondLst>
                              <p:cond delay="1500"/>
                            </p:stCondLst>
                            <p:childTnLst>
                              <p:par>
                                <p:cTn fill="hold" grpId="1" id="12" nodeType="afterEffect" presetClass="emph" presetID="35" presetSubtype="0">
                                  <p:stCondLst>
                                    <p:cond delay="0"/>
                                  </p:stCondLst>
                                  <p:childTnLst>
                                    <p:anim calcmode="discrete" valueType="str">
                                      <p:cBhvr>
                                        <p:cTn dur="1000" fill="hold" id="13"/>
                                        <p:tgtEl>
                                          <p:spTgt spid="8"/>
                                        </p:tgtEl>
                                        <p:attrNameLst>
                                          <p:attrName>style.visibility</p:attrName>
                                        </p:attrNameLst>
                                      </p:cBhvr>
                                      <p:tavLst>
                                        <p:tav tm="0">
                                          <p:val>
                                            <p:strVal val="hidden"/>
                                          </p:val>
                                        </p:tav>
                                        <p:tav tm="50000">
                                          <p:val>
                                            <p:strVal val="visible"/>
                                          </p:val>
                                        </p:tav>
                                      </p:tavLst>
                                    </p:anim>
                                  </p:childTnLst>
                                </p:cTn>
                              </p:par>
                            </p:childTnLst>
                          </p:cTn>
                        </p:par>
                        <p:par>
                          <p:cTn fill="hold" id="14" nodeType="afterGroup">
                            <p:stCondLst>
                              <p:cond delay="2500"/>
                            </p:stCondLst>
                            <p:childTnLst>
                              <p:par>
                                <p:cTn fill="hold" grpId="0" id="15" nodeType="afterEffect" presetClass="entr" presetID="10" presetSubtype="0">
                                  <p:stCondLst>
                                    <p:cond delay="0"/>
                                  </p:stCondLst>
                                  <p:childTnLst>
                                    <p:set>
                                      <p:cBhvr>
                                        <p:cTn dur="1" fill="hold" id="16">
                                          <p:stCondLst>
                                            <p:cond delay="0"/>
                                          </p:stCondLst>
                                        </p:cTn>
                                        <p:tgtEl>
                                          <p:spTgt spid="6"/>
                                        </p:tgtEl>
                                        <p:attrNameLst>
                                          <p:attrName>style.visibility</p:attrName>
                                        </p:attrNameLst>
                                      </p:cBhvr>
                                      <p:to>
                                        <p:strVal val="visible"/>
                                      </p:to>
                                    </p:set>
                                    <p:animEffect filter="fade" transition="in">
                                      <p:cBhvr>
                                        <p:cTn dur="500" id="17"/>
                                        <p:tgtEl>
                                          <p:spTgt spid="6"/>
                                        </p:tgtEl>
                                      </p:cBhvr>
                                    </p:animEffect>
                                  </p:childTnLst>
                                </p:cTn>
                              </p:par>
                            </p:childTnLst>
                          </p:cTn>
                        </p:par>
                        <p:par>
                          <p:cTn fill="hold" id="18" nodeType="afterGroup">
                            <p:stCondLst>
                              <p:cond delay="3000"/>
                            </p:stCondLst>
                            <p:childTnLst>
                              <p:par>
                                <p:cTn fill="hold" grpId="1" id="19" nodeType="afterEffect" presetClass="emph" presetID="26" presetSubtype="0">
                                  <p:stCondLst>
                                    <p:cond delay="0"/>
                                  </p:stCondLst>
                                  <p:childTnLst>
                                    <p:animEffect filter="fade" transition="out">
                                      <p:cBhvr>
                                        <p:cTn dur="500" id="20" tmFilter="0, 0; .2, .5; .8, .5; 1, 0"/>
                                        <p:tgtEl>
                                          <p:spTgt spid="6"/>
                                        </p:tgtEl>
                                      </p:cBhvr>
                                    </p:animEffect>
                                    <p:animScale>
                                      <p:cBhvr>
                                        <p:cTn autoRev="1" dur="250" fill="hold" id="21"/>
                                        <p:tgtEl>
                                          <p:spTgt spid="6"/>
                                        </p:tgtEl>
                                      </p:cBhvr>
                                      <p:by x="105000" y="105000"/>
                                    </p:animScale>
                                  </p:childTnLst>
                                </p:cTn>
                              </p:par>
                            </p:childTnLst>
                          </p:cTn>
                        </p:par>
                        <p:par>
                          <p:cTn fill="hold" id="22" nodeType="afterGroup">
                            <p:stCondLst>
                              <p:cond delay="3500"/>
                            </p:stCondLst>
                            <p:childTnLst>
                              <p:par>
                                <p:cTn fill="hold" grpId="0" id="23" nodeType="afterEffect" presetClass="entr" presetID="41" presetSubtype="0">
                                  <p:stCondLst>
                                    <p:cond delay="0"/>
                                  </p:stCondLst>
                                  <p:iterate type="lt">
                                    <p:tmPct val="10000"/>
                                  </p:iterate>
                                  <p:childTnLst>
                                    <p:set>
                                      <p:cBhvr>
                                        <p:cTn dur="1" fill="hold" id="24">
                                          <p:stCondLst>
                                            <p:cond delay="0"/>
                                          </p:stCondLst>
                                        </p:cTn>
                                        <p:tgtEl>
                                          <p:spTgt spid="7"/>
                                        </p:tgtEl>
                                        <p:attrNameLst>
                                          <p:attrName>style.visibility</p:attrName>
                                        </p:attrNameLst>
                                      </p:cBhvr>
                                      <p:to>
                                        <p:strVal val="visible"/>
                                      </p:to>
                                    </p:set>
                                    <p:anim calcmode="lin" valueType="num">
                                      <p:cBhvr>
                                        <p:cTn dur="200" fill="hold" id="25"/>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dur="200" fill="hold" id="26"/>
                                        <p:tgtEl>
                                          <p:spTgt spid="7"/>
                                        </p:tgtEl>
                                        <p:attrNameLst>
                                          <p:attrName>ppt_y</p:attrName>
                                        </p:attrNameLst>
                                      </p:cBhvr>
                                      <p:tavLst>
                                        <p:tav tm="0">
                                          <p:val>
                                            <p:strVal val="#ppt_y"/>
                                          </p:val>
                                        </p:tav>
                                        <p:tav tm="100000">
                                          <p:val>
                                            <p:strVal val="#ppt_y"/>
                                          </p:val>
                                        </p:tav>
                                      </p:tavLst>
                                    </p:anim>
                                    <p:anim calcmode="lin" valueType="num">
                                      <p:cBhvr>
                                        <p:cTn dur="200" fill="hold" id="27"/>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dur="200" fill="hold" id="28"/>
                                        <p:tgtEl>
                                          <p:spTgt spid="7"/>
                                        </p:tgtEl>
                                        <p:attrNameLst>
                                          <p:attrName>ppt_w</p:attrName>
                                        </p:attrNameLst>
                                      </p:cBhvr>
                                      <p:tavLst>
                                        <p:tav tm="0">
                                          <p:val>
                                            <p:strVal val="#ppt_w/10"/>
                                          </p:val>
                                        </p:tav>
                                        <p:tav tm="50000">
                                          <p:val>
                                            <p:strVal val="#ppt_w+.01"/>
                                          </p:val>
                                        </p:tav>
                                        <p:tav tm="100000">
                                          <p:val>
                                            <p:strVal val="#ppt_w"/>
                                          </p:val>
                                        </p:tav>
                                      </p:tavLst>
                                    </p:anim>
                                    <p:animEffect filter="fade" transition="in">
                                      <p:cBhvr>
                                        <p:cTn dur="200" id="29" tmFilter="0,0; .5, 1; 1, 1"/>
                                        <p:tgtEl>
                                          <p:spTgt spid="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
      <p:bldP grpId="1" spid="6"/>
      <p:bldP grpId="0" spid="7"/>
      <p:bldP grpId="0" spid="8"/>
      <p:bldP grpId="1" spid="8"/>
      <p:bldP grpId="2" spid="8"/>
    </p:bldLst>
  </p:timing>
</p:sld>
</file>

<file path=ppt/slides/slide2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7" name="Group 4"/>
          <p:cNvGrpSpPr>
            <a:grpSpLocks noChangeAspect="1"/>
          </p:cNvGrpSpPr>
          <p:nvPr/>
        </p:nvGrpSpPr>
        <p:grpSpPr>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gdLst>
                <a:gd fmla="*/ 152021 w 21600" name="T0"/>
                <a:gd fmla="*/ -47 h 21356" name="T1"/>
                <a:gd fmla="*/ 1014413 w 21600" name="T2"/>
                <a:gd fmla="*/ 1003300 h 21356" name="T3"/>
                <a:gd fmla="*/ 152021 w 21600" name="T4"/>
                <a:gd fmla="*/ -47 h 21356" name="T5"/>
                <a:gd fmla="*/ 1014413 w 21600" name="T6"/>
                <a:gd fmla="*/ 1003300 h 21356" name="T7"/>
                <a:gd fmla="*/ 0 w 21600" name="T8"/>
                <a:gd fmla="*/ 1003300 h 21356" name="T9"/>
                <a:gd fmla="*/ 152021 w 21600" name="T10"/>
                <a:gd fmla="*/ -47 h 21356"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fill="none" h="21356" w="21600">
                  <a:moveTo>
                    <a:pt x="3237" y="-1"/>
                  </a:moveTo>
                  <a:cubicBezTo>
                    <a:pt x="13795" y="1600"/>
                    <a:pt x="21600" y="10676"/>
                    <a:pt x="21600" y="21356"/>
                  </a:cubicBezTo>
                </a:path>
                <a:path h="21356" stroke="0" w="2160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len="med" type="triangle" w="med"/>
            </a:ln>
            <a:extLst>
              <a:ext uri="{909E8E84-426E-40DD-AFC4-6F175D3DCCD1}">
                <a14:hiddenFill>
                  <a:solidFill>
                    <a:srgbClr val="FFFFFF"/>
                  </a:solidFill>
                </a14:hiddenFill>
              </a:ext>
            </a:extLst>
          </p:spPr>
          <p:txBody>
            <a:bodyPr anchor="ctr" wrap="none"/>
            <a:lstStyle/>
            <a:p>
              <a:endParaRPr altLang="en-US" lang="zh-CN"/>
            </a:p>
          </p:txBody>
        </p:sp>
        <p:sp>
          <p:nvSpPr>
            <p:cNvPr id="49" name="Freeform 673"/>
            <p:cNvSpPr>
              <a:spLocks noChangeArrowheads="1" noEditPoints="1"/>
            </p:cNvSpPr>
            <p:nvPr/>
          </p:nvSpPr>
          <p:spPr bwMode="auto">
            <a:xfrm rot="-324743">
              <a:off x="4204278" y="1579484"/>
              <a:ext cx="2628900" cy="2630487"/>
            </a:xfrm>
            <a:custGeom>
              <a:gdLst>
                <a:gd fmla="*/ 2469660 w 1816" name="T0"/>
                <a:gd fmla="*/ 1147217 h 1816" name="T1"/>
                <a:gd fmla="*/ 2568099 w 1816" name="T2"/>
                <a:gd fmla="*/ 906765 h 1816" name="T3"/>
                <a:gd fmla="*/ 2284364 w 1816" name="T4"/>
                <a:gd fmla="*/ 666313 h 1816" name="T5"/>
                <a:gd fmla="*/ 2168553 w 1816" name="T6"/>
                <a:gd fmla="*/ 312877 h 1816" name="T7"/>
                <a:gd fmla="*/ 1907979 w 1816" name="T8"/>
                <a:gd fmla="*/ 309980 h 1816" name="T9"/>
                <a:gd fmla="*/ 1664777 w 1816" name="T10"/>
                <a:gd fmla="*/ 199894 h 1816" name="T11"/>
                <a:gd fmla="*/ 1415784 w 1816" name="T12"/>
                <a:gd fmla="*/ 150645 h 1816" name="T13"/>
                <a:gd fmla="*/ 1146525 w 1816" name="T14"/>
                <a:gd fmla="*/ 159336 h 1816" name="T15"/>
                <a:gd fmla="*/ 906218 w 1816" name="T16"/>
                <a:gd fmla="*/ 60837 h 1816" name="T17"/>
                <a:gd fmla="*/ 665911 w 1816" name="T18"/>
                <a:gd fmla="*/ 341847 h 1816" name="T19"/>
                <a:gd fmla="*/ 312689 w 1816" name="T20"/>
                <a:gd fmla="*/ 457728 h 1816" name="T21"/>
                <a:gd fmla="*/ 309793 w 1816" name="T22"/>
                <a:gd fmla="*/ 718459 h 1816" name="T23"/>
                <a:gd fmla="*/ 199773 w 1816" name="T24"/>
                <a:gd fmla="*/ 964705 h 1816" name="T25"/>
                <a:gd fmla="*/ 150554 w 1816" name="T26"/>
                <a:gd fmla="*/ 1210951 h 1816" name="T27"/>
                <a:gd fmla="*/ 156344 w 1816" name="T28"/>
                <a:gd fmla="*/ 1480373 h 1816" name="T29"/>
                <a:gd fmla="*/ 60801 w 1816" name="T30"/>
                <a:gd fmla="*/ 1723722 h 1816" name="T31"/>
                <a:gd fmla="*/ 341641 w 1816" name="T32"/>
                <a:gd fmla="*/ 1964174 h 1816" name="T33"/>
                <a:gd fmla="*/ 457452 w 1816" name="T34"/>
                <a:gd fmla="*/ 2317610 h 1816" name="T35"/>
                <a:gd fmla="*/ 718026 w 1816" name="T36"/>
                <a:gd fmla="*/ 2320507 h 1816" name="T37"/>
                <a:gd fmla="*/ 964123 w 1816" name="T38"/>
                <a:gd fmla="*/ 2430593 h 1816" name="T39"/>
                <a:gd fmla="*/ 1210220 w 1816" name="T40"/>
                <a:gd fmla="*/ 2479842 h 1816" name="T41"/>
                <a:gd fmla="*/ 1479480 w 1816" name="T42"/>
                <a:gd fmla="*/ 2471151 h 1816" name="T43"/>
                <a:gd fmla="*/ 1719787 w 1816" name="T44"/>
                <a:gd fmla="*/ 2569650 h 1816" name="T45"/>
                <a:gd fmla="*/ 1962989 w 1816" name="T46"/>
                <a:gd fmla="*/ 2285743 h 1816" name="T47"/>
                <a:gd fmla="*/ 2316211 w 1816" name="T48"/>
                <a:gd fmla="*/ 2172759 h 1816" name="T49"/>
                <a:gd fmla="*/ 2319107 w 1816" name="T50"/>
                <a:gd fmla="*/ 1912028 h 1816" name="T51"/>
                <a:gd fmla="*/ 2429127 w 1816" name="T52"/>
                <a:gd fmla="*/ 1665782 h 1816" name="T53"/>
                <a:gd fmla="*/ 2475451 w 1816" name="T54"/>
                <a:gd fmla="*/ 1416639 h 1816" name="T55"/>
                <a:gd fmla="*/ 1262335 w 1816" name="T56"/>
                <a:gd fmla="*/ 2334992 h 1816" name="T57"/>
                <a:gd fmla="*/ 1056771 w 1816" name="T58"/>
                <a:gd fmla="*/ 2306022 h 1816" name="T59"/>
                <a:gd fmla="*/ 871475 w 1816" name="T60"/>
                <a:gd fmla="*/ 2236493 h 1816" name="T61"/>
                <a:gd fmla="*/ 700654 w 1816" name="T62"/>
                <a:gd fmla="*/ 2135098 h 1816" name="T63"/>
                <a:gd fmla="*/ 555891 w 1816" name="T64"/>
                <a:gd fmla="*/ 2001835 h 1816" name="T65"/>
                <a:gd fmla="*/ 440080 w 1816" name="T66"/>
                <a:gd fmla="*/ 1845397 h 1816" name="T67"/>
                <a:gd fmla="*/ 353222 w 1816" name="T68"/>
                <a:gd fmla="*/ 1665782 h 1816" name="T69"/>
                <a:gd fmla="*/ 304003 w 1816" name="T70"/>
                <a:gd fmla="*/ 1471682 h 1816" name="T71"/>
                <a:gd fmla="*/ 292422 w 1816" name="T72"/>
                <a:gd fmla="*/ 1263097 h 1816" name="T73"/>
                <a:gd fmla="*/ 324270 w 1816" name="T74"/>
                <a:gd fmla="*/ 1060306 h 1816" name="T75"/>
                <a:gd fmla="*/ 393756 w 1816" name="T76"/>
                <a:gd fmla="*/ 872001 h 1816" name="T77"/>
                <a:gd fmla="*/ 495090 w 1816" name="T78"/>
                <a:gd fmla="*/ 703974 h 1816" name="T79"/>
                <a:gd fmla="*/ 625377 w 1816" name="T80"/>
                <a:gd fmla="*/ 559123 h 1816" name="T81"/>
                <a:gd fmla="*/ 784617 w 1816" name="T82"/>
                <a:gd fmla="*/ 440346 h 1816" name="T83"/>
                <a:gd fmla="*/ 961228 w 1816" name="T84"/>
                <a:gd fmla="*/ 353435 h 1816" name="T85"/>
                <a:gd fmla="*/ 1158106 w 1816" name="T86"/>
                <a:gd fmla="*/ 304186 h 1816" name="T87"/>
                <a:gd fmla="*/ 1366565 w 1816" name="T88"/>
                <a:gd fmla="*/ 292598 h 1816" name="T89"/>
                <a:gd fmla="*/ 1569233 w 1816" name="T90"/>
                <a:gd fmla="*/ 324465 h 1816" name="T91"/>
                <a:gd fmla="*/ 1757425 w 1816" name="T92"/>
                <a:gd fmla="*/ 393994 h 1816" name="T93"/>
                <a:gd fmla="*/ 1925351 w 1816" name="T94"/>
                <a:gd fmla="*/ 495389 h 1816" name="T95"/>
                <a:gd fmla="*/ 2070114 w 1816" name="T96"/>
                <a:gd fmla="*/ 625755 h 1816" name="T97"/>
                <a:gd fmla="*/ 2188820 w 1816" name="T98"/>
                <a:gd fmla="*/ 785090 h 1816" name="T99"/>
                <a:gd fmla="*/ 2272782 w 1816" name="T100"/>
                <a:gd fmla="*/ 961808 h 1816" name="T101"/>
                <a:gd fmla="*/ 2324897 w 1816" name="T102"/>
                <a:gd fmla="*/ 1158805 h 1816" name="T103"/>
                <a:gd fmla="*/ 2333583 w 1816" name="T104"/>
                <a:gd fmla="*/ 1367390 h 1816" name="T105"/>
                <a:gd fmla="*/ 2304630 w 1816" name="T106"/>
                <a:gd fmla="*/ 1570181 h 1816" name="T107"/>
                <a:gd fmla="*/ 2235144 w 1816" name="T108"/>
                <a:gd fmla="*/ 1758486 h 1816" name="T109"/>
                <a:gd fmla="*/ 2133810 w 1816" name="T110"/>
                <a:gd fmla="*/ 1926513 h 1816" name="T111"/>
                <a:gd fmla="*/ 2000628 w 1816" name="T112"/>
                <a:gd fmla="*/ 2071364 h 1816" name="T113"/>
                <a:gd fmla="*/ 1844283 w 1816" name="T114"/>
                <a:gd fmla="*/ 2190141 h 1816" name="T115"/>
                <a:gd fmla="*/ 1664777 w 1816" name="T116"/>
                <a:gd fmla="*/ 2274155 h 1816" name="T117"/>
                <a:gd fmla="*/ 1467899 w 1816" name="T118"/>
                <a:gd fmla="*/ 2326301 h 181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b="b" l="0" r="r" t="0"/>
              <a:pathLst>
                <a:path h="1815" w="1815">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sp>
          <p:nvSpPr>
            <p:cNvPr id="50" name="Freeform 675"/>
            <p:cNvSpPr>
              <a:spLocks noChangeArrowheads="1" noEditPoints="1"/>
            </p:cNvSpPr>
            <p:nvPr/>
          </p:nvSpPr>
          <p:spPr bwMode="auto">
            <a:xfrm rot="-324743">
              <a:off x="940378" y="1649334"/>
              <a:ext cx="3429000" cy="3429000"/>
            </a:xfrm>
            <a:custGeom>
              <a:gdLst>
                <a:gd fmla="*/ 3285144 w 2622" name="T0"/>
                <a:gd fmla="*/ 1506563 h 2622" name="T1"/>
                <a:gd fmla="*/ 3217140 w 2622" name="T2"/>
                <a:gd fmla="*/ 1216236 h 2622" name="T3"/>
                <a:gd fmla="*/ 3245911 w 2622" name="T4"/>
                <a:gd fmla="*/ 938986 h 2622" name="T5"/>
                <a:gd fmla="*/ 2934659 w 2622" name="T6"/>
                <a:gd fmla="*/ 706201 h 2622" name="T7"/>
                <a:gd fmla="*/ 2722799 w 2622" name="T8"/>
                <a:gd fmla="*/ 494341 h 2622" name="T9"/>
                <a:gd fmla="*/ 2492629 w 2622" name="T10"/>
                <a:gd fmla="*/ 183089 h 2622" name="T11"/>
                <a:gd fmla="*/ 2215380 w 2622" name="T12"/>
                <a:gd fmla="*/ 211860 h 2622" name="T13"/>
                <a:gd fmla="*/ 1922437 w 2622" name="T14"/>
                <a:gd fmla="*/ 146471 h 2622" name="T15"/>
                <a:gd fmla="*/ 1621648 w 2622" name="T16"/>
                <a:gd fmla="*/ 136009 h 2622" name="T17"/>
                <a:gd fmla="*/ 1362707 w 2622" name="T18"/>
                <a:gd fmla="*/ 34002 h 2622" name="T19"/>
                <a:gd fmla="*/ 1056686 w 2622" name="T20"/>
                <a:gd fmla="*/ 274634 h 2622" name="T21"/>
                <a:gd fmla="*/ 797746 w 2622" name="T22"/>
                <a:gd fmla="*/ 426336 h 2622" name="T23"/>
                <a:gd fmla="*/ 436799 w 2622" name="T24"/>
                <a:gd fmla="*/ 567577 h 2622" name="T25"/>
                <a:gd fmla="*/ 394950 w 2622" name="T26"/>
                <a:gd fmla="*/ 844826 h 2622" name="T27"/>
                <a:gd fmla="*/ 253709 w 2622" name="T28"/>
                <a:gd fmla="*/ 1108998 h 2622" name="T29"/>
                <a:gd fmla="*/ 164780 w 2622" name="T30"/>
                <a:gd fmla="*/ 1396709 h 2622" name="T31"/>
                <a:gd fmla="*/ 0 w 2622" name="T32"/>
                <a:gd fmla="*/ 1621648 h 2622" name="T33"/>
                <a:gd fmla="*/ 154318 w 2622" name="T34"/>
                <a:gd fmla="*/ 1977364 h 2622" name="T35"/>
                <a:gd fmla="*/ 232785 w 2622" name="T36"/>
                <a:gd fmla="*/ 2267691 h 2622" name="T37"/>
                <a:gd fmla="*/ 277249 w 2622" name="T38"/>
                <a:gd fmla="*/ 2652178 h 2622" name="T39"/>
                <a:gd fmla="*/ 533574 w 2622" name="T40"/>
                <a:gd fmla="*/ 2767263 h 2622" name="T41"/>
                <a:gd fmla="*/ 753281 w 2622" name="T42"/>
                <a:gd fmla="*/ 2971277 h 2622" name="T43"/>
                <a:gd fmla="*/ 1006991 w 2622" name="T44"/>
                <a:gd fmla="*/ 3130826 h 2622" name="T45"/>
                <a:gd fmla="*/ 1182233 w 2622" name="T46"/>
                <a:gd fmla="*/ 3347918 h 2622" name="T47"/>
                <a:gd fmla="*/ 1564105 w 2622" name="T48"/>
                <a:gd fmla="*/ 3290375 h 2622" name="T49"/>
                <a:gd fmla="*/ 1864895 w 2622" name="T50"/>
                <a:gd fmla="*/ 3290375 h 2622" name="T51"/>
                <a:gd fmla="*/ 2249382 w 2622" name="T52"/>
                <a:gd fmla="*/ 3347918 h 2622" name="T53"/>
                <a:gd fmla="*/ 2424625 w 2622" name="T54"/>
                <a:gd fmla="*/ 3130826 h 2622" name="T55"/>
                <a:gd fmla="*/ 2678334 w 2622" name="T56"/>
                <a:gd fmla="*/ 2971277 h 2622" name="T57"/>
                <a:gd fmla="*/ 2898041 w 2622" name="T58"/>
                <a:gd fmla="*/ 2767263 h 2622" name="T59"/>
                <a:gd fmla="*/ 3154366 w 2622" name="T60"/>
                <a:gd fmla="*/ 2652178 h 2622" name="T61"/>
                <a:gd fmla="*/ 3198831 w 2622" name="T62"/>
                <a:gd fmla="*/ 2267691 h 2622" name="T63"/>
                <a:gd fmla="*/ 3277297 w 2622" name="T64"/>
                <a:gd fmla="*/ 1977364 h 2622" name="T65"/>
                <a:gd fmla="*/ 1715808 w 2622" name="T66"/>
                <a:gd fmla="*/ 3164828 h 2622" name="T67"/>
                <a:gd fmla="*/ 1422865 w 2622" name="T68"/>
                <a:gd fmla="*/ 3136057 h 2622" name="T69"/>
                <a:gd fmla="*/ 1085458 w 2622" name="T70"/>
                <a:gd fmla="*/ 3023588 h 2622" name="T71"/>
                <a:gd fmla="*/ 792515 w 2622" name="T72"/>
                <a:gd fmla="*/ 2835268 h 2622" name="T73"/>
                <a:gd fmla="*/ 551883 w 2622" name="T74"/>
                <a:gd fmla="*/ 2584174 h 2622" name="T75"/>
                <a:gd fmla="*/ 379256 w 2622" name="T76"/>
                <a:gd fmla="*/ 2280769 h 2622" name="T77"/>
                <a:gd fmla="*/ 282481 w 2622" name="T78"/>
                <a:gd fmla="*/ 1935515 h 2622" name="T79"/>
                <a:gd fmla="*/ 272018 w 2622" name="T80"/>
                <a:gd fmla="*/ 1566721 h 2622" name="T81"/>
                <a:gd fmla="*/ 353101 w 2622" name="T82"/>
                <a:gd fmla="*/ 1216236 h 2622" name="T83"/>
                <a:gd fmla="*/ 512650 w 2622" name="T84"/>
                <a:gd fmla="*/ 904984 h 2622" name="T85"/>
                <a:gd fmla="*/ 740204 w 2622" name="T86"/>
                <a:gd fmla="*/ 640812 h 2622" name="T87"/>
                <a:gd fmla="*/ 1022684 w 2622" name="T88"/>
                <a:gd fmla="*/ 439414 h 2622" name="T89"/>
                <a:gd fmla="*/ 1352245 w 2622" name="T90"/>
                <a:gd fmla="*/ 308636 h 2622" name="T91"/>
                <a:gd fmla="*/ 1715808 w 2622" name="T92"/>
                <a:gd fmla="*/ 264172 h 2622" name="T93"/>
                <a:gd fmla="*/ 2076755 w 2622" name="T94"/>
                <a:gd fmla="*/ 308636 h 2622" name="T95"/>
                <a:gd fmla="*/ 2406316 w 2622" name="T96"/>
                <a:gd fmla="*/ 439414 h 2622" name="T97"/>
                <a:gd fmla="*/ 2691412 w 2622" name="T98"/>
                <a:gd fmla="*/ 640812 h 2622" name="T99"/>
                <a:gd fmla="*/ 2918966 w 2622" name="T100"/>
                <a:gd fmla="*/ 904984 h 2622" name="T101"/>
                <a:gd fmla="*/ 3078515 w 2622" name="T102"/>
                <a:gd fmla="*/ 1216236 h 2622" name="T103"/>
                <a:gd fmla="*/ 3159597 w 2622" name="T104"/>
                <a:gd fmla="*/ 1566721 h 2622" name="T105"/>
                <a:gd fmla="*/ 3149135 w 2622" name="T106"/>
                <a:gd fmla="*/ 1935515 h 2622" name="T107"/>
                <a:gd fmla="*/ 3052359 w 2622" name="T108"/>
                <a:gd fmla="*/ 2280769 h 2622" name="T109"/>
                <a:gd fmla="*/ 2877117 w 2622" name="T110"/>
                <a:gd fmla="*/ 2584174 h 2622" name="T111"/>
                <a:gd fmla="*/ 2639101 w 2622" name="T112"/>
                <a:gd fmla="*/ 2835268 h 2622" name="T113"/>
                <a:gd fmla="*/ 2343542 w 2622" name="T114"/>
                <a:gd fmla="*/ 3023588 h 2622" name="T115"/>
                <a:gd fmla="*/ 2008751 w 2622" name="T116"/>
                <a:gd fmla="*/ 3136057 h 2622"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b" l="0" r="r" t="0"/>
              <a:pathLst>
                <a:path h="2622" w="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w="9525">
                  <a:solidFill>
                    <a:srgbClr val="000000"/>
                  </a:solidFill>
                  <a:round/>
                  <a:headEnd/>
                  <a:tailEnd/>
                </a14:hiddenLine>
              </a:ext>
            </a:extLst>
          </p:spPr>
          <p:txBody>
            <a:bodyPr anchor="ctr" wrap="none"/>
            <a:lstStyle/>
            <a:p>
              <a:pPr algn="just" eaLnBrk="1" hangingPunct="1" latinLnBrk="1">
                <a:lnSpc>
                  <a:spcPct val="120000"/>
                </a:lnSpc>
              </a:pPr>
              <a:endParaRPr altLang="en-US" lang="ko-KR" sz="600">
                <a:solidFill>
                  <a:srgbClr val="A6A6A6"/>
                </a:solidFill>
                <a:latin charset="0" pitchFamily="34" typeface="Arial"/>
                <a:ea charset="-127" pitchFamily="34" typeface="Malgun Gothic"/>
                <a:sym charset="0" pitchFamily="34" typeface="Arial"/>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w="9525">
                  <a:solidFill>
                    <a:srgbClr val="000000"/>
                  </a:solidFill>
                  <a:round/>
                  <a:headEnd/>
                  <a:tailEnd/>
                </a14:hiddenLine>
              </a:ext>
            </a:extLst>
          </p:spPr>
          <p:txBody>
            <a:bodyPr anchor="ctr" wrap="none"/>
            <a:lstStyle/>
            <a:p>
              <a:pPr algn="just" eaLnBrk="1" hangingPunct="1" latinLnBrk="1">
                <a:lnSpc>
                  <a:spcPct val="120000"/>
                </a:lnSpc>
              </a:pPr>
              <a:endParaRPr altLang="en-US" lang="ko-KR" sz="600">
                <a:solidFill>
                  <a:srgbClr val="A6A6A6"/>
                </a:solidFill>
                <a:latin charset="0" pitchFamily="34" typeface="Arial"/>
                <a:ea charset="-127" pitchFamily="34" typeface="Malgun Gothic"/>
                <a:sym charset="0" pitchFamily="34" typeface="Arial"/>
              </a:endParaRPr>
            </a:p>
          </p:txBody>
        </p:sp>
        <p:sp>
          <p:nvSpPr>
            <p:cNvPr id="53" name="Freeform 679"/>
            <p:cNvSpPr>
              <a:spLocks noEditPoints="1"/>
            </p:cNvSpPr>
            <p:nvPr/>
          </p:nvSpPr>
          <p:spPr bwMode="auto">
            <a:xfrm rot="21275256">
              <a:off x="5689453" y="3676106"/>
              <a:ext cx="2303754" cy="2303922"/>
            </a:xfrm>
            <a:custGeom>
              <a:gdLst>
                <a:gd fmla="*/ 2147483647 w 1816" name="T0"/>
                <a:gd fmla="*/ 2147483647 h 1816" name="T1"/>
                <a:gd fmla="*/ 2147483647 w 1816" name="T2"/>
                <a:gd fmla="*/ 2147483647 h 1816" name="T3"/>
                <a:gd fmla="*/ 2147483647 w 1816" name="T4"/>
                <a:gd fmla="*/ 2147483647 h 1816" name="T5"/>
                <a:gd fmla="*/ 2147483647 w 1816" name="T6"/>
                <a:gd fmla="*/ 2147483647 h 1816" name="T7"/>
                <a:gd fmla="*/ 2147483647 w 1816" name="T8"/>
                <a:gd fmla="*/ 2147483647 h 1816" name="T9"/>
                <a:gd fmla="*/ 2147483647 w 1816" name="T10"/>
                <a:gd fmla="*/ 2147483647 h 1816" name="T11"/>
                <a:gd fmla="*/ 2147483647 w 1816" name="T12"/>
                <a:gd fmla="*/ 2147483647 h 1816" name="T13"/>
                <a:gd fmla="*/ 2147483647 w 1816" name="T14"/>
                <a:gd fmla="*/ 2147483647 h 1816" name="T15"/>
                <a:gd fmla="*/ 2147483647 w 1816" name="T16"/>
                <a:gd fmla="*/ 2147483647 h 1816" name="T17"/>
                <a:gd fmla="*/ 2147483647 w 1816" name="T18"/>
                <a:gd fmla="*/ 2147483647 h 1816" name="T19"/>
                <a:gd fmla="*/ 2147483647 w 1816" name="T20"/>
                <a:gd fmla="*/ 2147483647 h 1816" name="T21"/>
                <a:gd fmla="*/ 2147483647 w 1816" name="T22"/>
                <a:gd fmla="*/ 2147483647 h 1816" name="T23"/>
                <a:gd fmla="*/ 0 w 1816" name="T24"/>
                <a:gd fmla="*/ 2147483647 h 1816" name="T25"/>
                <a:gd fmla="*/ 2147483647 w 1816" name="T26"/>
                <a:gd fmla="*/ 2147483647 h 1816" name="T27"/>
                <a:gd fmla="*/ 2147483647 w 1816" name="T28"/>
                <a:gd fmla="*/ 2147483647 h 1816" name="T29"/>
                <a:gd fmla="*/ 2147483647 w 1816" name="T30"/>
                <a:gd fmla="*/ 2147483647 h 1816" name="T31"/>
                <a:gd fmla="*/ 2147483647 w 1816" name="T32"/>
                <a:gd fmla="*/ 2147483647 h 1816" name="T33"/>
                <a:gd fmla="*/ 2147483647 w 1816" name="T34"/>
                <a:gd fmla="*/ 2147483647 h 1816" name="T35"/>
                <a:gd fmla="*/ 2147483647 w 1816" name="T36"/>
                <a:gd fmla="*/ 2147483647 h 1816" name="T37"/>
                <a:gd fmla="*/ 2147483647 w 1816" name="T38"/>
                <a:gd fmla="*/ 2147483647 h 1816" name="T39"/>
                <a:gd fmla="*/ 2147483647 w 1816" name="T40"/>
                <a:gd fmla="*/ 2147483647 h 1816" name="T41"/>
                <a:gd fmla="*/ 2147483647 w 1816" name="T42"/>
                <a:gd fmla="*/ 2147483647 h 1816" name="T43"/>
                <a:gd fmla="*/ 2147483647 w 1816" name="T44"/>
                <a:gd fmla="*/ 2147483647 h 1816" name="T45"/>
                <a:gd fmla="*/ 2147483647 w 1816" name="T46"/>
                <a:gd fmla="*/ 2147483647 h 1816" name="T47"/>
                <a:gd fmla="*/ 2147483647 w 1816" name="T48"/>
                <a:gd fmla="*/ 2147483647 h 1816" name="T49"/>
                <a:gd fmla="*/ 2147483647 w 1816" name="T50"/>
                <a:gd fmla="*/ 2147483647 h 1816" name="T51"/>
                <a:gd fmla="*/ 2147483647 w 1816" name="T52"/>
                <a:gd fmla="*/ 2147483647 h 1816" name="T53"/>
                <a:gd fmla="*/ 2147483647 w 1816" name="T54"/>
                <a:gd fmla="*/ 2147483647 h 1816" name="T55"/>
                <a:gd fmla="*/ 2147483647 w 1816" name="T56"/>
                <a:gd fmla="*/ 2147483647 h 1816" name="T57"/>
                <a:gd fmla="*/ 2147483647 w 1816" name="T58"/>
                <a:gd fmla="*/ 2147483647 h 1816" name="T59"/>
                <a:gd fmla="*/ 2147483647 w 1816" name="T60"/>
                <a:gd fmla="*/ 2147483647 h 1816" name="T61"/>
                <a:gd fmla="*/ 2147483647 w 1816" name="T62"/>
                <a:gd fmla="*/ 2147483647 h 1816" name="T63"/>
                <a:gd fmla="*/ 2147483647 w 1816" name="T64"/>
                <a:gd fmla="*/ 2147483647 h 1816" name="T65"/>
                <a:gd fmla="*/ 2147483647 w 1816" name="T66"/>
                <a:gd fmla="*/ 2147483647 h 1816" name="T67"/>
                <a:gd fmla="*/ 2147483647 w 1816" name="T68"/>
                <a:gd fmla="*/ 2147483647 h 1816" name="T69"/>
                <a:gd fmla="*/ 2147483647 w 1816" name="T70"/>
                <a:gd fmla="*/ 2147483647 h 1816" name="T71"/>
                <a:gd fmla="*/ 2147483647 w 1816" name="T72"/>
                <a:gd fmla="*/ 2147483647 h 1816" name="T73"/>
                <a:gd fmla="*/ 2147483647 w 1816" name="T74"/>
                <a:gd fmla="*/ 2147483647 h 1816" name="T75"/>
                <a:gd fmla="*/ 2147483647 w 1816" name="T76"/>
                <a:gd fmla="*/ 2147483647 h 1816" name="T77"/>
                <a:gd fmla="*/ 2147483647 w 1816" name="T78"/>
                <a:gd fmla="*/ 2147483647 h 1816" name="T79"/>
                <a:gd fmla="*/ 2147483647 w 1816" name="T80"/>
                <a:gd fmla="*/ 2147483647 h 1816" name="T81"/>
                <a:gd fmla="*/ 2147483647 w 1816" name="T82"/>
                <a:gd fmla="*/ 2147483647 h 1816" name="T83"/>
                <a:gd fmla="*/ 2147483647 w 1816" name="T84"/>
                <a:gd fmla="*/ 2147483647 h 1816" name="T85"/>
                <a:gd fmla="*/ 2147483647 w 1816" name="T86"/>
                <a:gd fmla="*/ 2147483647 h 1816" name="T87"/>
                <a:gd fmla="*/ 2147483647 w 1816" name="T88"/>
                <a:gd fmla="*/ 2147483647 h 1816" name="T89"/>
                <a:gd fmla="*/ 2147483647 w 1816" name="T90"/>
                <a:gd fmla="*/ 2147483647 h 1816" name="T91"/>
                <a:gd fmla="*/ 2147483647 w 1816" name="T92"/>
                <a:gd fmla="*/ 2147483647 h 1816" name="T93"/>
                <a:gd fmla="*/ 2147483647 w 1816" name="T94"/>
                <a:gd fmla="*/ 2147483647 h 1816" name="T95"/>
                <a:gd fmla="*/ 2147483647 w 1816" name="T96"/>
                <a:gd fmla="*/ 2147483647 h 1816" name="T97"/>
                <a:gd fmla="*/ 2147483647 w 1816" name="T98"/>
                <a:gd fmla="*/ 2147483647 h 1816" name="T99"/>
                <a:gd fmla="*/ 2147483647 w 1816" name="T100"/>
                <a:gd fmla="*/ 2147483647 h 1816" name="T101"/>
                <a:gd fmla="*/ 2147483647 w 1816" name="T102"/>
                <a:gd fmla="*/ 2147483647 h 181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w 1816" name="T156"/>
                <a:gd fmla="*/ 0 h 1816" name="T157"/>
                <a:gd fmla="*/ 1816 w 1816" name="T158"/>
                <a:gd fmla="*/ 1816 h 1816" name="T159"/>
              </a:gd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b="T159" l="T156" r="T158" t="T157"/>
              <a:pathLst>
                <a:path h="1815" w="1815">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w="19050">
                  <a:solidFill>
                    <a:srgbClr val="000000"/>
                  </a:solidFill>
                  <a:prstDash val="sysDot"/>
                  <a:round/>
                </a14:hiddenLine>
              </a:ext>
            </a:extLst>
          </p:spPr>
          <p:txBody>
            <a:bodyPr anchor="ctr" wrap="none"/>
            <a:lstStyle/>
            <a:p>
              <a:pPr algn="just" eaLnBrk="1" hangingPunct="1" latinLnBrk="1">
                <a:lnSpc>
                  <a:spcPct val="120000"/>
                </a:lnSpc>
                <a:spcBef>
                  <a:spcPct val="0"/>
                </a:spcBef>
                <a:spcAft>
                  <a:spcPct val="0"/>
                </a:spcAft>
                <a:defRPr/>
              </a:pPr>
              <a:endParaRPr altLang="en-US" kumimoji="1" lang="zh-CN" noProof="1" sz="600">
                <a:solidFill>
                  <a:schemeClr val="bg1">
                    <a:lumMod val="65000"/>
                  </a:schemeClr>
                </a:solidFill>
                <a:latin charset="0" pitchFamily="34" typeface="Arial"/>
                <a:ea charset="-122" panose="020b0503020204020204" pitchFamily="34" typeface="微软雅黑"/>
                <a:cs typeface="+mn-ea"/>
                <a:sym charset="0" pitchFamily="34" typeface="Arial"/>
              </a:endParaRPr>
            </a:p>
          </p:txBody>
        </p:sp>
        <p:sp>
          <p:nvSpPr>
            <p:cNvPr id="54" name="Oval 680"/>
            <p:cNvSpPr>
              <a:spLocks noChangeArrowheads="1"/>
            </p:cNvSpPr>
            <p:nvPr/>
          </p:nvSpPr>
          <p:spPr bwMode="auto">
            <a:xfrm rot="21275256">
              <a:off x="6050897" y="4039847"/>
              <a:ext cx="1577880" cy="1577996"/>
            </a:xfrm>
            <a:prstGeom prst="ellipse">
              <a:avLst/>
            </a:prstGeom>
            <a:solidFill>
              <a:srgbClr val="00AEEF"/>
            </a:solidFill>
            <a:ln>
              <a:noFill/>
            </a:ln>
            <a:extLst>
              <a:ext uri="{91240B29-F687-4F45-9708-019B960494DF}">
                <a14:hiddenLine w="19050">
                  <a:solidFill>
                    <a:srgbClr val="000000"/>
                  </a:solidFill>
                  <a:round/>
                </a14:hiddenLine>
              </a:ext>
            </a:extLst>
          </p:spPr>
          <p:txBody>
            <a:bodyPr anchor="ctr" wrap="none"/>
            <a:lstStyle/>
            <a:p>
              <a:pPr algn="just" eaLnBrk="1" hangingPunct="1" latinLnBrk="1">
                <a:lnSpc>
                  <a:spcPct val="120000"/>
                </a:lnSpc>
                <a:spcBef>
                  <a:spcPct val="0"/>
                </a:spcBef>
                <a:spcAft>
                  <a:spcPct val="0"/>
                </a:spcAft>
                <a:defRPr/>
              </a:pPr>
              <a:endParaRPr altLang="en-US" kumimoji="1" lang="ko-KR" noProof="1" sz="600">
                <a:solidFill>
                  <a:schemeClr val="bg1">
                    <a:lumMod val="65000"/>
                  </a:schemeClr>
                </a:solidFill>
                <a:latin charset="0" pitchFamily="34" typeface="Arial"/>
                <a:ea typeface="+mn-ea"/>
                <a:cs typeface="+mn-ea"/>
                <a:sym charset="0" pitchFamily="34" typeface="Arial"/>
              </a:endParaRPr>
            </a:p>
          </p:txBody>
        </p:sp>
        <p:sp>
          <p:nvSpPr>
            <p:cNvPr id="55" name="Arc 681"/>
            <p:cNvSpPr>
              <a:spLocks noChangeArrowheads="1"/>
            </p:cNvSpPr>
            <p:nvPr/>
          </p:nvSpPr>
          <p:spPr bwMode="auto">
            <a:xfrm rot="7501686">
              <a:off x="4141571" y="3609103"/>
              <a:ext cx="1906587" cy="1549400"/>
            </a:xfrm>
            <a:custGeom>
              <a:gdLst>
                <a:gd fmla="*/ 1309896 w 21600" name="T0"/>
                <a:gd fmla="*/ -99 h 15695" name="T1"/>
                <a:gd fmla="*/ 1906587 w 21600" name="T2"/>
                <a:gd fmla="*/ 1549400 h 15695" name="T3"/>
                <a:gd fmla="*/ 1309896 w 21600" name="T4"/>
                <a:gd fmla="*/ -99 h 15695" name="T5"/>
                <a:gd fmla="*/ 1906587 w 21600" name="T6"/>
                <a:gd fmla="*/ 1549400 h 15695" name="T7"/>
                <a:gd fmla="*/ 0 w 21600" name="T8"/>
                <a:gd fmla="*/ 1549400 h 15695" name="T9"/>
                <a:gd fmla="*/ 1309896 w 21600" name="T10"/>
                <a:gd fmla="*/ -99 h 15695"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fill="none" h="15695" w="21600">
                  <a:moveTo>
                    <a:pt x="14840" y="-1"/>
                  </a:moveTo>
                  <a:cubicBezTo>
                    <a:pt x="19155" y="4079"/>
                    <a:pt x="21600" y="9756"/>
                    <a:pt x="21600" y="15695"/>
                  </a:cubicBezTo>
                </a:path>
                <a:path h="15695" stroke="0" w="2160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len="med" type="triangle" w="med"/>
            </a:ln>
            <a:extLst>
              <a:ext uri="{909E8E84-426E-40DD-AFC4-6F175D3DCCD1}">
                <a14:hiddenFill>
                  <a:solidFill>
                    <a:srgbClr val="FFFFFF"/>
                  </a:solidFill>
                </a14:hiddenFill>
              </a:ext>
            </a:extLst>
          </p:spPr>
          <p:txBody>
            <a:bodyPr anchor="ctr" wrap="none"/>
            <a:lstStyle/>
            <a:p>
              <a:endParaRPr altLang="en-US" lang="zh-CN"/>
            </a:p>
          </p:txBody>
        </p:sp>
        <p:sp>
          <p:nvSpPr>
            <p:cNvPr id="56" name="Arc 683"/>
            <p:cNvSpPr>
              <a:spLocks noChangeArrowheads="1"/>
            </p:cNvSpPr>
            <p:nvPr/>
          </p:nvSpPr>
          <p:spPr bwMode="auto">
            <a:xfrm rot="256945">
              <a:off x="7018916" y="2744709"/>
              <a:ext cx="620712" cy="898525"/>
            </a:xfrm>
            <a:custGeom>
              <a:gdLst>
                <a:gd fmla="*/ 93021 w 21600" name="T0"/>
                <a:gd fmla="*/ -29 h 31203" name="T1"/>
                <a:gd fmla="*/ 620712 w 21600" name="T2"/>
                <a:gd fmla="*/ 614970 h 31203" name="T3"/>
                <a:gd fmla="*/ 552434 w 21600" name="T4"/>
                <a:gd fmla="*/ 898496 h 31203" name="T5"/>
                <a:gd fmla="*/ 93021 w 21600" name="T6"/>
                <a:gd fmla="*/ -29 h 31203" name="T7"/>
                <a:gd fmla="*/ 620712 w 21600" name="T8"/>
                <a:gd fmla="*/ 614970 h 31203" name="T9"/>
                <a:gd fmla="*/ 552434 w 21600" name="T10"/>
                <a:gd fmla="*/ 898496 h 31203" name="T11"/>
                <a:gd fmla="*/ 0 w 21600" name="T12"/>
                <a:gd fmla="*/ 614970 h 31203" name="T13"/>
                <a:gd fmla="*/ 93021 w 21600" name="T14"/>
                <a:gd fmla="*/ -29 h 31203"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fill="none" h="31203" w="21600">
                  <a:moveTo>
                    <a:pt x="3237" y="-1"/>
                  </a:moveTo>
                  <a:cubicBezTo>
                    <a:pt x="13795" y="1600"/>
                    <a:pt x="21600" y="10676"/>
                    <a:pt x="21600" y="21356"/>
                  </a:cubicBezTo>
                  <a:cubicBezTo>
                    <a:pt x="21600" y="24780"/>
                    <a:pt x="20785" y="28155"/>
                    <a:pt x="19224" y="31202"/>
                  </a:cubicBezTo>
                </a:path>
                <a:path h="31203" stroke="0" w="2160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len="med" type="triangle" w="med"/>
            </a:ln>
            <a:extLst>
              <a:ext uri="{909E8E84-426E-40DD-AFC4-6F175D3DCCD1}">
                <a14:hiddenFill>
                  <a:solidFill>
                    <a:srgbClr val="FFFFFF"/>
                  </a:solidFill>
                </a14:hiddenFill>
              </a:ext>
            </a:extLst>
          </p:spPr>
          <p:txBody>
            <a:bodyPr anchor="ctr" wrap="none"/>
            <a:lstStyle/>
            <a:p>
              <a:endParaRPr altLang="en-US" lang="zh-CN"/>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6855" lIns="73712" rIns="73712" tIns="36855"/>
          <a:lstStyle/>
          <a:p>
            <a:pPr algn="ctr" eaLnBrk="1" hangingPunct="1">
              <a:lnSpc>
                <a:spcPct val="120000"/>
              </a:lnSpc>
              <a:buFont charset="0" pitchFamily="34" typeface="Arial"/>
              <a:buNone/>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请替换文字内容</a:t>
            </a: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6855" lIns="73712" rIns="73712" tIns="36855"/>
          <a:lstStyle/>
          <a:p>
            <a:pPr algn="ctr" eaLnBrk="1" hangingPunct="1">
              <a:lnSpc>
                <a:spcPct val="120000"/>
              </a:lnSpc>
              <a:buFont charset="0" pitchFamily="34" typeface="Arial"/>
              <a:buNone/>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请替换文字内容</a:t>
            </a: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6855" lIns="73712" rIns="73712" tIns="36855"/>
          <a:lstStyle/>
          <a:p>
            <a:pPr algn="ctr" eaLnBrk="1" hangingPunct="1">
              <a:lnSpc>
                <a:spcPct val="120000"/>
              </a:lnSpc>
              <a:buFont charset="0" pitchFamily="34" typeface="Arial"/>
              <a:buNone/>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请替换文字内容</a:t>
            </a: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gdLst>
                <a:gd fmla="*/ 183 w 371" name="T0"/>
                <a:gd fmla="*/ 1 h 370" name="T1"/>
                <a:gd fmla="*/ 2 w 371" name="T2"/>
                <a:gd fmla="*/ 187 h 370" name="T3"/>
                <a:gd fmla="*/ 188 w 371" name="T4"/>
                <a:gd fmla="*/ 369 h 370" name="T5"/>
                <a:gd fmla="*/ 370 w 371" name="T6"/>
                <a:gd fmla="*/ 182 h 370" name="T7"/>
                <a:gd fmla="*/ 183 w 371" name="T8"/>
                <a:gd fmla="*/ 1 h 370" name="T9"/>
                <a:gd fmla="*/ 184 w 371" name="T10"/>
                <a:gd fmla="*/ 25 h 370" name="T11"/>
                <a:gd fmla="*/ 260 w 371" name="T12"/>
                <a:gd fmla="*/ 43 h 370" name="T13"/>
                <a:gd fmla="*/ 235 w 371" name="T14"/>
                <a:gd fmla="*/ 84 h 370" name="T15"/>
                <a:gd fmla="*/ 186 w 371" name="T16"/>
                <a:gd fmla="*/ 73 h 370" name="T17"/>
                <a:gd fmla="*/ 137 w 371" name="T18"/>
                <a:gd fmla="*/ 84 h 370" name="T19"/>
                <a:gd fmla="*/ 112 w 371" name="T20"/>
                <a:gd fmla="*/ 43 h 370" name="T21"/>
                <a:gd fmla="*/ 184 w 371" name="T22"/>
                <a:gd fmla="*/ 25 h 370" name="T23"/>
                <a:gd fmla="*/ 85 w 371" name="T24"/>
                <a:gd fmla="*/ 234 h 370" name="T25"/>
                <a:gd fmla="*/ 44 w 371" name="T26"/>
                <a:gd fmla="*/ 259 h 370" name="T27"/>
                <a:gd fmla="*/ 26 w 371" name="T28"/>
                <a:gd fmla="*/ 187 h 370" name="T29"/>
                <a:gd fmla="*/ 44 w 371" name="T30"/>
                <a:gd fmla="*/ 111 h 370" name="T31"/>
                <a:gd fmla="*/ 85 w 371" name="T32"/>
                <a:gd fmla="*/ 136 h 370" name="T33"/>
                <a:gd fmla="*/ 74 w 371" name="T34"/>
                <a:gd fmla="*/ 185 h 370" name="T35"/>
                <a:gd fmla="*/ 85 w 371" name="T36"/>
                <a:gd fmla="*/ 234 h 370" name="T37"/>
                <a:gd fmla="*/ 188 w 371" name="T38"/>
                <a:gd fmla="*/ 345 h 370" name="T39"/>
                <a:gd fmla="*/ 112 w 371" name="T40"/>
                <a:gd fmla="*/ 327 h 370" name="T41"/>
                <a:gd fmla="*/ 137 w 371" name="T42"/>
                <a:gd fmla="*/ 286 h 370" name="T43"/>
                <a:gd fmla="*/ 186 w 371" name="T44"/>
                <a:gd fmla="*/ 297 h 370" name="T45"/>
                <a:gd fmla="*/ 235 w 371" name="T46"/>
                <a:gd fmla="*/ 286 h 370" name="T47"/>
                <a:gd fmla="*/ 260 w 371" name="T48"/>
                <a:gd fmla="*/ 327 h 370" name="T49"/>
                <a:gd fmla="*/ 188 w 371" name="T50"/>
                <a:gd fmla="*/ 345 h 370" name="T51"/>
                <a:gd fmla="*/ 186 w 371" name="T52"/>
                <a:gd fmla="*/ 273 h 370" name="T53"/>
                <a:gd fmla="*/ 98 w 371" name="T54"/>
                <a:gd fmla="*/ 185 h 370" name="T55"/>
                <a:gd fmla="*/ 186 w 371" name="T56"/>
                <a:gd fmla="*/ 97 h 370" name="T57"/>
                <a:gd fmla="*/ 274 w 371" name="T58"/>
                <a:gd fmla="*/ 185 h 370" name="T59"/>
                <a:gd fmla="*/ 186 w 371" name="T60"/>
                <a:gd fmla="*/ 273 h 370" name="T61"/>
                <a:gd fmla="*/ 286 w 371" name="T62"/>
                <a:gd fmla="*/ 234 h 370" name="T63"/>
                <a:gd fmla="*/ 298 w 371" name="T64"/>
                <a:gd fmla="*/ 185 h 370" name="T65"/>
                <a:gd fmla="*/ 286 w 371" name="T66"/>
                <a:gd fmla="*/ 136 h 370" name="T67"/>
                <a:gd fmla="*/ 328 w 371" name="T68"/>
                <a:gd fmla="*/ 111 h 370" name="T69"/>
                <a:gd fmla="*/ 346 w 371" name="T70"/>
                <a:gd fmla="*/ 183 h 370" name="T71"/>
                <a:gd fmla="*/ 328 w 371" name="T72"/>
                <a:gd fmla="*/ 259 h 370" name="T73"/>
                <a:gd fmla="*/ 286 w 371" name="T74"/>
                <a:gd fmla="*/ 234 h 370"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370" w="371">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bIns="52741" lIns="105484" rIns="105484" tIns="52741"/>
            <a:lstStyle/>
            <a:p>
              <a:pPr algn="just" eaLnBrk="1" hangingPunct="1">
                <a:lnSpc>
                  <a:spcPct val="120000"/>
                </a:lnSpc>
                <a:spcBef>
                  <a:spcPct val="0"/>
                </a:spcBef>
                <a:spcAft>
                  <a:spcPct val="0"/>
                </a:spcAft>
                <a:defRPr/>
              </a:pPr>
              <a:endParaRPr lang="en-US" noProof="1" sz="600">
                <a:solidFill>
                  <a:schemeClr val="bg1">
                    <a:lumMod val="85000"/>
                  </a:schemeClr>
                </a:solidFill>
                <a:latin charset="0" pitchFamily="34" typeface="Arial"/>
                <a:ea charset="-122" panose="020b0503020204020204" pitchFamily="34" typeface="微软雅黑"/>
                <a:cs typeface="+mn-ea"/>
                <a:sym charset="0" pitchFamily="34" typeface="Arial"/>
              </a:endParaRPr>
            </a:p>
          </p:txBody>
        </p:sp>
        <p:sp>
          <p:nvSpPr>
            <p:cNvPr id="62" name="Freeform 23"/>
            <p:cNvSpPr>
              <a:spLocks noEditPoints="1"/>
            </p:cNvSpPr>
            <p:nvPr/>
          </p:nvSpPr>
          <p:spPr bwMode="auto">
            <a:xfrm>
              <a:off x="5607370" y="3562829"/>
              <a:ext cx="587140" cy="587140"/>
            </a:xfrm>
            <a:custGeom>
              <a:gdLst>
                <a:gd fmla="*/ 192 w 384" name="T0"/>
                <a:gd fmla="*/ 0 h 384" name="T1"/>
                <a:gd fmla="*/ 0 w 384" name="T2"/>
                <a:gd fmla="*/ 192 h 384" name="T3"/>
                <a:gd fmla="*/ 192 w 384" name="T4"/>
                <a:gd fmla="*/ 384 h 384" name="T5"/>
                <a:gd fmla="*/ 384 w 384" name="T6"/>
                <a:gd fmla="*/ 192 h 384" name="T7"/>
                <a:gd fmla="*/ 192 w 384" name="T8"/>
                <a:gd fmla="*/ 0 h 384" name="T9"/>
                <a:gd fmla="*/ 192 w 384" name="T10"/>
                <a:gd fmla="*/ 349 h 384" name="T11"/>
                <a:gd fmla="*/ 35 w 384" name="T12"/>
                <a:gd fmla="*/ 192 h 384" name="T13"/>
                <a:gd fmla="*/ 192 w 384" name="T14"/>
                <a:gd fmla="*/ 35 h 384" name="T15"/>
                <a:gd fmla="*/ 349 w 384" name="T16"/>
                <a:gd fmla="*/ 192 h 384" name="T17"/>
                <a:gd fmla="*/ 192 w 384" name="T18"/>
                <a:gd fmla="*/ 349 h 384"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84" w="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bIns="52741" lIns="105484" rIns="105484" tIns="52741"/>
            <a:lstStyle/>
            <a:p>
              <a:pPr algn="just" eaLnBrk="1" hangingPunct="1">
                <a:lnSpc>
                  <a:spcPct val="120000"/>
                </a:lnSpc>
                <a:spcBef>
                  <a:spcPct val="0"/>
                </a:spcBef>
                <a:spcAft>
                  <a:spcPct val="0"/>
                </a:spcAft>
                <a:defRPr/>
              </a:pPr>
              <a:endParaRPr lang="en-US" noProof="1" sz="600">
                <a:solidFill>
                  <a:schemeClr val="bg1">
                    <a:lumMod val="85000"/>
                  </a:schemeClr>
                </a:solidFill>
                <a:latin charset="0" pitchFamily="34" typeface="Arial"/>
                <a:ea charset="-122" panose="020b0503020204020204" pitchFamily="34" typeface="微软雅黑"/>
                <a:cs typeface="+mn-ea"/>
                <a:sym charset="0" pitchFamily="34" typeface="Arial"/>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gdLst>
                <a:gd fmla="*/ 393 w 400" name="T0"/>
                <a:gd fmla="*/ 61 h 322" name="T1"/>
                <a:gd fmla="*/ 300 w 400" name="T2"/>
                <a:gd fmla="*/ 3 h 322" name="T3"/>
                <a:gd fmla="*/ 286 w 400" name="T4"/>
                <a:gd fmla="*/ 3 h 322" name="T5"/>
                <a:gd fmla="*/ 200 w 400" name="T6"/>
                <a:gd fmla="*/ 57 h 322" name="T7"/>
                <a:gd fmla="*/ 113 w 400" name="T8"/>
                <a:gd fmla="*/ 3 h 322" name="T9"/>
                <a:gd fmla="*/ 100 w 400" name="T10"/>
                <a:gd fmla="*/ 3 h 322" name="T11"/>
                <a:gd fmla="*/ 6 w 400" name="T12"/>
                <a:gd fmla="*/ 61 h 322" name="T13"/>
                <a:gd fmla="*/ 0 w 400" name="T14"/>
                <a:gd fmla="*/ 73 h 322" name="T15"/>
                <a:gd fmla="*/ 0 w 400" name="T16"/>
                <a:gd fmla="*/ 307 h 322" name="T17"/>
                <a:gd fmla="*/ 6 w 400" name="T18"/>
                <a:gd fmla="*/ 319 h 322" name="T19"/>
                <a:gd fmla="*/ 20 w 400" name="T20"/>
                <a:gd fmla="*/ 319 h 322" name="T21"/>
                <a:gd fmla="*/ 106 w 400" name="T22"/>
                <a:gd fmla="*/ 265 h 322" name="T23"/>
                <a:gd fmla="*/ 193 w 400" name="T24"/>
                <a:gd fmla="*/ 319 h 322" name="T25"/>
                <a:gd fmla="*/ 207 w 400" name="T26"/>
                <a:gd fmla="*/ 319 h 322" name="T27"/>
                <a:gd fmla="*/ 293 w 400" name="T28"/>
                <a:gd fmla="*/ 265 h 322" name="T29"/>
                <a:gd fmla="*/ 380 w 400" name="T30"/>
                <a:gd fmla="*/ 319 h 322" name="T31"/>
                <a:gd fmla="*/ 387 w 400" name="T32"/>
                <a:gd fmla="*/ 321 h 322" name="T33"/>
                <a:gd fmla="*/ 393 w 400" name="T34"/>
                <a:gd fmla="*/ 319 h 322" name="T35"/>
                <a:gd fmla="*/ 400 w 400" name="T36"/>
                <a:gd fmla="*/ 307 h 322" name="T37"/>
                <a:gd fmla="*/ 400 w 400" name="T38"/>
                <a:gd fmla="*/ 73 h 322" name="T39"/>
                <a:gd fmla="*/ 393 w 400" name="T40"/>
                <a:gd fmla="*/ 61 h 322" name="T41"/>
                <a:gd fmla="*/ 93 w 400" name="T42"/>
                <a:gd fmla="*/ 241 h 322" name="T43"/>
                <a:gd fmla="*/ 26 w 400" name="T44"/>
                <a:gd fmla="*/ 283 h 322" name="T45"/>
                <a:gd fmla="*/ 26 w 400" name="T46"/>
                <a:gd fmla="*/ 81 h 322" name="T47"/>
                <a:gd fmla="*/ 93 w 400" name="T48"/>
                <a:gd fmla="*/ 39 h 322" name="T49"/>
                <a:gd fmla="*/ 93 w 400" name="T50"/>
                <a:gd fmla="*/ 241 h 322" name="T51"/>
                <a:gd fmla="*/ 187 w 400" name="T52"/>
                <a:gd fmla="*/ 283 h 322" name="T53"/>
                <a:gd fmla="*/ 119 w 400" name="T54"/>
                <a:gd fmla="*/ 241 h 322" name="T55"/>
                <a:gd fmla="*/ 119 w 400" name="T56"/>
                <a:gd fmla="*/ 39 h 322" name="T57"/>
                <a:gd fmla="*/ 187 w 400" name="T58"/>
                <a:gd fmla="*/ 81 h 322" name="T59"/>
                <a:gd fmla="*/ 187 w 400" name="T60"/>
                <a:gd fmla="*/ 283 h 322" name="T61"/>
                <a:gd fmla="*/ 280 w 400" name="T62"/>
                <a:gd fmla="*/ 241 h 322" name="T63"/>
                <a:gd fmla="*/ 213 w 400" name="T64"/>
                <a:gd fmla="*/ 283 h 322" name="T65"/>
                <a:gd fmla="*/ 213 w 400" name="T66"/>
                <a:gd fmla="*/ 81 h 322" name="T67"/>
                <a:gd fmla="*/ 280 w 400" name="T68"/>
                <a:gd fmla="*/ 39 h 322" name="T69"/>
                <a:gd fmla="*/ 280 w 400" name="T70"/>
                <a:gd fmla="*/ 241 h 322" name="T71"/>
                <a:gd fmla="*/ 374 w 400" name="T72"/>
                <a:gd fmla="*/ 283 h 322" name="T73"/>
                <a:gd fmla="*/ 306 w 400" name="T74"/>
                <a:gd fmla="*/ 241 h 322" name="T75"/>
                <a:gd fmla="*/ 306 w 400" name="T76"/>
                <a:gd fmla="*/ 39 h 322" name="T77"/>
                <a:gd fmla="*/ 374 w 400" name="T78"/>
                <a:gd fmla="*/ 81 h 322" name="T79"/>
                <a:gd fmla="*/ 374 w 400" name="T80"/>
                <a:gd fmla="*/ 283 h 322"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322" w="400">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bIns="52741" lIns="105484" rIns="105484" tIns="52741"/>
            <a:lstStyle/>
            <a:p>
              <a:pPr algn="just" eaLnBrk="1" hangingPunct="1">
                <a:lnSpc>
                  <a:spcPct val="120000"/>
                </a:lnSpc>
                <a:spcBef>
                  <a:spcPct val="0"/>
                </a:spcBef>
                <a:spcAft>
                  <a:spcPct val="0"/>
                </a:spcAft>
                <a:defRPr/>
              </a:pPr>
              <a:endParaRPr lang="en-US" noProof="1" sz="600">
                <a:solidFill>
                  <a:schemeClr val="bg1">
                    <a:lumMod val="85000"/>
                  </a:schemeClr>
                </a:solidFill>
                <a:latin charset="0" pitchFamily="34" typeface="Arial"/>
                <a:ea charset="-122" panose="020b0503020204020204" pitchFamily="34" typeface="微软雅黑"/>
                <a:cs typeface="+mn-ea"/>
                <a:sym charset="0" pitchFamily="34" typeface="Arial"/>
              </a:endParaRPr>
            </a:p>
          </p:txBody>
        </p:sp>
        <p:sp>
          <p:nvSpPr>
            <p:cNvPr id="65" name="Freeform 23"/>
            <p:cNvSpPr>
              <a:spLocks noEditPoints="1"/>
            </p:cNvSpPr>
            <p:nvPr/>
          </p:nvSpPr>
          <p:spPr bwMode="auto">
            <a:xfrm>
              <a:off x="6665323" y="3562825"/>
              <a:ext cx="587140" cy="587140"/>
            </a:xfrm>
            <a:custGeom>
              <a:gdLst>
                <a:gd fmla="*/ 192 w 384" name="T0"/>
                <a:gd fmla="*/ 0 h 384" name="T1"/>
                <a:gd fmla="*/ 0 w 384" name="T2"/>
                <a:gd fmla="*/ 192 h 384" name="T3"/>
                <a:gd fmla="*/ 192 w 384" name="T4"/>
                <a:gd fmla="*/ 384 h 384" name="T5"/>
                <a:gd fmla="*/ 384 w 384" name="T6"/>
                <a:gd fmla="*/ 192 h 384" name="T7"/>
                <a:gd fmla="*/ 192 w 384" name="T8"/>
                <a:gd fmla="*/ 0 h 384" name="T9"/>
                <a:gd fmla="*/ 192 w 384" name="T10"/>
                <a:gd fmla="*/ 349 h 384" name="T11"/>
                <a:gd fmla="*/ 35 w 384" name="T12"/>
                <a:gd fmla="*/ 192 h 384" name="T13"/>
                <a:gd fmla="*/ 192 w 384" name="T14"/>
                <a:gd fmla="*/ 35 h 384" name="T15"/>
                <a:gd fmla="*/ 349 w 384" name="T16"/>
                <a:gd fmla="*/ 192 h 384" name="T17"/>
                <a:gd fmla="*/ 192 w 384" name="T18"/>
                <a:gd fmla="*/ 349 h 384"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84" w="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bIns="52741" lIns="105484" rIns="105484" tIns="52741"/>
            <a:lstStyle/>
            <a:p>
              <a:pPr algn="just" eaLnBrk="1" hangingPunct="1">
                <a:lnSpc>
                  <a:spcPct val="120000"/>
                </a:lnSpc>
                <a:spcBef>
                  <a:spcPct val="0"/>
                </a:spcBef>
                <a:spcAft>
                  <a:spcPct val="0"/>
                </a:spcAft>
                <a:defRPr/>
              </a:pPr>
              <a:endParaRPr lang="en-US" noProof="1" sz="600">
                <a:solidFill>
                  <a:schemeClr val="bg1">
                    <a:lumMod val="85000"/>
                  </a:schemeClr>
                </a:solidFill>
                <a:latin charset="0" pitchFamily="34" typeface="Arial"/>
                <a:ea charset="-122" panose="020b0503020204020204" pitchFamily="34" typeface="微软雅黑"/>
                <a:cs typeface="+mn-ea"/>
                <a:sym charset="0" pitchFamily="34" typeface="Arial"/>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gdLst>
                <a:gd fmla="*/ 192 w 384" name="T0"/>
                <a:gd fmla="*/ 0 h 384" name="T1"/>
                <a:gd fmla="*/ 0 w 384" name="T2"/>
                <a:gd fmla="*/ 192 h 384" name="T3"/>
                <a:gd fmla="*/ 192 w 384" name="T4"/>
                <a:gd fmla="*/ 384 h 384" name="T5"/>
                <a:gd fmla="*/ 384 w 384" name="T6"/>
                <a:gd fmla="*/ 192 h 384" name="T7"/>
                <a:gd fmla="*/ 192 w 384" name="T8"/>
                <a:gd fmla="*/ 0 h 384" name="T9"/>
                <a:gd fmla="*/ 192 w 384" name="T10"/>
                <a:gd fmla="*/ 349 h 384" name="T11"/>
                <a:gd fmla="*/ 35 w 384" name="T12"/>
                <a:gd fmla="*/ 192 h 384" name="T13"/>
                <a:gd fmla="*/ 192 w 384" name="T14"/>
                <a:gd fmla="*/ 35 h 384" name="T15"/>
                <a:gd fmla="*/ 349 w 384" name="T16"/>
                <a:gd fmla="*/ 192 h 384" name="T17"/>
                <a:gd fmla="*/ 192 w 384" name="T18"/>
                <a:gd fmla="*/ 349 h 384"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84" w="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bIns="52741" lIns="105484" rIns="105484" tIns="52741"/>
            <a:lstStyle/>
            <a:p>
              <a:pPr algn="just" eaLnBrk="1" hangingPunct="1">
                <a:lnSpc>
                  <a:spcPct val="120000"/>
                </a:lnSpc>
                <a:spcBef>
                  <a:spcPct val="0"/>
                </a:spcBef>
                <a:spcAft>
                  <a:spcPct val="0"/>
                </a:spcAft>
                <a:defRPr/>
              </a:pPr>
              <a:endParaRPr lang="en-US" noProof="1" sz="600">
                <a:solidFill>
                  <a:schemeClr val="bg1">
                    <a:lumMod val="85000"/>
                  </a:schemeClr>
                </a:solidFill>
                <a:latin charset="0" pitchFamily="34" typeface="Arial"/>
                <a:ea charset="-122" panose="020b0503020204020204" pitchFamily="34" typeface="微软雅黑"/>
                <a:cs typeface="+mn-ea"/>
                <a:sym charset="0" pitchFamily="34" typeface="Arial"/>
              </a:endParaRPr>
            </a:p>
          </p:txBody>
        </p:sp>
        <p:sp>
          <p:nvSpPr>
            <p:cNvPr id="68" name="Freeform 27"/>
            <p:cNvSpPr>
              <a:spLocks noEditPoints="1"/>
            </p:cNvSpPr>
            <p:nvPr/>
          </p:nvSpPr>
          <p:spPr bwMode="auto">
            <a:xfrm>
              <a:off x="7931746" y="3722078"/>
              <a:ext cx="204352" cy="268635"/>
            </a:xfrm>
            <a:custGeom>
              <a:gdLst>
                <a:gd fmla="*/ 96 w 256" name="T0"/>
                <a:gd fmla="*/ 48 h 336" name="T1"/>
                <a:gd fmla="*/ 48 w 256" name="T2"/>
                <a:gd fmla="*/ 0 h 336" name="T3"/>
                <a:gd fmla="*/ 0 w 256" name="T4"/>
                <a:gd fmla="*/ 48 h 336" name="T5"/>
                <a:gd fmla="*/ 29 w 256" name="T6"/>
                <a:gd fmla="*/ 92 h 336" name="T7"/>
                <a:gd fmla="*/ 29 w 256" name="T8"/>
                <a:gd fmla="*/ 244 h 336" name="T9"/>
                <a:gd fmla="*/ 0 w 256" name="T10"/>
                <a:gd fmla="*/ 288 h 336" name="T11"/>
                <a:gd fmla="*/ 48 w 256" name="T12"/>
                <a:gd fmla="*/ 336 h 336" name="T13"/>
                <a:gd fmla="*/ 96 w 256" name="T14"/>
                <a:gd fmla="*/ 288 h 336" name="T15"/>
                <a:gd fmla="*/ 67 w 256" name="T16"/>
                <a:gd fmla="*/ 244 h 336" name="T17"/>
                <a:gd fmla="*/ 67 w 256" name="T18"/>
                <a:gd fmla="*/ 92 h 336" name="T19"/>
                <a:gd fmla="*/ 96 w 256" name="T20"/>
                <a:gd fmla="*/ 48 h 336" name="T21"/>
                <a:gd fmla="*/ 75 w 256" name="T22"/>
                <a:gd fmla="*/ 288 h 336" name="T23"/>
                <a:gd fmla="*/ 48 w 256" name="T24"/>
                <a:gd fmla="*/ 316 h 336" name="T25"/>
                <a:gd fmla="*/ 20 w 256" name="T26"/>
                <a:gd fmla="*/ 288 h 336" name="T27"/>
                <a:gd fmla="*/ 48 w 256" name="T28"/>
                <a:gd fmla="*/ 260 h 336" name="T29"/>
                <a:gd fmla="*/ 75 w 256" name="T30"/>
                <a:gd fmla="*/ 288 h 336" name="T31"/>
                <a:gd fmla="*/ 48 w 256" name="T32"/>
                <a:gd fmla="*/ 76 h 336" name="T33"/>
                <a:gd fmla="*/ 20 w 256" name="T34"/>
                <a:gd fmla="*/ 48 h 336" name="T35"/>
                <a:gd fmla="*/ 48 w 256" name="T36"/>
                <a:gd fmla="*/ 20 h 336" name="T37"/>
                <a:gd fmla="*/ 75 w 256" name="T38"/>
                <a:gd fmla="*/ 48 h 336" name="T39"/>
                <a:gd fmla="*/ 48 w 256" name="T40"/>
                <a:gd fmla="*/ 76 h 336" name="T41"/>
                <a:gd fmla="*/ 227 w 256" name="T42"/>
                <a:gd fmla="*/ 244 h 336" name="T43"/>
                <a:gd fmla="*/ 227 w 256" name="T44"/>
                <a:gd fmla="*/ 92 h 336" name="T45"/>
                <a:gd fmla="*/ 256 w 256" name="T46"/>
                <a:gd fmla="*/ 48 h 336" name="T47"/>
                <a:gd fmla="*/ 208 w 256" name="T48"/>
                <a:gd fmla="*/ 0 h 336" name="T49"/>
                <a:gd fmla="*/ 160 w 256" name="T50"/>
                <a:gd fmla="*/ 48 h 336" name="T51"/>
                <a:gd fmla="*/ 189 w 256" name="T52"/>
                <a:gd fmla="*/ 92 h 336" name="T53"/>
                <a:gd fmla="*/ 189 w 256" name="T54"/>
                <a:gd fmla="*/ 244 h 336" name="T55"/>
                <a:gd fmla="*/ 160 w 256" name="T56"/>
                <a:gd fmla="*/ 288 h 336" name="T57"/>
                <a:gd fmla="*/ 208 w 256" name="T58"/>
                <a:gd fmla="*/ 336 h 336" name="T59"/>
                <a:gd fmla="*/ 256 w 256" name="T60"/>
                <a:gd fmla="*/ 288 h 336" name="T61"/>
                <a:gd fmla="*/ 227 w 256" name="T62"/>
                <a:gd fmla="*/ 244 h 336" name="T63"/>
                <a:gd fmla="*/ 180 w 256" name="T64"/>
                <a:gd fmla="*/ 48 h 336" name="T65"/>
                <a:gd fmla="*/ 208 w 256" name="T66"/>
                <a:gd fmla="*/ 20 h 336" name="T67"/>
                <a:gd fmla="*/ 235 w 256" name="T68"/>
                <a:gd fmla="*/ 48 h 336" name="T69"/>
                <a:gd fmla="*/ 208 w 256" name="T70"/>
                <a:gd fmla="*/ 76 h 336" name="T71"/>
                <a:gd fmla="*/ 180 w 256" name="T72"/>
                <a:gd fmla="*/ 48 h 336" name="T73"/>
                <a:gd fmla="*/ 208 w 256" name="T74"/>
                <a:gd fmla="*/ 316 h 336" name="T75"/>
                <a:gd fmla="*/ 180 w 256" name="T76"/>
                <a:gd fmla="*/ 288 h 336" name="T77"/>
                <a:gd fmla="*/ 208 w 256" name="T78"/>
                <a:gd fmla="*/ 260 h 336" name="T79"/>
                <a:gd fmla="*/ 235 w 256" name="T80"/>
                <a:gd fmla="*/ 288 h 336" name="T81"/>
                <a:gd fmla="*/ 208 w 256" name="T82"/>
                <a:gd fmla="*/ 316 h 336"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336" w="25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bIns="52741" lIns="105484" rIns="105484" tIns="52741"/>
            <a:lstStyle/>
            <a:p>
              <a:pPr algn="just" eaLnBrk="1" hangingPunct="1">
                <a:lnSpc>
                  <a:spcPct val="120000"/>
                </a:lnSpc>
                <a:spcBef>
                  <a:spcPct val="0"/>
                </a:spcBef>
                <a:spcAft>
                  <a:spcPct val="0"/>
                </a:spcAft>
                <a:defRPr/>
              </a:pPr>
              <a:endParaRPr lang="en-US" noProof="1" sz="600">
                <a:solidFill>
                  <a:schemeClr val="bg1">
                    <a:lumMod val="85000"/>
                  </a:schemeClr>
                </a:solidFill>
                <a:latin charset="0" pitchFamily="34" typeface="Arial"/>
                <a:ea charset="-122" panose="020b0503020204020204" pitchFamily="34" typeface="微软雅黑"/>
                <a:cs typeface="+mn-ea"/>
                <a:sym charset="0" pitchFamily="34" typeface="Arial"/>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6855" lIns="73712" rIns="73712" tIns="36855"/>
          <a:lstStyle/>
          <a:p>
            <a:pPr algn="just"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6855" lIns="73712" rIns="73712" tIns="36855"/>
          <a:lstStyle/>
          <a:p>
            <a:pPr algn="just"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6855" lIns="73712" rIns="73712" tIns="36855"/>
          <a:lstStyle/>
          <a:p>
            <a:pPr algn="just"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72" name="TextBox 71"/>
          <p:cNvSpPr txBox="1">
            <a:spLocks noChangeArrowheads="1"/>
          </p:cNvSpPr>
          <p:nvPr/>
        </p:nvSpPr>
        <p:spPr bwMode="auto">
          <a:xfrm>
            <a:off x="1896904" y="3942860"/>
            <a:ext cx="2110263" cy="35357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29020" lIns="63898" rIns="116081" tIns="31949">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28" name="平行四边形 27"/>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9" name="平行四边形 28"/>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0" name="平行四边形 29"/>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1" name="平行四边形 30"/>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34" name="Group 7"/>
          <p:cNvGrpSpPr/>
          <p:nvPr/>
        </p:nvGrpSpPr>
        <p:grpSpPr>
          <a:xfrm>
            <a:off x="180202" y="181952"/>
            <a:ext cx="216018" cy="113981"/>
            <a:chExt cx="1041399" cy="549275"/>
          </a:xfrm>
          <a:solidFill>
            <a:srgbClr val="133E73"/>
          </a:solidFill>
        </p:grpSpPr>
        <p:sp>
          <p:nvSpPr>
            <p:cNvPr id="35"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36"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37"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38"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34"/>
                                        </p:tgtEl>
                                        <p:attrNameLst>
                                          <p:attrName>style.visibility</p:attrName>
                                        </p:attrNameLst>
                                      </p:cBhvr>
                                      <p:to>
                                        <p:strVal val="visible"/>
                                      </p:to>
                                    </p:set>
                                    <p:anim calcmode="lin" valueType="num">
                                      <p:cBhvr additive="base">
                                        <p:cTn dur="500" fill="hold" id="7"/>
                                        <p:tgtEl>
                                          <p:spTgt spid="34"/>
                                        </p:tgtEl>
                                        <p:attrNameLst>
                                          <p:attrName>ppt_x</p:attrName>
                                        </p:attrNameLst>
                                      </p:cBhvr>
                                      <p:tavLst>
                                        <p:tav tm="0">
                                          <p:val>
                                            <p:strVal val="0-#ppt_w/2"/>
                                          </p:val>
                                        </p:tav>
                                        <p:tav tm="100000">
                                          <p:val>
                                            <p:strVal val="#ppt_x"/>
                                          </p:val>
                                        </p:tav>
                                      </p:tavLst>
                                    </p:anim>
                                    <p:anim calcmode="lin" valueType="num">
                                      <p:cBhvr additive="base">
                                        <p:cTn dur="500" fill="hold" id="8"/>
                                        <p:tgtEl>
                                          <p:spTgt spid="3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33"/>
                                        </p:tgtEl>
                                        <p:attrNameLst>
                                          <p:attrName>style.visibility</p:attrName>
                                        </p:attrNameLst>
                                      </p:cBhvr>
                                      <p:to>
                                        <p:strVal val="visible"/>
                                      </p:to>
                                    </p:set>
                                    <p:anim calcmode="lin" valueType="num">
                                      <p:cBhvr>
                                        <p:cTn dur="500" fill="hold" id="12"/>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33"/>
                                        </p:tgtEl>
                                        <p:attrNameLst>
                                          <p:attrName>ppt_y</p:attrName>
                                        </p:attrNameLst>
                                      </p:cBhvr>
                                      <p:tavLst>
                                        <p:tav tm="0">
                                          <p:val>
                                            <p:strVal val="#ppt_y"/>
                                          </p:val>
                                        </p:tav>
                                        <p:tav tm="100000">
                                          <p:val>
                                            <p:strVal val="#ppt_y"/>
                                          </p:val>
                                        </p:tav>
                                      </p:tavLst>
                                    </p:anim>
                                    <p:anim calcmode="lin" valueType="num">
                                      <p:cBhvr>
                                        <p:cTn dur="500" fill="hold" id="14"/>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33"/>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33"/>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30"/>
                                        </p:tgtEl>
                                        <p:attrNameLst>
                                          <p:attrName>fillcolor</p:attrName>
                                        </p:attrNameLst>
                                      </p:cBhvr>
                                      <p:to>
                                        <a:srgbClr val="00AEEF"/>
                                      </p:to>
                                    </p:animClr>
                                    <p:set>
                                      <p:cBhvr>
                                        <p:cTn dur="300" fill="hold" id="20"/>
                                        <p:tgtEl>
                                          <p:spTgt spid="30"/>
                                        </p:tgtEl>
                                        <p:attrNameLst>
                                          <p:attrName>fill.type</p:attrName>
                                        </p:attrNameLst>
                                      </p:cBhvr>
                                      <p:to>
                                        <p:strVal val="solid"/>
                                      </p:to>
                                    </p:set>
                                    <p:set>
                                      <p:cBhvr>
                                        <p:cTn dur="300" fill="hold" id="21"/>
                                        <p:tgtEl>
                                          <p:spTgt spid="30"/>
                                        </p:tgtEl>
                                        <p:attrNameLst>
                                          <p:attrName>fill.on</p:attrName>
                                        </p:attrNameLst>
                                      </p:cBhvr>
                                      <p:to>
                                        <p:strVal val="true"/>
                                      </p:to>
                                    </p:set>
                                  </p:childTnLst>
                                </p:cTn>
                              </p:par>
                              <p:par>
                                <p:cTn fill="hold" id="22" nodeType="withEffect" presetClass="entr" presetID="31" presetSubtype="0">
                                  <p:stCondLst>
                                    <p:cond delay="0"/>
                                  </p:stCondLst>
                                  <p:childTnLst>
                                    <p:set>
                                      <p:cBhvr>
                                        <p:cTn dur="1" fill="hold" id="23">
                                          <p:stCondLst>
                                            <p:cond delay="0"/>
                                          </p:stCondLst>
                                        </p:cTn>
                                        <p:tgtEl>
                                          <p:spTgt spid="47"/>
                                        </p:tgtEl>
                                        <p:attrNameLst>
                                          <p:attrName>style.visibility</p:attrName>
                                        </p:attrNameLst>
                                      </p:cBhvr>
                                      <p:to>
                                        <p:strVal val="visible"/>
                                      </p:to>
                                    </p:set>
                                    <p:anim calcmode="lin" valueType="num">
                                      <p:cBhvr>
                                        <p:cTn dur="2400" fill="hold" id="24"/>
                                        <p:tgtEl>
                                          <p:spTgt spid="47"/>
                                        </p:tgtEl>
                                        <p:attrNameLst>
                                          <p:attrName>ppt_w</p:attrName>
                                        </p:attrNameLst>
                                      </p:cBhvr>
                                      <p:tavLst>
                                        <p:tav tm="0">
                                          <p:val>
                                            <p:fltVal val="0"/>
                                          </p:val>
                                        </p:tav>
                                        <p:tav tm="100000">
                                          <p:val>
                                            <p:strVal val="#ppt_w"/>
                                          </p:val>
                                        </p:tav>
                                      </p:tavLst>
                                    </p:anim>
                                    <p:anim calcmode="lin" valueType="num">
                                      <p:cBhvr>
                                        <p:cTn dur="2400" fill="hold" id="25"/>
                                        <p:tgtEl>
                                          <p:spTgt spid="47"/>
                                        </p:tgtEl>
                                        <p:attrNameLst>
                                          <p:attrName>ppt_h</p:attrName>
                                        </p:attrNameLst>
                                      </p:cBhvr>
                                      <p:tavLst>
                                        <p:tav tm="0">
                                          <p:val>
                                            <p:fltVal val="0"/>
                                          </p:val>
                                        </p:tav>
                                        <p:tav tm="100000">
                                          <p:val>
                                            <p:strVal val="#ppt_h"/>
                                          </p:val>
                                        </p:tav>
                                      </p:tavLst>
                                    </p:anim>
                                    <p:anim calcmode="lin" valueType="num">
                                      <p:cBhvr>
                                        <p:cTn dur="2400" fill="hold" id="26"/>
                                        <p:tgtEl>
                                          <p:spTgt spid="47"/>
                                        </p:tgtEl>
                                        <p:attrNameLst>
                                          <p:attrName>style.rotation</p:attrName>
                                        </p:attrNameLst>
                                      </p:cBhvr>
                                      <p:tavLst>
                                        <p:tav tm="0">
                                          <p:val>
                                            <p:fltVal val="90"/>
                                          </p:val>
                                        </p:tav>
                                        <p:tav tm="100000">
                                          <p:val>
                                            <p:fltVal val="0"/>
                                          </p:val>
                                        </p:tav>
                                      </p:tavLst>
                                    </p:anim>
                                    <p:animEffect filter="fade" transition="in">
                                      <p:cBhvr>
                                        <p:cTn dur="2400" id="27"/>
                                        <p:tgtEl>
                                          <p:spTgt spid="47"/>
                                        </p:tgtEl>
                                      </p:cBhvr>
                                    </p:animEffect>
                                  </p:childTnLst>
                                </p:cTn>
                              </p:par>
                              <p:par>
                                <p:cTn fill="hold" id="28" nodeType="withEffect" presetClass="entr" presetID="53" presetSubtype="0">
                                  <p:stCondLst>
                                    <p:cond delay="2500"/>
                                  </p:stCondLst>
                                  <p:childTnLst>
                                    <p:set>
                                      <p:cBhvr>
                                        <p:cTn dur="1" fill="hold" id="29">
                                          <p:stCondLst>
                                            <p:cond delay="0"/>
                                          </p:stCondLst>
                                        </p:cTn>
                                        <p:tgtEl>
                                          <p:spTgt spid="63"/>
                                        </p:tgtEl>
                                        <p:attrNameLst>
                                          <p:attrName>style.visibility</p:attrName>
                                        </p:attrNameLst>
                                      </p:cBhvr>
                                      <p:to>
                                        <p:strVal val="visible"/>
                                      </p:to>
                                    </p:set>
                                    <p:anim calcmode="lin" valueType="num">
                                      <p:cBhvr>
                                        <p:cTn dur="500" fill="hold" id="30"/>
                                        <p:tgtEl>
                                          <p:spTgt spid="63"/>
                                        </p:tgtEl>
                                        <p:attrNameLst>
                                          <p:attrName>ppt_w</p:attrName>
                                        </p:attrNameLst>
                                      </p:cBhvr>
                                      <p:tavLst>
                                        <p:tav tm="0">
                                          <p:val>
                                            <p:fltVal val="0"/>
                                          </p:val>
                                        </p:tav>
                                        <p:tav tm="100000">
                                          <p:val>
                                            <p:strVal val="#ppt_w"/>
                                          </p:val>
                                        </p:tav>
                                      </p:tavLst>
                                    </p:anim>
                                    <p:anim calcmode="lin" valueType="num">
                                      <p:cBhvr>
                                        <p:cTn dur="500" fill="hold" id="31"/>
                                        <p:tgtEl>
                                          <p:spTgt spid="63"/>
                                        </p:tgtEl>
                                        <p:attrNameLst>
                                          <p:attrName>ppt_h</p:attrName>
                                        </p:attrNameLst>
                                      </p:cBhvr>
                                      <p:tavLst>
                                        <p:tav tm="0">
                                          <p:val>
                                            <p:fltVal val="0"/>
                                          </p:val>
                                        </p:tav>
                                        <p:tav tm="100000">
                                          <p:val>
                                            <p:strVal val="#ppt_h"/>
                                          </p:val>
                                        </p:tav>
                                      </p:tavLst>
                                    </p:anim>
                                    <p:animEffect filter="fade" transition="in">
                                      <p:cBhvr>
                                        <p:cTn dur="500" id="32"/>
                                        <p:tgtEl>
                                          <p:spTgt spid="63"/>
                                        </p:tgtEl>
                                      </p:cBhvr>
                                    </p:animEffect>
                                  </p:childTnLst>
                                </p:cTn>
                              </p:par>
                              <p:par>
                                <p:cTn fill="hold" id="33" nodeType="withEffect" presetClass="entr" presetID="53" presetSubtype="0">
                                  <p:stCondLst>
                                    <p:cond delay="3000"/>
                                  </p:stCondLst>
                                  <p:childTnLst>
                                    <p:set>
                                      <p:cBhvr>
                                        <p:cTn dur="1" fill="hold" id="34">
                                          <p:stCondLst>
                                            <p:cond delay="0"/>
                                          </p:stCondLst>
                                        </p:cTn>
                                        <p:tgtEl>
                                          <p:spTgt spid="66"/>
                                        </p:tgtEl>
                                        <p:attrNameLst>
                                          <p:attrName>style.visibility</p:attrName>
                                        </p:attrNameLst>
                                      </p:cBhvr>
                                      <p:to>
                                        <p:strVal val="visible"/>
                                      </p:to>
                                    </p:set>
                                    <p:anim calcmode="lin" valueType="num">
                                      <p:cBhvr>
                                        <p:cTn dur="500" fill="hold" id="35"/>
                                        <p:tgtEl>
                                          <p:spTgt spid="66"/>
                                        </p:tgtEl>
                                        <p:attrNameLst>
                                          <p:attrName>ppt_w</p:attrName>
                                        </p:attrNameLst>
                                      </p:cBhvr>
                                      <p:tavLst>
                                        <p:tav tm="0">
                                          <p:val>
                                            <p:fltVal val="0"/>
                                          </p:val>
                                        </p:tav>
                                        <p:tav tm="100000">
                                          <p:val>
                                            <p:strVal val="#ppt_w"/>
                                          </p:val>
                                        </p:tav>
                                      </p:tavLst>
                                    </p:anim>
                                    <p:anim calcmode="lin" valueType="num">
                                      <p:cBhvr>
                                        <p:cTn dur="500" fill="hold" id="36"/>
                                        <p:tgtEl>
                                          <p:spTgt spid="66"/>
                                        </p:tgtEl>
                                        <p:attrNameLst>
                                          <p:attrName>ppt_h</p:attrName>
                                        </p:attrNameLst>
                                      </p:cBhvr>
                                      <p:tavLst>
                                        <p:tav tm="0">
                                          <p:val>
                                            <p:fltVal val="0"/>
                                          </p:val>
                                        </p:tav>
                                        <p:tav tm="100000">
                                          <p:val>
                                            <p:strVal val="#ppt_h"/>
                                          </p:val>
                                        </p:tav>
                                      </p:tavLst>
                                    </p:anim>
                                    <p:animEffect filter="fade" transition="in">
                                      <p:cBhvr>
                                        <p:cTn dur="500" id="37"/>
                                        <p:tgtEl>
                                          <p:spTgt spid="66"/>
                                        </p:tgtEl>
                                      </p:cBhvr>
                                    </p:animEffect>
                                  </p:childTnLst>
                                </p:cTn>
                              </p:par>
                              <p:par>
                                <p:cTn fill="hold" id="38" nodeType="withEffect" presetClass="entr" presetID="53" presetSubtype="0">
                                  <p:stCondLst>
                                    <p:cond delay="3500"/>
                                  </p:stCondLst>
                                  <p:childTnLst>
                                    <p:set>
                                      <p:cBhvr>
                                        <p:cTn dur="1" fill="hold" id="39">
                                          <p:stCondLst>
                                            <p:cond delay="0"/>
                                          </p:stCondLst>
                                        </p:cTn>
                                        <p:tgtEl>
                                          <p:spTgt spid="60"/>
                                        </p:tgtEl>
                                        <p:attrNameLst>
                                          <p:attrName>style.visibility</p:attrName>
                                        </p:attrNameLst>
                                      </p:cBhvr>
                                      <p:to>
                                        <p:strVal val="visible"/>
                                      </p:to>
                                    </p:set>
                                    <p:anim calcmode="lin" valueType="num">
                                      <p:cBhvr>
                                        <p:cTn dur="500" fill="hold" id="40"/>
                                        <p:tgtEl>
                                          <p:spTgt spid="60"/>
                                        </p:tgtEl>
                                        <p:attrNameLst>
                                          <p:attrName>ppt_w</p:attrName>
                                        </p:attrNameLst>
                                      </p:cBhvr>
                                      <p:tavLst>
                                        <p:tav tm="0">
                                          <p:val>
                                            <p:fltVal val="0"/>
                                          </p:val>
                                        </p:tav>
                                        <p:tav tm="100000">
                                          <p:val>
                                            <p:strVal val="#ppt_w"/>
                                          </p:val>
                                        </p:tav>
                                      </p:tavLst>
                                    </p:anim>
                                    <p:anim calcmode="lin" valueType="num">
                                      <p:cBhvr>
                                        <p:cTn dur="500" fill="hold" id="41"/>
                                        <p:tgtEl>
                                          <p:spTgt spid="60"/>
                                        </p:tgtEl>
                                        <p:attrNameLst>
                                          <p:attrName>ppt_h</p:attrName>
                                        </p:attrNameLst>
                                      </p:cBhvr>
                                      <p:tavLst>
                                        <p:tav tm="0">
                                          <p:val>
                                            <p:fltVal val="0"/>
                                          </p:val>
                                        </p:tav>
                                        <p:tav tm="100000">
                                          <p:val>
                                            <p:strVal val="#ppt_h"/>
                                          </p:val>
                                        </p:tav>
                                      </p:tavLst>
                                    </p:anim>
                                    <p:animEffect filter="fade" transition="in">
                                      <p:cBhvr>
                                        <p:cTn dur="500" id="42"/>
                                        <p:tgtEl>
                                          <p:spTgt spid="60"/>
                                        </p:tgtEl>
                                      </p:cBhvr>
                                    </p:animEffect>
                                  </p:childTnLst>
                                </p:cTn>
                              </p:par>
                              <p:par>
                                <p:cTn fill="hold" grpId="0" id="43" nodeType="withEffect" presetClass="entr" presetID="22" presetSubtype="8">
                                  <p:stCondLst>
                                    <p:cond delay="4000"/>
                                  </p:stCondLst>
                                  <p:childTnLst>
                                    <p:set>
                                      <p:cBhvr>
                                        <p:cTn dur="1" fill="hold" id="44">
                                          <p:stCondLst>
                                            <p:cond delay="0"/>
                                          </p:stCondLst>
                                        </p:cTn>
                                        <p:tgtEl>
                                          <p:spTgt spid="59"/>
                                        </p:tgtEl>
                                        <p:attrNameLst>
                                          <p:attrName>style.visibility</p:attrName>
                                        </p:attrNameLst>
                                      </p:cBhvr>
                                      <p:to>
                                        <p:strVal val="visible"/>
                                      </p:to>
                                    </p:set>
                                    <p:animEffect filter="wipe(left)" transition="in">
                                      <p:cBhvr>
                                        <p:cTn dur="500" id="45"/>
                                        <p:tgtEl>
                                          <p:spTgt spid="59"/>
                                        </p:tgtEl>
                                      </p:cBhvr>
                                    </p:animEffect>
                                  </p:childTnLst>
                                </p:cTn>
                              </p:par>
                              <p:par>
                                <p:cTn fill="hold" grpId="0" id="46" nodeType="withEffect" presetClass="entr" presetID="22" presetSubtype="8">
                                  <p:stCondLst>
                                    <p:cond delay="4000"/>
                                  </p:stCondLst>
                                  <p:childTnLst>
                                    <p:set>
                                      <p:cBhvr>
                                        <p:cTn dur="1" fill="hold" id="47">
                                          <p:stCondLst>
                                            <p:cond delay="0"/>
                                          </p:stCondLst>
                                        </p:cTn>
                                        <p:tgtEl>
                                          <p:spTgt spid="57"/>
                                        </p:tgtEl>
                                        <p:attrNameLst>
                                          <p:attrName>style.visibility</p:attrName>
                                        </p:attrNameLst>
                                      </p:cBhvr>
                                      <p:to>
                                        <p:strVal val="visible"/>
                                      </p:to>
                                    </p:set>
                                    <p:animEffect filter="wipe(left)" transition="in">
                                      <p:cBhvr>
                                        <p:cTn dur="500" id="48"/>
                                        <p:tgtEl>
                                          <p:spTgt spid="57"/>
                                        </p:tgtEl>
                                      </p:cBhvr>
                                    </p:animEffect>
                                  </p:childTnLst>
                                </p:cTn>
                              </p:par>
                              <p:par>
                                <p:cTn fill="hold" grpId="0" id="49" nodeType="withEffect" presetClass="entr" presetID="22" presetSubtype="8">
                                  <p:stCondLst>
                                    <p:cond delay="4000"/>
                                  </p:stCondLst>
                                  <p:childTnLst>
                                    <p:set>
                                      <p:cBhvr>
                                        <p:cTn dur="1" fill="hold" id="50">
                                          <p:stCondLst>
                                            <p:cond delay="0"/>
                                          </p:stCondLst>
                                        </p:cTn>
                                        <p:tgtEl>
                                          <p:spTgt spid="58"/>
                                        </p:tgtEl>
                                        <p:attrNameLst>
                                          <p:attrName>style.visibility</p:attrName>
                                        </p:attrNameLst>
                                      </p:cBhvr>
                                      <p:to>
                                        <p:strVal val="visible"/>
                                      </p:to>
                                    </p:set>
                                    <p:animEffect filter="wipe(left)" transition="in">
                                      <p:cBhvr>
                                        <p:cTn dur="500" id="51"/>
                                        <p:tgtEl>
                                          <p:spTgt spid="58"/>
                                        </p:tgtEl>
                                      </p:cBhvr>
                                    </p:animEffect>
                                  </p:childTnLst>
                                </p:cTn>
                              </p:par>
                            </p:childTnLst>
                          </p:cTn>
                        </p:par>
                        <p:par>
                          <p:cTn fill="hold" id="52" nodeType="afterGroup">
                            <p:stCondLst>
                              <p:cond delay="5500"/>
                            </p:stCondLst>
                            <p:childTnLst>
                              <p:par>
                                <p:cTn fill="hold" grpId="0" id="53" nodeType="afterEffect" presetClass="entr" presetID="10" presetSubtype="0">
                                  <p:stCondLst>
                                    <p:cond delay="0"/>
                                  </p:stCondLst>
                                  <p:childTnLst>
                                    <p:set>
                                      <p:cBhvr>
                                        <p:cTn dur="1" fill="hold" id="54">
                                          <p:stCondLst>
                                            <p:cond delay="0"/>
                                          </p:stCondLst>
                                        </p:cTn>
                                        <p:tgtEl>
                                          <p:spTgt spid="69"/>
                                        </p:tgtEl>
                                        <p:attrNameLst>
                                          <p:attrName>style.visibility</p:attrName>
                                        </p:attrNameLst>
                                      </p:cBhvr>
                                      <p:to>
                                        <p:strVal val="visible"/>
                                      </p:to>
                                    </p:set>
                                    <p:animEffect filter="fade" transition="in">
                                      <p:cBhvr>
                                        <p:cTn dur="500" id="55"/>
                                        <p:tgtEl>
                                          <p:spTgt spid="69"/>
                                        </p:tgtEl>
                                      </p:cBhvr>
                                    </p:animEffect>
                                  </p:childTnLst>
                                </p:cTn>
                              </p:par>
                            </p:childTnLst>
                          </p:cTn>
                        </p:par>
                        <p:par>
                          <p:cTn fill="hold" id="56" nodeType="afterGroup">
                            <p:stCondLst>
                              <p:cond delay="6000"/>
                            </p:stCondLst>
                            <p:childTnLst>
                              <p:par>
                                <p:cTn fill="hold" grpId="0" id="57" nodeType="afterEffect" presetClass="entr" presetID="10" presetSubtype="0">
                                  <p:stCondLst>
                                    <p:cond delay="0"/>
                                  </p:stCondLst>
                                  <p:childTnLst>
                                    <p:set>
                                      <p:cBhvr>
                                        <p:cTn dur="1" fill="hold" id="58">
                                          <p:stCondLst>
                                            <p:cond delay="0"/>
                                          </p:stCondLst>
                                        </p:cTn>
                                        <p:tgtEl>
                                          <p:spTgt spid="70"/>
                                        </p:tgtEl>
                                        <p:attrNameLst>
                                          <p:attrName>style.visibility</p:attrName>
                                        </p:attrNameLst>
                                      </p:cBhvr>
                                      <p:to>
                                        <p:strVal val="visible"/>
                                      </p:to>
                                    </p:set>
                                    <p:animEffect filter="fade" transition="in">
                                      <p:cBhvr>
                                        <p:cTn dur="500" id="59"/>
                                        <p:tgtEl>
                                          <p:spTgt spid="70"/>
                                        </p:tgtEl>
                                      </p:cBhvr>
                                    </p:animEffect>
                                  </p:childTnLst>
                                </p:cTn>
                              </p:par>
                            </p:childTnLst>
                          </p:cTn>
                        </p:par>
                        <p:par>
                          <p:cTn fill="hold" id="60" nodeType="afterGroup">
                            <p:stCondLst>
                              <p:cond delay="6500"/>
                            </p:stCondLst>
                            <p:childTnLst>
                              <p:par>
                                <p:cTn fill="hold" grpId="0" id="61" nodeType="afterEffect" presetClass="entr" presetID="10" presetSubtype="0">
                                  <p:stCondLst>
                                    <p:cond delay="0"/>
                                  </p:stCondLst>
                                  <p:childTnLst>
                                    <p:set>
                                      <p:cBhvr>
                                        <p:cTn dur="1" fill="hold" id="62">
                                          <p:stCondLst>
                                            <p:cond delay="0"/>
                                          </p:stCondLst>
                                        </p:cTn>
                                        <p:tgtEl>
                                          <p:spTgt spid="71"/>
                                        </p:tgtEl>
                                        <p:attrNameLst>
                                          <p:attrName>style.visibility</p:attrName>
                                        </p:attrNameLst>
                                      </p:cBhvr>
                                      <p:to>
                                        <p:strVal val="visible"/>
                                      </p:to>
                                    </p:set>
                                    <p:animEffect filter="fade" transition="in">
                                      <p:cBhvr>
                                        <p:cTn dur="500" id="63"/>
                                        <p:tgtEl>
                                          <p:spTgt spid="71"/>
                                        </p:tgtEl>
                                      </p:cBhvr>
                                    </p:animEffect>
                                  </p:childTnLst>
                                </p:cTn>
                              </p:par>
                              <p:par>
                                <p:cTn fill="hold" grpId="0" id="64" nodeType="withEffect" presetClass="entr" presetID="2" presetSubtype="4">
                                  <p:stCondLst>
                                    <p:cond delay="500"/>
                                  </p:stCondLst>
                                  <p:childTnLst>
                                    <p:set>
                                      <p:cBhvr>
                                        <p:cTn dur="1" fill="hold" id="65">
                                          <p:stCondLst>
                                            <p:cond delay="0"/>
                                          </p:stCondLst>
                                        </p:cTn>
                                        <p:tgtEl>
                                          <p:spTgt spid="72"/>
                                        </p:tgtEl>
                                        <p:attrNameLst>
                                          <p:attrName>style.visibility</p:attrName>
                                        </p:attrNameLst>
                                      </p:cBhvr>
                                      <p:to>
                                        <p:strVal val="visible"/>
                                      </p:to>
                                    </p:set>
                                    <p:anim calcmode="lin" valueType="num">
                                      <p:cBhvr>
                                        <p:cTn dur="500" fill="hold" id="66"/>
                                        <p:tgtEl>
                                          <p:spTgt spid="72"/>
                                        </p:tgtEl>
                                        <p:attrNameLst>
                                          <p:attrName>ppt_x</p:attrName>
                                        </p:attrNameLst>
                                      </p:cBhvr>
                                      <p:tavLst>
                                        <p:tav tm="0">
                                          <p:val>
                                            <p:strVal val="#ppt_x"/>
                                          </p:val>
                                        </p:tav>
                                        <p:tav tm="100000">
                                          <p:val>
                                            <p:strVal val="#ppt_x"/>
                                          </p:val>
                                        </p:tav>
                                      </p:tavLst>
                                    </p:anim>
                                    <p:anim calcmode="lin" valueType="num">
                                      <p:cBhvr>
                                        <p:cTn dur="500" fill="hold" id="67"/>
                                        <p:tgtEl>
                                          <p:spTgt spid="72"/>
                                        </p:tgtEl>
                                        <p:attrNameLst>
                                          <p:attrName>ppt_y</p:attrName>
                                        </p:attrNameLst>
                                      </p:cBhvr>
                                      <p:tavLst>
                                        <p:tav tm="0">
                                          <p:val>
                                            <p:strVal val="1+#ppt_h/2"/>
                                          </p:val>
                                        </p:tav>
                                        <p:tav tm="100000">
                                          <p:val>
                                            <p:strVal val="#ppt_y"/>
                                          </p:val>
                                        </p:tav>
                                      </p:tavLst>
                                    </p:anim>
                                  </p:childTnLst>
                                </p:cTn>
                              </p:par>
                            </p:childTnLst>
                          </p:cTn>
                        </p:par>
                        <p:par>
                          <p:cTn fill="hold" id="68" nodeType="afterGroup">
                            <p:stCondLst>
                              <p:cond delay="7500"/>
                            </p:stCondLst>
                            <p:childTnLst>
                              <p:par>
                                <p:cTn fill="hold" id="69" nodeType="afterEffect" presetClass="mediacall" presetID="1" presetSubtype="0">
                                  <p:stCondLst>
                                    <p:cond delay="0"/>
                                  </p:stCondLst>
                                  <p:childTnLst>
                                    <p:cmd cmd="playFrom(0.0)" type="call">
                                      <p:cBhvr>
                                        <p:cTn dur="1" fill="hold" id="70"/>
                                        <p:tgtEl>
                                          <p:spTgt spid="38"/>
                                        </p:tgtEl>
                                      </p:cBhvr>
                                    </p:cmd>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71">
                  <p:stCondLst>
                    <p:cond delay="indefinite"/>
                  </p:stCondLst>
                  <p:endCondLst>
                    <p:cond delay="0" evt="onPrev">
                      <p:tgtEl>
                        <p:sldTgt/>
                      </p:tgtEl>
                    </p:cond>
                    <p:cond delay="0" evt="onStopAudio">
                      <p:tgtEl>
                        <p:sldTgt/>
                      </p:tgtEl>
                    </p:cond>
                  </p:endCondLst>
                </p:cTn>
                <p:tgtEl>
                  <p:spTgt spid="38"/>
                </p:tgtEl>
              </p:cMediaNode>
            </p:audio>
          </p:childTnLst>
        </p:cTn>
      </p:par>
    </p:tnLst>
    <p:bldLst>
      <p:bldP grpId="0" spid="57"/>
      <p:bldP grpId="0" spid="58"/>
      <p:bldP grpId="0" spid="59"/>
      <p:bldP grpId="0" spid="69"/>
      <p:bldP grpId="0" spid="70"/>
      <p:bldP grpId="0" spid="71"/>
      <p:bldP grpId="0" spid="72"/>
      <p:bldP grpId="0" spid="30"/>
      <p:bldP grpId="0" spid="33"/>
    </p:bldLst>
  </p:timing>
  <p:extLst mod="1">
    <p:ext uri="{E180D4A7-C9FB-4DFB-919C-405C955672EB}">
      <p14:showEvtLst>
        <p14:playEvt objId="38" time="1315"/>
        <p14:stopEvt objId="38" time="2090"/>
      </p14:showEvtLst>
    </p:ext>
  </p:extLst>
</p:sld>
</file>

<file path=ppt/slides/slide2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0" name="组合 19"/>
          <p:cNvPicPr>
            <a:picLocks noChangeArrowheads="1" noChangeAspect="1" noGrp="1"/>
          </p:cNvPicPr>
          <p:nvPr/>
        </p:nvPicPr>
        <p:blipFill>
          <a:blip r:embed="rId3">
            <a:duotone>
              <a:prstClr val="black"/>
              <a:srgbClr val="00A4E3">
                <a:tint val="45000"/>
                <a:satMod val="400000"/>
              </a:srgbClr>
            </a:duotone>
            <a:extLst>
              <a:ext uri="{28A0092B-C50C-407E-A947-70E740481C1C}">
                <a14:useLocalDpi val="0"/>
              </a:ext>
            </a:extLst>
          </a:blip>
          <a:stretch>
            <a:fillRect/>
          </a:stretch>
        </p:blipFill>
        <p:spPr bwMode="auto">
          <a:xfrm>
            <a:off x="1000125" y="1162724"/>
            <a:ext cx="106680" cy="17424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pic>
        <p:nvPicPr>
          <p:cNvPr id="51" name="组合 23"/>
          <p:cNvPicPr>
            <a:picLocks noChangeArrowheads="1" noChangeAspect="1" noGrp="1"/>
          </p:cNvPicPr>
          <p:nvPr/>
        </p:nvPicPr>
        <p:blipFill>
          <a:blip r:embed="rId4">
            <a:extLst>
              <a:ext uri="{28A0092B-C50C-407E-A947-70E740481C1C}">
                <a14:useLocalDpi val="0"/>
              </a:ext>
            </a:extLst>
          </a:blip>
          <a:stretch>
            <a:fillRect/>
          </a:stretch>
        </p:blipFill>
        <p:spPr bwMode="auto">
          <a:xfrm>
            <a:off x="2709228" y="2163927"/>
            <a:ext cx="106680" cy="176123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pic>
        <p:nvPicPr>
          <p:cNvPr id="52" name="组合 28"/>
          <p:cNvPicPr>
            <a:picLocks noChangeArrowheads="1" noChangeAspect="1" noGrp="1"/>
          </p:cNvPicPr>
          <p:nvPr/>
        </p:nvPicPr>
        <p:blipFill>
          <a:blip r:embed="rId3">
            <a:duotone>
              <a:prstClr val="black"/>
              <a:srgbClr val="07A9E6">
                <a:tint val="45000"/>
                <a:satMod val="400000"/>
              </a:srgbClr>
            </a:duotone>
            <a:extLst>
              <a:ext uri="{28A0092B-C50C-407E-A947-70E740481C1C}">
                <a14:useLocalDpi val="0"/>
              </a:ext>
            </a:extLst>
          </a:blip>
          <a:stretch>
            <a:fillRect/>
          </a:stretch>
        </p:blipFill>
        <p:spPr bwMode="auto">
          <a:xfrm>
            <a:off x="4560570" y="1162724"/>
            <a:ext cx="106680" cy="174242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pic>
        <p:nvPicPr>
          <p:cNvPr id="53" name="组合 33"/>
          <p:cNvPicPr>
            <a:picLocks noChangeArrowheads="1" noChangeAspect="1" noGrp="1"/>
          </p:cNvPicPr>
          <p:nvPr/>
        </p:nvPicPr>
        <p:blipFill>
          <a:blip r:embed="rId4">
            <a:extLst>
              <a:ext uri="{28A0092B-C50C-407E-A947-70E740481C1C}">
                <a14:useLocalDpi val="0"/>
              </a:ext>
            </a:extLst>
          </a:blip>
          <a:stretch>
            <a:fillRect/>
          </a:stretch>
        </p:blipFill>
        <p:spPr bwMode="auto">
          <a:xfrm>
            <a:off x="6268562" y="2163927"/>
            <a:ext cx="106680" cy="176123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nvGrpSpPr>
          <p:cNvPr id="54" name="组合 53"/>
          <p:cNvGrpSpPr/>
          <p:nvPr/>
        </p:nvGrpSpPr>
        <p:grpSpPr>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w="25400">
                  <a:solidFill>
                    <a:srgbClr val="000000"/>
                  </a:solidFill>
                  <a:miter lim="800000"/>
                  <a:headEnd/>
                  <a:tailEnd/>
                </a14:hiddenLine>
              </a:ext>
            </a:extLst>
          </p:spPr>
          <p:txBody>
            <a:bodyPr anchor="ctr" bIns="48208" lIns="96417" rIns="96417" tIns="48208"/>
            <a:lstStyle/>
            <a:p>
              <a:pPr algn="ctr" eaLnBrk="1" hangingPunct="1">
                <a:lnSpc>
                  <a:spcPct val="130000"/>
                </a:lnSpc>
              </a:pPr>
              <a:endParaRPr altLang="en-US" lang="zh-CN" sz="1400">
                <a:solidFill>
                  <a:srgbClr val="FFFFFF"/>
                </a:solidFill>
                <a:latin charset="0" pitchFamily="34" typeface="Arial"/>
                <a:ea charset="-122" panose="020b0503020204020204" pitchFamily="34" typeface="微软雅黑"/>
                <a:sym charset="0" pitchFamily="34" typeface="Arial"/>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a:solidFill>
                    <a:srgbClr val="FFFFFF"/>
                  </a:solidFill>
                </a14:hiddenFill>
              </a:ext>
              <a:ext uri="{91240B29-F687-4F45-9708-019B960494DF}">
                <a14:hiddenLine w="25400">
                  <a:solidFill>
                    <a:srgbClr val="000000"/>
                  </a:solidFill>
                  <a:miter lim="800000"/>
                  <a:headEnd/>
                  <a:tailEnd/>
                </a14:hiddenLine>
              </a:ext>
            </a:extLst>
          </p:spPr>
          <p:txBody>
            <a:bodyPr anchor="ctr" bIns="48208" lIns="96417" rIns="96417" tIns="48208"/>
            <a:lstStyle/>
            <a:p>
              <a:pPr algn="ctr" eaLnBrk="1" hangingPunct="1">
                <a:lnSpc>
                  <a:spcPct val="130000"/>
                </a:lnSpc>
              </a:pPr>
              <a:r>
                <a:rPr altLang="zh-CN" lang="en-US" sz="1500">
                  <a:solidFill>
                    <a:srgbClr val="FFFFFF"/>
                  </a:solidFill>
                  <a:latin charset="0" pitchFamily="34" typeface="Arial"/>
                  <a:ea charset="-122" panose="020b0503020204020204" pitchFamily="34" typeface="微软雅黑"/>
                  <a:sym charset="0" pitchFamily="34" typeface="Arial"/>
                </a:rPr>
                <a:t>YOUR TITLE</a:t>
              </a: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a:solidFill>
                    <a:srgbClr val="FFFFFF"/>
                  </a:solidFill>
                </a14:hiddenFill>
              </a:ext>
              <a:ext uri="{91240B29-F687-4F45-9708-019B960494DF}">
                <a14:hiddenLine w="25400">
                  <a:solidFill>
                    <a:srgbClr val="000000"/>
                  </a:solidFill>
                  <a:miter lim="800000"/>
                  <a:headEnd/>
                  <a:tailEnd/>
                </a14:hiddenLine>
              </a:ext>
            </a:extLst>
          </p:spPr>
          <p:txBody>
            <a:bodyPr anchor="ctr" bIns="48208" lIns="96417" rIns="96417" tIns="48208"/>
            <a:lstStyle/>
            <a:p>
              <a:pPr algn="ctr" eaLnBrk="1" hangingPunct="1">
                <a:lnSpc>
                  <a:spcPct val="130000"/>
                </a:lnSpc>
              </a:pPr>
              <a:r>
                <a:rPr altLang="zh-CN" lang="en-US" sz="2900">
                  <a:solidFill>
                    <a:srgbClr val="FFFFFF"/>
                  </a:solidFill>
                  <a:latin charset="0" pitchFamily="34" typeface="Arial"/>
                  <a:ea charset="-122" panose="020b0503020204020204" pitchFamily="34" typeface="微软雅黑"/>
                  <a:sym charset="0" pitchFamily="34" typeface="Arial"/>
                </a:rPr>
                <a:t>1</a:t>
              </a:r>
            </a:p>
          </p:txBody>
        </p:sp>
      </p:grpSp>
      <p:grpSp>
        <p:nvGrpSpPr>
          <p:cNvPr id="58" name="组合 57"/>
          <p:cNvGrpSpPr/>
          <p:nvPr/>
        </p:nvGrpSpPr>
        <p:grpSpPr>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altLang="en-US" lang="zh-CN" noProof="1" sz="1400">
                <a:solidFill>
                  <a:schemeClr val="bg1"/>
                </a:solidFill>
                <a:sym charset="0" pitchFamily="34" typeface="Arial"/>
              </a:endParaRPr>
            </a:p>
          </p:txBody>
        </p:sp>
        <p:sp>
          <p:nvSpPr>
            <p:cNvPr id="60" name="文本框 64"/>
            <p:cNvSpPr txBox="1"/>
            <p:nvPr/>
          </p:nvSpPr>
          <p:spPr>
            <a:xfrm>
              <a:off x="3831120" y="3543486"/>
              <a:ext cx="1922293" cy="435987"/>
            </a:xfrm>
            <a:prstGeom prst="rect">
              <a:avLst/>
            </a:prstGeom>
            <a:noFill/>
          </p:spPr>
          <p:txBody>
            <a:bodyPr>
              <a:spAutoFit/>
            </a:bodyPr>
            <a:lstStyle/>
            <a:p>
              <a:pPr algn="ctr" eaLnBrk="1" hangingPunct="1">
                <a:spcBef>
                  <a:spcPts val="737"/>
                </a:spcBef>
                <a:defRPr/>
              </a:pPr>
              <a:r>
                <a:rPr altLang="zh-CN" lang="en-US" noProof="1" sz="1500">
                  <a:solidFill>
                    <a:schemeClr val="bg1"/>
                  </a:solidFill>
                  <a:latin charset="0" pitchFamily="34" typeface="Arial"/>
                  <a:ea charset="-122" panose="020b0503020204020204" pitchFamily="34" typeface="微软雅黑"/>
                  <a:sym charset="0" pitchFamily="34" typeface="Arial"/>
                </a:rPr>
                <a:t>YOUR TITLE</a:t>
              </a:r>
            </a:p>
          </p:txBody>
        </p:sp>
        <p:sp>
          <p:nvSpPr>
            <p:cNvPr id="61" name="文本框 68"/>
            <p:cNvSpPr txBox="1"/>
            <p:nvPr/>
          </p:nvSpPr>
          <p:spPr>
            <a:xfrm>
              <a:off x="4310787" y="2938479"/>
              <a:ext cx="1074797" cy="726644"/>
            </a:xfrm>
            <a:prstGeom prst="rect">
              <a:avLst/>
            </a:prstGeom>
            <a:noFill/>
          </p:spPr>
          <p:txBody>
            <a:bodyPr>
              <a:spAutoFit/>
            </a:bodyPr>
            <a:lstStyle/>
            <a:p>
              <a:pPr algn="ctr" eaLnBrk="1" hangingPunct="1">
                <a:spcBef>
                  <a:spcPts val="737"/>
                </a:spcBef>
                <a:defRPr/>
              </a:pPr>
              <a:r>
                <a:rPr altLang="zh-CN" lang="en-US" noProof="1" sz="2900">
                  <a:solidFill>
                    <a:schemeClr val="bg1"/>
                  </a:solidFill>
                  <a:latin charset="0" pitchFamily="34" typeface="Arial"/>
                  <a:ea charset="-122" panose="020b0503020204020204" pitchFamily="34" typeface="微软雅黑"/>
                  <a:sym charset="0" pitchFamily="34" typeface="Arial"/>
                </a:rPr>
                <a:t>2</a:t>
              </a:r>
            </a:p>
          </p:txBody>
        </p:sp>
      </p:grpSp>
      <p:grpSp>
        <p:nvGrpSpPr>
          <p:cNvPr id="62" name="组合 61"/>
          <p:cNvGrpSpPr/>
          <p:nvPr/>
        </p:nvGrpSpPr>
        <p:grpSpPr>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w="25400">
                  <a:solidFill>
                    <a:srgbClr val="000000"/>
                  </a:solidFill>
                  <a:miter lim="800000"/>
                  <a:headEnd/>
                  <a:tailEnd/>
                </a14:hiddenLine>
              </a:ext>
            </a:extLst>
          </p:spPr>
          <p:txBody>
            <a:bodyPr anchor="ctr" bIns="48208" lIns="96417" rIns="96417" tIns="48208"/>
            <a:lstStyle/>
            <a:p>
              <a:pPr algn="ctr" eaLnBrk="1" hangingPunct="1">
                <a:lnSpc>
                  <a:spcPct val="130000"/>
                </a:lnSpc>
              </a:pPr>
              <a:endParaRPr altLang="en-US" lang="zh-CN" sz="1400">
                <a:solidFill>
                  <a:srgbClr val="FFFFFF"/>
                </a:solidFill>
                <a:latin charset="0" pitchFamily="34" typeface="Arial"/>
                <a:ea charset="-122" panose="020b0503020204020204" pitchFamily="34" typeface="微软雅黑"/>
                <a:sym charset="0" pitchFamily="34" typeface="Arial"/>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w="25400">
                  <a:solidFill>
                    <a:srgbClr val="000000"/>
                  </a:solidFill>
                  <a:miter lim="800000"/>
                  <a:headEnd/>
                  <a:tailEnd/>
                </a14:hiddenLine>
              </a:ext>
            </a:extLst>
          </p:spPr>
          <p:txBody>
            <a:bodyPr anchor="ctr" bIns="48208" lIns="96417" rIns="96417" tIns="48208"/>
            <a:lstStyle/>
            <a:p>
              <a:pPr algn="ctr" eaLnBrk="1" hangingPunct="1">
                <a:lnSpc>
                  <a:spcPct val="130000"/>
                </a:lnSpc>
              </a:pPr>
              <a:r>
                <a:rPr altLang="zh-CN" lang="en-US" sz="1500">
                  <a:solidFill>
                    <a:srgbClr val="FFFFFF"/>
                  </a:solidFill>
                  <a:latin charset="0" pitchFamily="34" typeface="Arial"/>
                  <a:ea charset="-122" panose="020b0503020204020204" pitchFamily="34" typeface="微软雅黑"/>
                  <a:sym charset="0" pitchFamily="34" typeface="Arial"/>
                </a:rPr>
                <a:t>YOUR TITLE</a:t>
              </a: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w="25400">
                  <a:solidFill>
                    <a:srgbClr val="000000"/>
                  </a:solidFill>
                  <a:miter lim="800000"/>
                  <a:headEnd/>
                  <a:tailEnd/>
                </a14:hiddenLine>
              </a:ext>
            </a:extLst>
          </p:spPr>
          <p:txBody>
            <a:bodyPr anchor="ctr" bIns="48208" lIns="96417" rIns="96417" tIns="48208"/>
            <a:lstStyle/>
            <a:p>
              <a:pPr algn="ctr" eaLnBrk="1" hangingPunct="1">
                <a:lnSpc>
                  <a:spcPct val="130000"/>
                </a:lnSpc>
              </a:pPr>
              <a:r>
                <a:rPr altLang="zh-CN" lang="en-US" sz="2900">
                  <a:solidFill>
                    <a:srgbClr val="FFFFFF"/>
                  </a:solidFill>
                  <a:latin charset="0" pitchFamily="34" typeface="Arial"/>
                  <a:ea charset="-122" panose="020b0503020204020204" pitchFamily="34" typeface="微软雅黑"/>
                  <a:sym charset="0" pitchFamily="34" typeface="Arial"/>
                </a:rPr>
                <a:t>3</a:t>
              </a:r>
            </a:p>
          </p:txBody>
        </p:sp>
      </p:grpSp>
      <p:grpSp>
        <p:nvGrpSpPr>
          <p:cNvPr id="66" name="组合 65"/>
          <p:cNvGrpSpPr/>
          <p:nvPr/>
        </p:nvGrpSpPr>
        <p:grpSpPr>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altLang="en-US" lang="zh-CN" noProof="1" sz="1400">
                <a:solidFill>
                  <a:schemeClr val="bg1"/>
                </a:solidFill>
                <a:sym charset="0" pitchFamily="34" typeface="Arial"/>
              </a:endParaRPr>
            </a:p>
          </p:txBody>
        </p:sp>
        <p:sp>
          <p:nvSpPr>
            <p:cNvPr id="68" name="文本框 66"/>
            <p:cNvSpPr txBox="1"/>
            <p:nvPr/>
          </p:nvSpPr>
          <p:spPr>
            <a:xfrm>
              <a:off x="8652428" y="3543486"/>
              <a:ext cx="1922294" cy="435987"/>
            </a:xfrm>
            <a:prstGeom prst="rect">
              <a:avLst/>
            </a:prstGeom>
            <a:noFill/>
          </p:spPr>
          <p:txBody>
            <a:bodyPr>
              <a:spAutoFit/>
            </a:bodyPr>
            <a:lstStyle/>
            <a:p>
              <a:pPr algn="ctr" eaLnBrk="1" hangingPunct="1">
                <a:spcBef>
                  <a:spcPts val="737"/>
                </a:spcBef>
                <a:defRPr/>
              </a:pPr>
              <a:r>
                <a:rPr altLang="zh-CN" lang="en-US" noProof="1" sz="1500">
                  <a:solidFill>
                    <a:schemeClr val="bg1"/>
                  </a:solidFill>
                  <a:latin charset="0" pitchFamily="34" typeface="Arial"/>
                  <a:ea charset="-122" panose="020b0503020204020204" pitchFamily="34" typeface="微软雅黑"/>
                  <a:sym charset="0" pitchFamily="34" typeface="Arial"/>
                </a:rPr>
                <a:t>YOUR TITLE</a:t>
              </a:r>
            </a:p>
          </p:txBody>
        </p:sp>
        <p:sp>
          <p:nvSpPr>
            <p:cNvPr id="69" name="文本框 70"/>
            <p:cNvSpPr txBox="1"/>
            <p:nvPr/>
          </p:nvSpPr>
          <p:spPr>
            <a:xfrm>
              <a:off x="9087467" y="3041621"/>
              <a:ext cx="1076303" cy="726645"/>
            </a:xfrm>
            <a:prstGeom prst="rect">
              <a:avLst/>
            </a:prstGeom>
            <a:noFill/>
          </p:spPr>
          <p:txBody>
            <a:bodyPr>
              <a:spAutoFit/>
            </a:bodyPr>
            <a:lstStyle/>
            <a:p>
              <a:pPr algn="ctr" eaLnBrk="1" hangingPunct="1">
                <a:spcBef>
                  <a:spcPts val="737"/>
                </a:spcBef>
                <a:defRPr/>
              </a:pPr>
              <a:r>
                <a:rPr altLang="zh-CN" lang="en-US" noProof="1" sz="2900">
                  <a:solidFill>
                    <a:schemeClr val="bg1"/>
                  </a:solidFill>
                  <a:latin charset="0" pitchFamily="34" typeface="Arial"/>
                  <a:ea charset="-122" panose="020b0503020204020204" pitchFamily="34" typeface="微软雅黑"/>
                  <a:sym charset="0" pitchFamily="34" typeface="Arial"/>
                </a:rPr>
                <a:t>4</a:t>
              </a: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bIns="72582" lIns="0" rIns="0" tIns="72582"/>
          <a:lstStyle/>
          <a:p>
            <a:pPr>
              <a:buFont charset="0" pitchFamily="34" typeface="Arial"/>
              <a:buNone/>
            </a:pPr>
            <a:r>
              <a:rPr altLang="en-US" lang="zh-CN" sz="1100">
                <a:solidFill>
                  <a:schemeClr val="bg1">
                    <a:lumMod val="85000"/>
                  </a:schemeClr>
                </a:solidFill>
                <a:latin typeface="Lato Regular"/>
                <a:ea charset="-122" panose="020b0503020204020204" pitchFamily="34" typeface="微软雅黑"/>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a:lnSpc>
                <a:spcPct val="150000"/>
              </a:lnSpc>
              <a:buFont charset="0" pitchFamily="34" typeface="Arial"/>
              <a:buNone/>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bIns="72582" lIns="0" rIns="0" tIns="72582"/>
          <a:lstStyle/>
          <a:p>
            <a:pPr>
              <a:buFont charset="0" pitchFamily="34" typeface="Arial"/>
              <a:buNone/>
            </a:pPr>
            <a:r>
              <a:rPr altLang="en-US" lang="zh-CN" sz="1100">
                <a:solidFill>
                  <a:schemeClr val="bg1">
                    <a:lumMod val="85000"/>
                  </a:schemeClr>
                </a:solidFill>
                <a:latin typeface="Lato Regular"/>
                <a:ea charset="-122" panose="020b0503020204020204" pitchFamily="34" typeface="微软雅黑"/>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a:lnSpc>
                <a:spcPct val="150000"/>
              </a:lnSpc>
              <a:buFont charset="0" pitchFamily="34" typeface="Arial"/>
              <a:buNone/>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bIns="72582" lIns="0" rIns="0" tIns="72582"/>
          <a:lstStyle/>
          <a:p>
            <a:pPr>
              <a:buFont charset="0" pitchFamily="34" typeface="Arial"/>
              <a:buNone/>
            </a:pPr>
            <a:r>
              <a:rPr altLang="en-US" lang="zh-CN" sz="1100">
                <a:solidFill>
                  <a:schemeClr val="bg1">
                    <a:lumMod val="85000"/>
                  </a:schemeClr>
                </a:solidFill>
                <a:latin typeface="Lato Regular"/>
                <a:ea charset="-122" panose="020b0503020204020204" pitchFamily="34" typeface="微软雅黑"/>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a:lnSpc>
                <a:spcPct val="150000"/>
              </a:lnSpc>
              <a:buFont charset="0" pitchFamily="34" typeface="Arial"/>
              <a:buNone/>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bIns="72582" lIns="0" rIns="0" tIns="72582"/>
          <a:lstStyle/>
          <a:p>
            <a:pPr>
              <a:buFont charset="0" pitchFamily="34" typeface="Arial"/>
              <a:buNone/>
            </a:pPr>
            <a:r>
              <a:rPr altLang="en-US" lang="zh-CN" sz="1100">
                <a:solidFill>
                  <a:schemeClr val="bg1">
                    <a:lumMod val="85000"/>
                  </a:schemeClr>
                </a:solidFill>
                <a:latin typeface="Lato Regular"/>
                <a:ea charset="-122" panose="020b0503020204020204" pitchFamily="34" typeface="微软雅黑"/>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a:lnSpc>
                <a:spcPct val="150000"/>
              </a:lnSpc>
              <a:buFont charset="0" pitchFamily="34" typeface="Arial"/>
              <a:buNone/>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30" name="平行四边形 29"/>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1" name="平行四边形 30"/>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2" name="平行四边形 31"/>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3" name="平行四边形 32"/>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36" name="Group 7"/>
          <p:cNvGrpSpPr/>
          <p:nvPr/>
        </p:nvGrpSpPr>
        <p:grpSpPr>
          <a:xfrm>
            <a:off x="180202" y="181952"/>
            <a:ext cx="216018" cy="113981"/>
            <a:chExt cx="1041399" cy="549275"/>
          </a:xfrm>
          <a:solidFill>
            <a:srgbClr val="133E73"/>
          </a:solidFill>
        </p:grpSpPr>
        <p:sp>
          <p:nvSpPr>
            <p:cNvPr id="37"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38"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39"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40" name="6112">
            <a:hlinkClick action="ppaction://media"/>
          </p:cNvPr>
          <p:cNvPicPr>
            <a:picLocks noChangeAspect="1"/>
          </p:cNvPicPr>
          <p:nvPr>
            <a:audioFile r:link="rId6"/>
            <p:extLst>
              <p:ext uri="{DAA4B4D4-6D71-4841-9C94-3DE7FCFB9230}">
                <p14:media r:embed="rId7"/>
              </p:ext>
            </p:extLst>
          </p:nvPr>
        </p:nvPicPr>
        <p:blipFill>
          <a:blip r:embed="rId5"/>
          <a:stretch>
            <a:fillRect/>
          </a:stretch>
        </p:blipFill>
        <p:spPr>
          <a:xfrm>
            <a:off x="2268377" y="-1568065"/>
            <a:ext cx="1008084" cy="1008084"/>
          </a:xfrm>
          <a:prstGeom prst="rect">
            <a:avLst/>
          </a:prstGeom>
        </p:spPr>
      </p:pic>
    </p:spTree>
    <p:extLst>
      <p:ext uri="{BB962C8B-B14F-4D97-AF65-F5344CB8AC3E}">
        <p14:creationId val="3633971506"/>
      </p:ext>
    </p:extLst>
  </p:cSld>
  <p:clrMapOvr>
    <a:masterClrMapping/>
  </p:clrMapOvr>
  <mc:AlternateContent>
    <mc:Choice Requires="p14">
      <p:transition p14:dur="1600" spd="slow">
        <p14:conveyor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36"/>
                                        </p:tgtEl>
                                        <p:attrNameLst>
                                          <p:attrName>style.visibility</p:attrName>
                                        </p:attrNameLst>
                                      </p:cBhvr>
                                      <p:to>
                                        <p:strVal val="visible"/>
                                      </p:to>
                                    </p:set>
                                    <p:anim calcmode="lin" valueType="num">
                                      <p:cBhvr additive="base">
                                        <p:cTn dur="500" fill="hold" id="7"/>
                                        <p:tgtEl>
                                          <p:spTgt spid="36"/>
                                        </p:tgtEl>
                                        <p:attrNameLst>
                                          <p:attrName>ppt_x</p:attrName>
                                        </p:attrNameLst>
                                      </p:cBhvr>
                                      <p:tavLst>
                                        <p:tav tm="0">
                                          <p:val>
                                            <p:strVal val="0-#ppt_w/2"/>
                                          </p:val>
                                        </p:tav>
                                        <p:tav tm="100000">
                                          <p:val>
                                            <p:strVal val="#ppt_x"/>
                                          </p:val>
                                        </p:tav>
                                      </p:tavLst>
                                    </p:anim>
                                    <p:anim calcmode="lin" valueType="num">
                                      <p:cBhvr additive="base">
                                        <p:cTn dur="500" fill="hold" id="8"/>
                                        <p:tgtEl>
                                          <p:spTgt spid="36"/>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35"/>
                                        </p:tgtEl>
                                        <p:attrNameLst>
                                          <p:attrName>style.visibility</p:attrName>
                                        </p:attrNameLst>
                                      </p:cBhvr>
                                      <p:to>
                                        <p:strVal val="visible"/>
                                      </p:to>
                                    </p:set>
                                    <p:anim calcmode="lin" valueType="num">
                                      <p:cBhvr>
                                        <p:cTn dur="500" fill="hold" id="12"/>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35"/>
                                        </p:tgtEl>
                                        <p:attrNameLst>
                                          <p:attrName>ppt_y</p:attrName>
                                        </p:attrNameLst>
                                      </p:cBhvr>
                                      <p:tavLst>
                                        <p:tav tm="0">
                                          <p:val>
                                            <p:strVal val="#ppt_y"/>
                                          </p:val>
                                        </p:tav>
                                        <p:tav tm="100000">
                                          <p:val>
                                            <p:strVal val="#ppt_y"/>
                                          </p:val>
                                        </p:tav>
                                      </p:tavLst>
                                    </p:anim>
                                    <p:anim calcmode="lin" valueType="num">
                                      <p:cBhvr>
                                        <p:cTn dur="500" fill="hold" id="14"/>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35"/>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35"/>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32"/>
                                        </p:tgtEl>
                                        <p:attrNameLst>
                                          <p:attrName>fillcolor</p:attrName>
                                        </p:attrNameLst>
                                      </p:cBhvr>
                                      <p:to>
                                        <a:srgbClr val="00AEEF"/>
                                      </p:to>
                                    </p:animClr>
                                    <p:set>
                                      <p:cBhvr>
                                        <p:cTn dur="300" fill="hold" id="20"/>
                                        <p:tgtEl>
                                          <p:spTgt spid="32"/>
                                        </p:tgtEl>
                                        <p:attrNameLst>
                                          <p:attrName>fill.type</p:attrName>
                                        </p:attrNameLst>
                                      </p:cBhvr>
                                      <p:to>
                                        <p:strVal val="solid"/>
                                      </p:to>
                                    </p:set>
                                    <p:set>
                                      <p:cBhvr>
                                        <p:cTn dur="300" fill="hold" id="21"/>
                                        <p:tgtEl>
                                          <p:spTgt spid="32"/>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2" presetSubtype="2">
                                  <p:stCondLst>
                                    <p:cond delay="0"/>
                                  </p:stCondLst>
                                  <p:childTnLst>
                                    <p:set>
                                      <p:cBhvr>
                                        <p:cTn dur="1" fill="hold" id="24">
                                          <p:stCondLst>
                                            <p:cond delay="0"/>
                                          </p:stCondLst>
                                        </p:cTn>
                                        <p:tgtEl>
                                          <p:spTgt spid="54"/>
                                        </p:tgtEl>
                                        <p:attrNameLst>
                                          <p:attrName>style.visibility</p:attrName>
                                        </p:attrNameLst>
                                      </p:cBhvr>
                                      <p:to>
                                        <p:strVal val="visible"/>
                                      </p:to>
                                    </p:set>
                                    <p:anim calcmode="lin" valueType="num">
                                      <p:cBhvr>
                                        <p:cTn dur="500" fill="hold" id="25"/>
                                        <p:tgtEl>
                                          <p:spTgt spid="54"/>
                                        </p:tgtEl>
                                        <p:attrNameLst>
                                          <p:attrName>ppt_x</p:attrName>
                                        </p:attrNameLst>
                                      </p:cBhvr>
                                      <p:tavLst>
                                        <p:tav tm="0">
                                          <p:val>
                                            <p:strVal val="1+#ppt_w/2"/>
                                          </p:val>
                                        </p:tav>
                                        <p:tav tm="100000">
                                          <p:val>
                                            <p:strVal val="#ppt_x"/>
                                          </p:val>
                                        </p:tav>
                                      </p:tavLst>
                                    </p:anim>
                                    <p:anim calcmode="lin" valueType="num">
                                      <p:cBhvr>
                                        <p:cTn dur="500" fill="hold" id="26"/>
                                        <p:tgtEl>
                                          <p:spTgt spid="54"/>
                                        </p:tgtEl>
                                        <p:attrNameLst>
                                          <p:attrName>ppt_y</p:attrName>
                                        </p:attrNameLst>
                                      </p:cBhvr>
                                      <p:tavLst>
                                        <p:tav tm="0">
                                          <p:val>
                                            <p:strVal val="#ppt_y"/>
                                          </p:val>
                                        </p:tav>
                                        <p:tav tm="100000">
                                          <p:val>
                                            <p:strVal val="#ppt_y"/>
                                          </p:val>
                                        </p:tav>
                                      </p:tavLst>
                                    </p:anim>
                                  </p:childTnLst>
                                </p:cTn>
                              </p:par>
                              <p:par>
                                <p:cTn fill="hold" id="27" nodeType="withEffect" presetClass="entr" presetID="2" presetSubtype="2">
                                  <p:stCondLst>
                                    <p:cond delay="250"/>
                                  </p:stCondLst>
                                  <p:childTnLst>
                                    <p:set>
                                      <p:cBhvr>
                                        <p:cTn dur="1" fill="hold" id="28">
                                          <p:stCondLst>
                                            <p:cond delay="0"/>
                                          </p:stCondLst>
                                        </p:cTn>
                                        <p:tgtEl>
                                          <p:spTgt spid="58"/>
                                        </p:tgtEl>
                                        <p:attrNameLst>
                                          <p:attrName>style.visibility</p:attrName>
                                        </p:attrNameLst>
                                      </p:cBhvr>
                                      <p:to>
                                        <p:strVal val="visible"/>
                                      </p:to>
                                    </p:set>
                                    <p:anim calcmode="lin" valueType="num">
                                      <p:cBhvr>
                                        <p:cTn dur="500" fill="hold" id="29"/>
                                        <p:tgtEl>
                                          <p:spTgt spid="58"/>
                                        </p:tgtEl>
                                        <p:attrNameLst>
                                          <p:attrName>ppt_x</p:attrName>
                                        </p:attrNameLst>
                                      </p:cBhvr>
                                      <p:tavLst>
                                        <p:tav tm="0">
                                          <p:val>
                                            <p:strVal val="1+#ppt_w/2"/>
                                          </p:val>
                                        </p:tav>
                                        <p:tav tm="100000">
                                          <p:val>
                                            <p:strVal val="#ppt_x"/>
                                          </p:val>
                                        </p:tav>
                                      </p:tavLst>
                                    </p:anim>
                                    <p:anim calcmode="lin" valueType="num">
                                      <p:cBhvr>
                                        <p:cTn dur="500" fill="hold" id="30"/>
                                        <p:tgtEl>
                                          <p:spTgt spid="58"/>
                                        </p:tgtEl>
                                        <p:attrNameLst>
                                          <p:attrName>ppt_y</p:attrName>
                                        </p:attrNameLst>
                                      </p:cBhvr>
                                      <p:tavLst>
                                        <p:tav tm="0">
                                          <p:val>
                                            <p:strVal val="#ppt_y"/>
                                          </p:val>
                                        </p:tav>
                                        <p:tav tm="100000">
                                          <p:val>
                                            <p:strVal val="#ppt_y"/>
                                          </p:val>
                                        </p:tav>
                                      </p:tavLst>
                                    </p:anim>
                                  </p:childTnLst>
                                </p:cTn>
                              </p:par>
                              <p:par>
                                <p:cTn fill="hold" id="31" nodeType="withEffect" presetClass="entr" presetID="2" presetSubtype="2">
                                  <p:stCondLst>
                                    <p:cond delay="500"/>
                                  </p:stCondLst>
                                  <p:childTnLst>
                                    <p:set>
                                      <p:cBhvr>
                                        <p:cTn dur="1" fill="hold" id="32">
                                          <p:stCondLst>
                                            <p:cond delay="0"/>
                                          </p:stCondLst>
                                        </p:cTn>
                                        <p:tgtEl>
                                          <p:spTgt spid="62"/>
                                        </p:tgtEl>
                                        <p:attrNameLst>
                                          <p:attrName>style.visibility</p:attrName>
                                        </p:attrNameLst>
                                      </p:cBhvr>
                                      <p:to>
                                        <p:strVal val="visible"/>
                                      </p:to>
                                    </p:set>
                                    <p:anim calcmode="lin" valueType="num">
                                      <p:cBhvr>
                                        <p:cTn dur="500" fill="hold" id="33"/>
                                        <p:tgtEl>
                                          <p:spTgt spid="62"/>
                                        </p:tgtEl>
                                        <p:attrNameLst>
                                          <p:attrName>ppt_x</p:attrName>
                                        </p:attrNameLst>
                                      </p:cBhvr>
                                      <p:tavLst>
                                        <p:tav tm="0">
                                          <p:val>
                                            <p:strVal val="1+#ppt_w/2"/>
                                          </p:val>
                                        </p:tav>
                                        <p:tav tm="100000">
                                          <p:val>
                                            <p:strVal val="#ppt_x"/>
                                          </p:val>
                                        </p:tav>
                                      </p:tavLst>
                                    </p:anim>
                                    <p:anim calcmode="lin" valueType="num">
                                      <p:cBhvr>
                                        <p:cTn dur="500" fill="hold" id="34"/>
                                        <p:tgtEl>
                                          <p:spTgt spid="62"/>
                                        </p:tgtEl>
                                        <p:attrNameLst>
                                          <p:attrName>ppt_y</p:attrName>
                                        </p:attrNameLst>
                                      </p:cBhvr>
                                      <p:tavLst>
                                        <p:tav tm="0">
                                          <p:val>
                                            <p:strVal val="#ppt_y"/>
                                          </p:val>
                                        </p:tav>
                                        <p:tav tm="100000">
                                          <p:val>
                                            <p:strVal val="#ppt_y"/>
                                          </p:val>
                                        </p:tav>
                                      </p:tavLst>
                                    </p:anim>
                                  </p:childTnLst>
                                </p:cTn>
                              </p:par>
                              <p:par>
                                <p:cTn fill="hold" id="35" nodeType="withEffect" presetClass="entr" presetID="2" presetSubtype="2">
                                  <p:stCondLst>
                                    <p:cond delay="750"/>
                                  </p:stCondLst>
                                  <p:childTnLst>
                                    <p:set>
                                      <p:cBhvr>
                                        <p:cTn dur="1" fill="hold" id="36">
                                          <p:stCondLst>
                                            <p:cond delay="0"/>
                                          </p:stCondLst>
                                        </p:cTn>
                                        <p:tgtEl>
                                          <p:spTgt spid="66"/>
                                        </p:tgtEl>
                                        <p:attrNameLst>
                                          <p:attrName>style.visibility</p:attrName>
                                        </p:attrNameLst>
                                      </p:cBhvr>
                                      <p:to>
                                        <p:strVal val="visible"/>
                                      </p:to>
                                    </p:set>
                                    <p:anim calcmode="lin" valueType="num">
                                      <p:cBhvr>
                                        <p:cTn dur="500" fill="hold" id="37"/>
                                        <p:tgtEl>
                                          <p:spTgt spid="66"/>
                                        </p:tgtEl>
                                        <p:attrNameLst>
                                          <p:attrName>ppt_x</p:attrName>
                                        </p:attrNameLst>
                                      </p:cBhvr>
                                      <p:tavLst>
                                        <p:tav tm="0">
                                          <p:val>
                                            <p:strVal val="1+#ppt_w/2"/>
                                          </p:val>
                                        </p:tav>
                                        <p:tav tm="100000">
                                          <p:val>
                                            <p:strVal val="#ppt_x"/>
                                          </p:val>
                                        </p:tav>
                                      </p:tavLst>
                                    </p:anim>
                                    <p:anim calcmode="lin" valueType="num">
                                      <p:cBhvr>
                                        <p:cTn dur="500" fill="hold" id="38"/>
                                        <p:tgtEl>
                                          <p:spTgt spid="66"/>
                                        </p:tgtEl>
                                        <p:attrNameLst>
                                          <p:attrName>ppt_y</p:attrName>
                                        </p:attrNameLst>
                                      </p:cBhvr>
                                      <p:tavLst>
                                        <p:tav tm="0">
                                          <p:val>
                                            <p:strVal val="#ppt_y"/>
                                          </p:val>
                                        </p:tav>
                                        <p:tav tm="100000">
                                          <p:val>
                                            <p:strVal val="#ppt_y"/>
                                          </p:val>
                                        </p:tav>
                                      </p:tavLst>
                                    </p:anim>
                                  </p:childTnLst>
                                </p:cTn>
                              </p:par>
                              <p:par>
                                <p:cTn fill="hold" id="39" nodeType="withEffect" presetClass="entr" presetID="22" presetSubtype="4">
                                  <p:stCondLst>
                                    <p:cond delay="500"/>
                                  </p:stCondLst>
                                  <p:childTnLst>
                                    <p:set>
                                      <p:cBhvr>
                                        <p:cTn dur="1" fill="hold" id="40">
                                          <p:stCondLst>
                                            <p:cond delay="0"/>
                                          </p:stCondLst>
                                        </p:cTn>
                                        <p:tgtEl>
                                          <p:spTgt spid="50"/>
                                        </p:tgtEl>
                                        <p:attrNameLst>
                                          <p:attrName>style.visibility</p:attrName>
                                        </p:attrNameLst>
                                      </p:cBhvr>
                                      <p:to>
                                        <p:strVal val="visible"/>
                                      </p:to>
                                    </p:set>
                                    <p:animEffect filter="wipe(down)" transition="in">
                                      <p:cBhvr>
                                        <p:cTn dur="250" id="41"/>
                                        <p:tgtEl>
                                          <p:spTgt spid="50"/>
                                        </p:tgtEl>
                                      </p:cBhvr>
                                    </p:animEffect>
                                  </p:childTnLst>
                                </p:cTn>
                              </p:par>
                              <p:par>
                                <p:cTn fill="hold" id="42" nodeType="withEffect" presetClass="entr" presetID="22" presetSubtype="1">
                                  <p:stCondLst>
                                    <p:cond delay="750"/>
                                  </p:stCondLst>
                                  <p:childTnLst>
                                    <p:set>
                                      <p:cBhvr>
                                        <p:cTn dur="1" fill="hold" id="43">
                                          <p:stCondLst>
                                            <p:cond delay="0"/>
                                          </p:stCondLst>
                                        </p:cTn>
                                        <p:tgtEl>
                                          <p:spTgt spid="51"/>
                                        </p:tgtEl>
                                        <p:attrNameLst>
                                          <p:attrName>style.visibility</p:attrName>
                                        </p:attrNameLst>
                                      </p:cBhvr>
                                      <p:to>
                                        <p:strVal val="visible"/>
                                      </p:to>
                                    </p:set>
                                    <p:animEffect filter="wipe(up)" transition="in">
                                      <p:cBhvr>
                                        <p:cTn dur="250" id="44"/>
                                        <p:tgtEl>
                                          <p:spTgt spid="51"/>
                                        </p:tgtEl>
                                      </p:cBhvr>
                                    </p:animEffect>
                                  </p:childTnLst>
                                </p:cTn>
                              </p:par>
                              <p:par>
                                <p:cTn fill="hold" id="45" nodeType="withEffect" presetClass="entr" presetID="22" presetSubtype="4">
                                  <p:stCondLst>
                                    <p:cond delay="1000"/>
                                  </p:stCondLst>
                                  <p:childTnLst>
                                    <p:set>
                                      <p:cBhvr>
                                        <p:cTn dur="1" fill="hold" id="46">
                                          <p:stCondLst>
                                            <p:cond delay="0"/>
                                          </p:stCondLst>
                                        </p:cTn>
                                        <p:tgtEl>
                                          <p:spTgt spid="52"/>
                                        </p:tgtEl>
                                        <p:attrNameLst>
                                          <p:attrName>style.visibility</p:attrName>
                                        </p:attrNameLst>
                                      </p:cBhvr>
                                      <p:to>
                                        <p:strVal val="visible"/>
                                      </p:to>
                                    </p:set>
                                    <p:animEffect filter="wipe(down)" transition="in">
                                      <p:cBhvr>
                                        <p:cTn dur="250" id="47"/>
                                        <p:tgtEl>
                                          <p:spTgt spid="52"/>
                                        </p:tgtEl>
                                      </p:cBhvr>
                                    </p:animEffect>
                                  </p:childTnLst>
                                </p:cTn>
                              </p:par>
                              <p:par>
                                <p:cTn fill="hold" id="48" nodeType="withEffect" presetClass="entr" presetID="22" presetSubtype="1">
                                  <p:stCondLst>
                                    <p:cond delay="1250"/>
                                  </p:stCondLst>
                                  <p:childTnLst>
                                    <p:set>
                                      <p:cBhvr>
                                        <p:cTn dur="1" fill="hold" id="49">
                                          <p:stCondLst>
                                            <p:cond delay="0"/>
                                          </p:stCondLst>
                                        </p:cTn>
                                        <p:tgtEl>
                                          <p:spTgt spid="53"/>
                                        </p:tgtEl>
                                        <p:attrNameLst>
                                          <p:attrName>style.visibility</p:attrName>
                                        </p:attrNameLst>
                                      </p:cBhvr>
                                      <p:to>
                                        <p:strVal val="visible"/>
                                      </p:to>
                                    </p:set>
                                    <p:animEffect filter="wipe(up)" transition="in">
                                      <p:cBhvr>
                                        <p:cTn dur="250" id="50"/>
                                        <p:tgtEl>
                                          <p:spTgt spid="53"/>
                                        </p:tgtEl>
                                      </p:cBhvr>
                                    </p:animEffect>
                                  </p:childTnLst>
                                </p:cTn>
                              </p:par>
                            </p:childTnLst>
                          </p:cTn>
                        </p:par>
                        <p:par>
                          <p:cTn fill="hold" id="51" nodeType="afterGroup">
                            <p:stCondLst>
                              <p:cond delay="2800"/>
                            </p:stCondLst>
                            <p:childTnLst>
                              <p:par>
                                <p:cTn fill="hold" grpId="0" id="52" nodeType="afterEffect" presetClass="entr" presetID="53" presetSubtype="0">
                                  <p:stCondLst>
                                    <p:cond delay="0"/>
                                  </p:stCondLst>
                                  <p:childTnLst>
                                    <p:set>
                                      <p:cBhvr>
                                        <p:cTn dur="1" fill="hold" id="53">
                                          <p:stCondLst>
                                            <p:cond delay="0"/>
                                          </p:stCondLst>
                                        </p:cTn>
                                        <p:tgtEl>
                                          <p:spTgt spid="70">
                                            <p:txEl>
                                              <p:pRg end="0" st="0"/>
                                            </p:txEl>
                                          </p:spTgt>
                                        </p:tgtEl>
                                        <p:attrNameLst>
                                          <p:attrName>style.visibility</p:attrName>
                                        </p:attrNameLst>
                                      </p:cBhvr>
                                      <p:to>
                                        <p:strVal val="visible"/>
                                      </p:to>
                                    </p:set>
                                    <p:anim calcmode="lin" valueType="num">
                                      <p:cBhvr>
                                        <p:cTn dur="400" fill="hold" id="54"/>
                                        <p:tgtEl>
                                          <p:spTgt spid="70">
                                            <p:txEl>
                                              <p:pRg end="0" st="0"/>
                                            </p:txEl>
                                          </p:spTgt>
                                        </p:tgtEl>
                                        <p:attrNameLst>
                                          <p:attrName>ppt_w</p:attrName>
                                        </p:attrNameLst>
                                      </p:cBhvr>
                                      <p:tavLst>
                                        <p:tav tm="0">
                                          <p:val>
                                            <p:fltVal val="0"/>
                                          </p:val>
                                        </p:tav>
                                        <p:tav tm="100000">
                                          <p:val>
                                            <p:strVal val="#ppt_w"/>
                                          </p:val>
                                        </p:tav>
                                      </p:tavLst>
                                    </p:anim>
                                    <p:anim calcmode="lin" valueType="num">
                                      <p:cBhvr>
                                        <p:cTn dur="400" fill="hold" id="55"/>
                                        <p:tgtEl>
                                          <p:spTgt spid="70">
                                            <p:txEl>
                                              <p:pRg end="0" st="0"/>
                                            </p:txEl>
                                          </p:spTgt>
                                        </p:tgtEl>
                                        <p:attrNameLst>
                                          <p:attrName>ppt_h</p:attrName>
                                        </p:attrNameLst>
                                      </p:cBhvr>
                                      <p:tavLst>
                                        <p:tav tm="0">
                                          <p:val>
                                            <p:fltVal val="0"/>
                                          </p:val>
                                        </p:tav>
                                        <p:tav tm="100000">
                                          <p:val>
                                            <p:strVal val="#ppt_h"/>
                                          </p:val>
                                        </p:tav>
                                      </p:tavLst>
                                    </p:anim>
                                    <p:animEffect filter="fade" transition="in">
                                      <p:cBhvr>
                                        <p:cTn dur="400" id="56"/>
                                        <p:tgtEl>
                                          <p:spTgt spid="70">
                                            <p:txEl>
                                              <p:pRg end="0" st="0"/>
                                            </p:txEl>
                                          </p:spTgt>
                                        </p:tgtEl>
                                      </p:cBhvr>
                                    </p:animEffect>
                                  </p:childTnLst>
                                </p:cTn>
                              </p:par>
                            </p:childTnLst>
                          </p:cTn>
                        </p:par>
                        <p:par>
                          <p:cTn fill="hold" id="57" nodeType="afterGroup">
                            <p:stCondLst>
                              <p:cond delay="3200"/>
                            </p:stCondLst>
                            <p:childTnLst>
                              <p:par>
                                <p:cTn fill="hold" grpId="0" id="58" nodeType="afterEffect" presetClass="entr" presetID="53" presetSubtype="0">
                                  <p:stCondLst>
                                    <p:cond delay="0"/>
                                  </p:stCondLst>
                                  <p:childTnLst>
                                    <p:set>
                                      <p:cBhvr>
                                        <p:cTn dur="1" fill="hold" id="59">
                                          <p:stCondLst>
                                            <p:cond delay="0"/>
                                          </p:stCondLst>
                                        </p:cTn>
                                        <p:tgtEl>
                                          <p:spTgt spid="71">
                                            <p:txEl>
                                              <p:pRg end="0" st="0"/>
                                            </p:txEl>
                                          </p:spTgt>
                                        </p:tgtEl>
                                        <p:attrNameLst>
                                          <p:attrName>style.visibility</p:attrName>
                                        </p:attrNameLst>
                                      </p:cBhvr>
                                      <p:to>
                                        <p:strVal val="visible"/>
                                      </p:to>
                                    </p:set>
                                    <p:anim calcmode="lin" valueType="num">
                                      <p:cBhvr>
                                        <p:cTn dur="400" fill="hold" id="60"/>
                                        <p:tgtEl>
                                          <p:spTgt spid="71">
                                            <p:txEl>
                                              <p:pRg end="0" st="0"/>
                                            </p:txEl>
                                          </p:spTgt>
                                        </p:tgtEl>
                                        <p:attrNameLst>
                                          <p:attrName>ppt_w</p:attrName>
                                        </p:attrNameLst>
                                      </p:cBhvr>
                                      <p:tavLst>
                                        <p:tav tm="0">
                                          <p:val>
                                            <p:fltVal val="0"/>
                                          </p:val>
                                        </p:tav>
                                        <p:tav tm="100000">
                                          <p:val>
                                            <p:strVal val="#ppt_w"/>
                                          </p:val>
                                        </p:tav>
                                      </p:tavLst>
                                    </p:anim>
                                    <p:anim calcmode="lin" valueType="num">
                                      <p:cBhvr>
                                        <p:cTn dur="400" fill="hold" id="61"/>
                                        <p:tgtEl>
                                          <p:spTgt spid="71">
                                            <p:txEl>
                                              <p:pRg end="0" st="0"/>
                                            </p:txEl>
                                          </p:spTgt>
                                        </p:tgtEl>
                                        <p:attrNameLst>
                                          <p:attrName>ppt_h</p:attrName>
                                        </p:attrNameLst>
                                      </p:cBhvr>
                                      <p:tavLst>
                                        <p:tav tm="0">
                                          <p:val>
                                            <p:fltVal val="0"/>
                                          </p:val>
                                        </p:tav>
                                        <p:tav tm="100000">
                                          <p:val>
                                            <p:strVal val="#ppt_h"/>
                                          </p:val>
                                        </p:tav>
                                      </p:tavLst>
                                    </p:anim>
                                    <p:animEffect filter="fade" transition="in">
                                      <p:cBhvr>
                                        <p:cTn dur="400" id="62"/>
                                        <p:tgtEl>
                                          <p:spTgt spid="71">
                                            <p:txEl>
                                              <p:pRg end="0" st="0"/>
                                            </p:txEl>
                                          </p:spTgt>
                                        </p:tgtEl>
                                      </p:cBhvr>
                                    </p:animEffect>
                                  </p:childTnLst>
                                </p:cTn>
                              </p:par>
                            </p:childTnLst>
                          </p:cTn>
                        </p:par>
                        <p:par>
                          <p:cTn fill="hold" id="63" nodeType="afterGroup">
                            <p:stCondLst>
                              <p:cond delay="3600"/>
                            </p:stCondLst>
                            <p:childTnLst>
                              <p:par>
                                <p:cTn fill="hold" grpId="0" id="64" nodeType="afterEffect" presetClass="entr" presetID="53" presetSubtype="0">
                                  <p:stCondLst>
                                    <p:cond delay="0"/>
                                  </p:stCondLst>
                                  <p:childTnLst>
                                    <p:set>
                                      <p:cBhvr>
                                        <p:cTn dur="1" fill="hold" id="65">
                                          <p:stCondLst>
                                            <p:cond delay="0"/>
                                          </p:stCondLst>
                                        </p:cTn>
                                        <p:tgtEl>
                                          <p:spTgt spid="72">
                                            <p:txEl>
                                              <p:pRg end="0" st="0"/>
                                            </p:txEl>
                                          </p:spTgt>
                                        </p:tgtEl>
                                        <p:attrNameLst>
                                          <p:attrName>style.visibility</p:attrName>
                                        </p:attrNameLst>
                                      </p:cBhvr>
                                      <p:to>
                                        <p:strVal val="visible"/>
                                      </p:to>
                                    </p:set>
                                    <p:anim calcmode="lin" valueType="num">
                                      <p:cBhvr>
                                        <p:cTn dur="400" fill="hold" id="66"/>
                                        <p:tgtEl>
                                          <p:spTgt spid="72">
                                            <p:txEl>
                                              <p:pRg end="0" st="0"/>
                                            </p:txEl>
                                          </p:spTgt>
                                        </p:tgtEl>
                                        <p:attrNameLst>
                                          <p:attrName>ppt_w</p:attrName>
                                        </p:attrNameLst>
                                      </p:cBhvr>
                                      <p:tavLst>
                                        <p:tav tm="0">
                                          <p:val>
                                            <p:fltVal val="0"/>
                                          </p:val>
                                        </p:tav>
                                        <p:tav tm="100000">
                                          <p:val>
                                            <p:strVal val="#ppt_w"/>
                                          </p:val>
                                        </p:tav>
                                      </p:tavLst>
                                    </p:anim>
                                    <p:anim calcmode="lin" valueType="num">
                                      <p:cBhvr>
                                        <p:cTn dur="400" fill="hold" id="67"/>
                                        <p:tgtEl>
                                          <p:spTgt spid="72">
                                            <p:txEl>
                                              <p:pRg end="0" st="0"/>
                                            </p:txEl>
                                          </p:spTgt>
                                        </p:tgtEl>
                                        <p:attrNameLst>
                                          <p:attrName>ppt_h</p:attrName>
                                        </p:attrNameLst>
                                      </p:cBhvr>
                                      <p:tavLst>
                                        <p:tav tm="0">
                                          <p:val>
                                            <p:fltVal val="0"/>
                                          </p:val>
                                        </p:tav>
                                        <p:tav tm="100000">
                                          <p:val>
                                            <p:strVal val="#ppt_h"/>
                                          </p:val>
                                        </p:tav>
                                      </p:tavLst>
                                    </p:anim>
                                    <p:animEffect filter="fade" transition="in">
                                      <p:cBhvr>
                                        <p:cTn dur="400" id="68"/>
                                        <p:tgtEl>
                                          <p:spTgt spid="72">
                                            <p:txEl>
                                              <p:pRg end="0" st="0"/>
                                            </p:txEl>
                                          </p:spTgt>
                                        </p:tgtEl>
                                      </p:cBhvr>
                                    </p:animEffect>
                                  </p:childTnLst>
                                </p:cTn>
                              </p:par>
                            </p:childTnLst>
                          </p:cTn>
                        </p:par>
                        <p:par>
                          <p:cTn fill="hold" id="69" nodeType="afterGroup">
                            <p:stCondLst>
                              <p:cond delay="4000"/>
                            </p:stCondLst>
                            <p:childTnLst>
                              <p:par>
                                <p:cTn fill="hold" id="70" nodeType="afterEffect" presetClass="mediacall" presetID="1" presetSubtype="0">
                                  <p:stCondLst>
                                    <p:cond delay="0"/>
                                  </p:stCondLst>
                                  <p:childTnLst>
                                    <p:cmd cmd="playFrom(0.0)" type="call">
                                      <p:cBhvr>
                                        <p:cTn dur="1" fill="hold" id="71"/>
                                        <p:tgtEl>
                                          <p:spTgt spid="40"/>
                                        </p:tgtEl>
                                      </p:cBhvr>
                                    </p:cmd>
                                  </p:childTnLst>
                                </p:cTn>
                              </p:par>
                            </p:childTnLst>
                          </p:cTn>
                        </p:par>
                        <p:par>
                          <p:cTn fill="hold" id="73" nodeType="afterGroup">
                            <p:stCondLst>
                              <p:cond delay="4001"/>
                            </p:stCondLst>
                            <p:childTnLst>
                              <p:par>
                                <p:cTn fill="hold" grpId="0" id="74" nodeType="afterEffect" presetClass="entr" presetID="53" presetSubtype="0">
                                  <p:stCondLst>
                                    <p:cond delay="0"/>
                                  </p:stCondLst>
                                  <p:childTnLst>
                                    <p:set>
                                      <p:cBhvr>
                                        <p:cTn dur="1" fill="hold" id="75">
                                          <p:stCondLst>
                                            <p:cond delay="0"/>
                                          </p:stCondLst>
                                        </p:cTn>
                                        <p:tgtEl>
                                          <p:spTgt spid="73">
                                            <p:txEl>
                                              <p:pRg end="0" st="0"/>
                                            </p:txEl>
                                          </p:spTgt>
                                        </p:tgtEl>
                                        <p:attrNameLst>
                                          <p:attrName>style.visibility</p:attrName>
                                        </p:attrNameLst>
                                      </p:cBhvr>
                                      <p:to>
                                        <p:strVal val="visible"/>
                                      </p:to>
                                    </p:set>
                                    <p:anim calcmode="lin" valueType="num">
                                      <p:cBhvr>
                                        <p:cTn dur="400" fill="hold" id="76"/>
                                        <p:tgtEl>
                                          <p:spTgt spid="73">
                                            <p:txEl>
                                              <p:pRg end="0" st="0"/>
                                            </p:txEl>
                                          </p:spTgt>
                                        </p:tgtEl>
                                        <p:attrNameLst>
                                          <p:attrName>ppt_w</p:attrName>
                                        </p:attrNameLst>
                                      </p:cBhvr>
                                      <p:tavLst>
                                        <p:tav tm="0">
                                          <p:val>
                                            <p:fltVal val="0"/>
                                          </p:val>
                                        </p:tav>
                                        <p:tav tm="100000">
                                          <p:val>
                                            <p:strVal val="#ppt_w"/>
                                          </p:val>
                                        </p:tav>
                                      </p:tavLst>
                                    </p:anim>
                                    <p:anim calcmode="lin" valueType="num">
                                      <p:cBhvr>
                                        <p:cTn dur="400" fill="hold" id="77"/>
                                        <p:tgtEl>
                                          <p:spTgt spid="73">
                                            <p:txEl>
                                              <p:pRg end="0" st="0"/>
                                            </p:txEl>
                                          </p:spTgt>
                                        </p:tgtEl>
                                        <p:attrNameLst>
                                          <p:attrName>ppt_h</p:attrName>
                                        </p:attrNameLst>
                                      </p:cBhvr>
                                      <p:tavLst>
                                        <p:tav tm="0">
                                          <p:val>
                                            <p:fltVal val="0"/>
                                          </p:val>
                                        </p:tav>
                                        <p:tav tm="100000">
                                          <p:val>
                                            <p:strVal val="#ppt_h"/>
                                          </p:val>
                                        </p:tav>
                                      </p:tavLst>
                                    </p:anim>
                                    <p:animEffect filter="fade" transition="in">
                                      <p:cBhvr>
                                        <p:cTn dur="400" id="78"/>
                                        <p:tgtEl>
                                          <p:spTgt spid="73">
                                            <p:txEl>
                                              <p:pRg end="0" st="0"/>
                                            </p:txEl>
                                          </p:spTgt>
                                        </p:tgtEl>
                                      </p:cBhvr>
                                    </p:animEffect>
                                  </p:childTnLst>
                                </p:cTn>
                              </p:par>
                            </p:childTnLst>
                          </p:cTn>
                        </p:par>
                        <p:par>
                          <p:cTn fill="hold" id="79" nodeType="afterGroup">
                            <p:stCondLst>
                              <p:cond delay="4401"/>
                            </p:stCondLst>
                            <p:childTnLst>
                              <p:par>
                                <p:cTn fill="hold" grpId="0" id="80" nodeType="afterEffect" presetClass="entr" presetID="53" presetSubtype="0">
                                  <p:stCondLst>
                                    <p:cond delay="0"/>
                                  </p:stCondLst>
                                  <p:childTnLst>
                                    <p:set>
                                      <p:cBhvr>
                                        <p:cTn dur="1" fill="hold" id="81">
                                          <p:stCondLst>
                                            <p:cond delay="0"/>
                                          </p:stCondLst>
                                        </p:cTn>
                                        <p:tgtEl>
                                          <p:spTgt spid="74">
                                            <p:txEl>
                                              <p:pRg end="0" st="0"/>
                                            </p:txEl>
                                          </p:spTgt>
                                        </p:tgtEl>
                                        <p:attrNameLst>
                                          <p:attrName>style.visibility</p:attrName>
                                        </p:attrNameLst>
                                      </p:cBhvr>
                                      <p:to>
                                        <p:strVal val="visible"/>
                                      </p:to>
                                    </p:set>
                                    <p:anim calcmode="lin" valueType="num">
                                      <p:cBhvr>
                                        <p:cTn dur="400" fill="hold" id="82"/>
                                        <p:tgtEl>
                                          <p:spTgt spid="74">
                                            <p:txEl>
                                              <p:pRg end="0" st="0"/>
                                            </p:txEl>
                                          </p:spTgt>
                                        </p:tgtEl>
                                        <p:attrNameLst>
                                          <p:attrName>ppt_w</p:attrName>
                                        </p:attrNameLst>
                                      </p:cBhvr>
                                      <p:tavLst>
                                        <p:tav tm="0">
                                          <p:val>
                                            <p:fltVal val="0"/>
                                          </p:val>
                                        </p:tav>
                                        <p:tav tm="100000">
                                          <p:val>
                                            <p:strVal val="#ppt_w"/>
                                          </p:val>
                                        </p:tav>
                                      </p:tavLst>
                                    </p:anim>
                                    <p:anim calcmode="lin" valueType="num">
                                      <p:cBhvr>
                                        <p:cTn dur="400" fill="hold" id="83"/>
                                        <p:tgtEl>
                                          <p:spTgt spid="74">
                                            <p:txEl>
                                              <p:pRg end="0" st="0"/>
                                            </p:txEl>
                                          </p:spTgt>
                                        </p:tgtEl>
                                        <p:attrNameLst>
                                          <p:attrName>ppt_h</p:attrName>
                                        </p:attrNameLst>
                                      </p:cBhvr>
                                      <p:tavLst>
                                        <p:tav tm="0">
                                          <p:val>
                                            <p:fltVal val="0"/>
                                          </p:val>
                                        </p:tav>
                                        <p:tav tm="100000">
                                          <p:val>
                                            <p:strVal val="#ppt_h"/>
                                          </p:val>
                                        </p:tav>
                                      </p:tavLst>
                                    </p:anim>
                                    <p:animEffect filter="fade" transition="in">
                                      <p:cBhvr>
                                        <p:cTn dur="400" id="84"/>
                                        <p:tgtEl>
                                          <p:spTgt spid="74">
                                            <p:txEl>
                                              <p:pRg end="0" st="0"/>
                                            </p:txEl>
                                          </p:spTgt>
                                        </p:tgtEl>
                                      </p:cBhvr>
                                    </p:animEffect>
                                  </p:childTnLst>
                                </p:cTn>
                              </p:par>
                            </p:childTnLst>
                          </p:cTn>
                        </p:par>
                        <p:par>
                          <p:cTn fill="hold" id="85" nodeType="afterGroup">
                            <p:stCondLst>
                              <p:cond delay="4801"/>
                            </p:stCondLst>
                            <p:childTnLst>
                              <p:par>
                                <p:cTn fill="hold" grpId="0" id="86" nodeType="afterEffect" presetClass="entr" presetID="53" presetSubtype="0">
                                  <p:stCondLst>
                                    <p:cond delay="0"/>
                                  </p:stCondLst>
                                  <p:childTnLst>
                                    <p:set>
                                      <p:cBhvr>
                                        <p:cTn dur="1" fill="hold" id="87">
                                          <p:stCondLst>
                                            <p:cond delay="0"/>
                                          </p:stCondLst>
                                        </p:cTn>
                                        <p:tgtEl>
                                          <p:spTgt spid="75">
                                            <p:txEl>
                                              <p:pRg end="0" st="0"/>
                                            </p:txEl>
                                          </p:spTgt>
                                        </p:tgtEl>
                                        <p:attrNameLst>
                                          <p:attrName>style.visibility</p:attrName>
                                        </p:attrNameLst>
                                      </p:cBhvr>
                                      <p:to>
                                        <p:strVal val="visible"/>
                                      </p:to>
                                    </p:set>
                                    <p:anim calcmode="lin" valueType="num">
                                      <p:cBhvr>
                                        <p:cTn dur="400" fill="hold" id="88"/>
                                        <p:tgtEl>
                                          <p:spTgt spid="75">
                                            <p:txEl>
                                              <p:pRg end="0" st="0"/>
                                            </p:txEl>
                                          </p:spTgt>
                                        </p:tgtEl>
                                        <p:attrNameLst>
                                          <p:attrName>ppt_w</p:attrName>
                                        </p:attrNameLst>
                                      </p:cBhvr>
                                      <p:tavLst>
                                        <p:tav tm="0">
                                          <p:val>
                                            <p:fltVal val="0"/>
                                          </p:val>
                                        </p:tav>
                                        <p:tav tm="100000">
                                          <p:val>
                                            <p:strVal val="#ppt_w"/>
                                          </p:val>
                                        </p:tav>
                                      </p:tavLst>
                                    </p:anim>
                                    <p:anim calcmode="lin" valueType="num">
                                      <p:cBhvr>
                                        <p:cTn dur="400" fill="hold" id="89"/>
                                        <p:tgtEl>
                                          <p:spTgt spid="75">
                                            <p:txEl>
                                              <p:pRg end="0" st="0"/>
                                            </p:txEl>
                                          </p:spTgt>
                                        </p:tgtEl>
                                        <p:attrNameLst>
                                          <p:attrName>ppt_h</p:attrName>
                                        </p:attrNameLst>
                                      </p:cBhvr>
                                      <p:tavLst>
                                        <p:tav tm="0">
                                          <p:val>
                                            <p:fltVal val="0"/>
                                          </p:val>
                                        </p:tav>
                                        <p:tav tm="100000">
                                          <p:val>
                                            <p:strVal val="#ppt_h"/>
                                          </p:val>
                                        </p:tav>
                                      </p:tavLst>
                                    </p:anim>
                                    <p:animEffect filter="fade" transition="in">
                                      <p:cBhvr>
                                        <p:cTn dur="400" id="90"/>
                                        <p:tgtEl>
                                          <p:spTgt spid="75">
                                            <p:txEl>
                                              <p:pRg end="0" st="0"/>
                                            </p:txEl>
                                          </p:spTgt>
                                        </p:tgtEl>
                                      </p:cBhvr>
                                    </p:animEffect>
                                  </p:childTnLst>
                                </p:cTn>
                              </p:par>
                            </p:childTnLst>
                          </p:cTn>
                        </p:par>
                        <p:par>
                          <p:cTn fill="hold" id="91" nodeType="afterGroup">
                            <p:stCondLst>
                              <p:cond delay="5201"/>
                            </p:stCondLst>
                            <p:childTnLst>
                              <p:par>
                                <p:cTn fill="hold" grpId="0" id="92" nodeType="afterEffect" presetClass="entr" presetID="53" presetSubtype="0">
                                  <p:stCondLst>
                                    <p:cond delay="0"/>
                                  </p:stCondLst>
                                  <p:childTnLst>
                                    <p:set>
                                      <p:cBhvr>
                                        <p:cTn dur="1" fill="hold" id="93">
                                          <p:stCondLst>
                                            <p:cond delay="0"/>
                                          </p:stCondLst>
                                        </p:cTn>
                                        <p:tgtEl>
                                          <p:spTgt spid="76">
                                            <p:txEl>
                                              <p:pRg end="0" st="0"/>
                                            </p:txEl>
                                          </p:spTgt>
                                        </p:tgtEl>
                                        <p:attrNameLst>
                                          <p:attrName>style.visibility</p:attrName>
                                        </p:attrNameLst>
                                      </p:cBhvr>
                                      <p:to>
                                        <p:strVal val="visible"/>
                                      </p:to>
                                    </p:set>
                                    <p:anim calcmode="lin" valueType="num">
                                      <p:cBhvr>
                                        <p:cTn dur="400" fill="hold" id="94"/>
                                        <p:tgtEl>
                                          <p:spTgt spid="76">
                                            <p:txEl>
                                              <p:pRg end="0" st="0"/>
                                            </p:txEl>
                                          </p:spTgt>
                                        </p:tgtEl>
                                        <p:attrNameLst>
                                          <p:attrName>ppt_w</p:attrName>
                                        </p:attrNameLst>
                                      </p:cBhvr>
                                      <p:tavLst>
                                        <p:tav tm="0">
                                          <p:val>
                                            <p:fltVal val="0"/>
                                          </p:val>
                                        </p:tav>
                                        <p:tav tm="100000">
                                          <p:val>
                                            <p:strVal val="#ppt_w"/>
                                          </p:val>
                                        </p:tav>
                                      </p:tavLst>
                                    </p:anim>
                                    <p:anim calcmode="lin" valueType="num">
                                      <p:cBhvr>
                                        <p:cTn dur="400" fill="hold" id="95"/>
                                        <p:tgtEl>
                                          <p:spTgt spid="76">
                                            <p:txEl>
                                              <p:pRg end="0" st="0"/>
                                            </p:txEl>
                                          </p:spTgt>
                                        </p:tgtEl>
                                        <p:attrNameLst>
                                          <p:attrName>ppt_h</p:attrName>
                                        </p:attrNameLst>
                                      </p:cBhvr>
                                      <p:tavLst>
                                        <p:tav tm="0">
                                          <p:val>
                                            <p:fltVal val="0"/>
                                          </p:val>
                                        </p:tav>
                                        <p:tav tm="100000">
                                          <p:val>
                                            <p:strVal val="#ppt_h"/>
                                          </p:val>
                                        </p:tav>
                                      </p:tavLst>
                                    </p:anim>
                                    <p:animEffect filter="fade" transition="in">
                                      <p:cBhvr>
                                        <p:cTn dur="400" id="96"/>
                                        <p:tgtEl>
                                          <p:spTgt spid="76">
                                            <p:txEl>
                                              <p:pRg end="0" st="0"/>
                                            </p:txEl>
                                          </p:spTgt>
                                        </p:tgtEl>
                                      </p:cBhvr>
                                    </p:animEffect>
                                  </p:childTnLst>
                                </p:cTn>
                              </p:par>
                            </p:childTnLst>
                          </p:cTn>
                        </p:par>
                        <p:par>
                          <p:cTn fill="hold" id="97" nodeType="afterGroup">
                            <p:stCondLst>
                              <p:cond delay="5601"/>
                            </p:stCondLst>
                            <p:childTnLst>
                              <p:par>
                                <p:cTn fill="hold" grpId="0" id="98" nodeType="afterEffect" presetClass="entr" presetID="53" presetSubtype="0">
                                  <p:stCondLst>
                                    <p:cond delay="0"/>
                                  </p:stCondLst>
                                  <p:childTnLst>
                                    <p:set>
                                      <p:cBhvr>
                                        <p:cTn dur="1" fill="hold" id="99">
                                          <p:stCondLst>
                                            <p:cond delay="0"/>
                                          </p:stCondLst>
                                        </p:cTn>
                                        <p:tgtEl>
                                          <p:spTgt spid="77">
                                            <p:txEl>
                                              <p:pRg end="0" st="0"/>
                                            </p:txEl>
                                          </p:spTgt>
                                        </p:tgtEl>
                                        <p:attrNameLst>
                                          <p:attrName>style.visibility</p:attrName>
                                        </p:attrNameLst>
                                      </p:cBhvr>
                                      <p:to>
                                        <p:strVal val="visible"/>
                                      </p:to>
                                    </p:set>
                                    <p:anim calcmode="lin" valueType="num">
                                      <p:cBhvr>
                                        <p:cTn dur="400" fill="hold" id="100"/>
                                        <p:tgtEl>
                                          <p:spTgt spid="77">
                                            <p:txEl>
                                              <p:pRg end="0" st="0"/>
                                            </p:txEl>
                                          </p:spTgt>
                                        </p:tgtEl>
                                        <p:attrNameLst>
                                          <p:attrName>ppt_w</p:attrName>
                                        </p:attrNameLst>
                                      </p:cBhvr>
                                      <p:tavLst>
                                        <p:tav tm="0">
                                          <p:val>
                                            <p:fltVal val="0"/>
                                          </p:val>
                                        </p:tav>
                                        <p:tav tm="100000">
                                          <p:val>
                                            <p:strVal val="#ppt_w"/>
                                          </p:val>
                                        </p:tav>
                                      </p:tavLst>
                                    </p:anim>
                                    <p:anim calcmode="lin" valueType="num">
                                      <p:cBhvr>
                                        <p:cTn dur="400" fill="hold" id="101"/>
                                        <p:tgtEl>
                                          <p:spTgt spid="77">
                                            <p:txEl>
                                              <p:pRg end="0" st="0"/>
                                            </p:txEl>
                                          </p:spTgt>
                                        </p:tgtEl>
                                        <p:attrNameLst>
                                          <p:attrName>ppt_h</p:attrName>
                                        </p:attrNameLst>
                                      </p:cBhvr>
                                      <p:tavLst>
                                        <p:tav tm="0">
                                          <p:val>
                                            <p:fltVal val="0"/>
                                          </p:val>
                                        </p:tav>
                                        <p:tav tm="100000">
                                          <p:val>
                                            <p:strVal val="#ppt_h"/>
                                          </p:val>
                                        </p:tav>
                                      </p:tavLst>
                                    </p:anim>
                                    <p:animEffect filter="fade" transition="in">
                                      <p:cBhvr>
                                        <p:cTn dur="400" id="102"/>
                                        <p:tgtEl>
                                          <p:spTgt spid="77">
                                            <p:txEl>
                                              <p:pRg end="0" st="0"/>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72">
                  <p:stCondLst>
                    <p:cond delay="indefinite"/>
                  </p:stCondLst>
                  <p:endCondLst>
                    <p:cond delay="0" evt="onPrev">
                      <p:tgtEl>
                        <p:sldTgt/>
                      </p:tgtEl>
                    </p:cond>
                    <p:cond delay="0" evt="onStopAudio">
                      <p:tgtEl>
                        <p:sldTgt/>
                      </p:tgtEl>
                    </p:cond>
                  </p:endCondLst>
                </p:cTn>
                <p:tgtEl>
                  <p:spTgt spid="40"/>
                </p:tgtEl>
              </p:cMediaNode>
            </p:audio>
          </p:childTnLst>
        </p:cTn>
      </p:par>
    </p:tnLst>
    <p:bldLst>
      <p:bldP build="p" grpId="0" spid="70"/>
      <p:bldP build="p" grpId="0" spid="71"/>
      <p:bldP build="p" grpId="0" spid="72"/>
      <p:bldP build="p" grpId="0" spid="73"/>
      <p:bldP build="p" grpId="0" spid="74"/>
      <p:bldP build="p" grpId="0" spid="75"/>
      <p:bldP build="p" grpId="0" spid="76"/>
      <p:bldP build="p" grpId="0" spid="77"/>
      <p:bldP grpId="0" spid="32"/>
      <p:bldP grpId="0" spid="35"/>
    </p:bldLst>
  </p:timing>
  <p:extLst mod="1">
    <p:ext uri="{E180D4A7-C9FB-4DFB-919C-405C955672EB}">
      <p14:showEvtLst>
        <p14:playEvt objId="40" time="1314"/>
        <p14:stopEvt objId="40" time="2081"/>
      </p14:showEvtLst>
    </p:ext>
  </p:extLst>
</p:sld>
</file>

<file path=ppt/slides/slide2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01" name="Group 1"/>
          <p:cNvGrpSpPr/>
          <p:nvPr/>
        </p:nvGrpSpPr>
        <p:grpSpPr>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fmla="val 2657162" name="adj1"/>
                <a:gd fmla="val 8176062" name="adj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altLang="en-US" lang="zh-CN" noProof="1" sz="500">
                <a:latin typeface="Calibri Light"/>
              </a:endParaRPr>
            </a:p>
          </p:txBody>
        </p:sp>
      </p:grpSp>
      <p:grpSp>
        <p:nvGrpSpPr>
          <p:cNvPr id="104" name="Group 53"/>
          <p:cNvGrpSpPr/>
          <p:nvPr/>
        </p:nvGrpSpPr>
        <p:grpSpPr>
          <a:xfrm>
            <a:off x="1107917" y="1838674"/>
            <a:ext cx="737870" cy="734585"/>
            <a:chOff x="7683929" y="9649657"/>
            <a:chExt cx="1999231" cy="1999752"/>
          </a:xfrm>
        </p:grpSpPr>
        <p:grpSp>
          <p:nvGrpSpPr>
            <p:cNvPr id="105" name="Group 78"/>
            <p:cNvGrpSpPr/>
            <p:nvPr/>
          </p:nvGrpSpPr>
          <p:grpSpPr>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grpSp>
        <p:sp>
          <p:nvSpPr>
            <p:cNvPr id="106" name="Freeform 3"/>
            <p:cNvSpPr>
              <a:spLocks noChangeArrowheads="1"/>
            </p:cNvSpPr>
            <p:nvPr/>
          </p:nvSpPr>
          <p:spPr bwMode="auto">
            <a:xfrm>
              <a:off x="8300770" y="10295371"/>
              <a:ext cx="804670" cy="648009"/>
            </a:xfrm>
            <a:custGeom>
              <a:gdLst>
                <a:gd fmla="*/ 788479 w 497" name="T0"/>
                <a:gd fmla="*/ 115022 h 400" name="T1"/>
                <a:gd fmla="*/ 788479 w 497" name="T2"/>
                <a:gd fmla="*/ 115022 h 400" name="T3"/>
                <a:gd fmla="*/ 602288 w 497" name="T4"/>
                <a:gd fmla="*/ 0 h 400" name="T5"/>
                <a:gd fmla="*/ 573145 w 497" name="T6"/>
                <a:gd fmla="*/ 0 h 400" name="T7"/>
                <a:gd fmla="*/ 401525 w 497" name="T8"/>
                <a:gd fmla="*/ 115022 h 400" name="T9"/>
                <a:gd fmla="*/ 229906 w 497" name="T10"/>
                <a:gd fmla="*/ 0 h 400" name="T11"/>
                <a:gd fmla="*/ 199144 w 497" name="T12"/>
                <a:gd fmla="*/ 0 h 400" name="T13"/>
                <a:gd fmla="*/ 12952 w 497" name="T14"/>
                <a:gd fmla="*/ 115022 h 400" name="T15"/>
                <a:gd fmla="*/ 0 w 497" name="T16"/>
                <a:gd fmla="*/ 144182 h 400" name="T17"/>
                <a:gd fmla="*/ 0 w 497" name="T18"/>
                <a:gd fmla="*/ 618849 h 400" name="T19"/>
                <a:gd fmla="*/ 12952 w 497" name="T20"/>
                <a:gd fmla="*/ 631809 h 400" name="T21"/>
                <a:gd fmla="*/ 42095 w 497" name="T22"/>
                <a:gd fmla="*/ 631809 h 400" name="T23"/>
                <a:gd fmla="*/ 213715 w 497" name="T24"/>
                <a:gd fmla="*/ 531367 h 400" name="T25"/>
                <a:gd fmla="*/ 386954 w 497" name="T26"/>
                <a:gd fmla="*/ 631809 h 400" name="T27"/>
                <a:gd fmla="*/ 416097 w 497" name="T28"/>
                <a:gd fmla="*/ 631809 h 400" name="T29"/>
                <a:gd fmla="*/ 587717 w 497" name="T30"/>
                <a:gd fmla="*/ 531367 h 400" name="T31"/>
                <a:gd fmla="*/ 760956 w 497" name="T32"/>
                <a:gd fmla="*/ 631809 h 400" name="T33"/>
                <a:gd fmla="*/ 773908 w 497" name="T34"/>
                <a:gd fmla="*/ 646389 h 400" name="T35"/>
                <a:gd fmla="*/ 788479 w 497" name="T36"/>
                <a:gd fmla="*/ 631809 h 400" name="T37"/>
                <a:gd fmla="*/ 803051 w 497" name="T38"/>
                <a:gd fmla="*/ 618849 h 400" name="T39"/>
                <a:gd fmla="*/ 803051 w 497" name="T40"/>
                <a:gd fmla="*/ 144182 h 400" name="T41"/>
                <a:gd fmla="*/ 788479 w 497" name="T42"/>
                <a:gd fmla="*/ 115022 h 400" name="T43"/>
                <a:gd fmla="*/ 186191 w 497" name="T44"/>
                <a:gd fmla="*/ 474667 h 400" name="T45"/>
                <a:gd fmla="*/ 186191 w 497" name="T46"/>
                <a:gd fmla="*/ 474667 h 400" name="T47"/>
                <a:gd fmla="*/ 56667 w 497" name="T48"/>
                <a:gd fmla="*/ 560528 h 400" name="T49"/>
                <a:gd fmla="*/ 56667 w 497" name="T50"/>
                <a:gd fmla="*/ 158762 h 400" name="T51"/>
                <a:gd fmla="*/ 186191 w 497" name="T52"/>
                <a:gd fmla="*/ 71281 h 400" name="T53"/>
                <a:gd fmla="*/ 186191 w 497" name="T54"/>
                <a:gd fmla="*/ 474667 h 400" name="T55"/>
                <a:gd fmla="*/ 372382 w 497" name="T56"/>
                <a:gd fmla="*/ 560528 h 400" name="T57"/>
                <a:gd fmla="*/ 372382 w 497" name="T58"/>
                <a:gd fmla="*/ 560528 h 400" name="T59"/>
                <a:gd fmla="*/ 242858 w 497" name="T60"/>
                <a:gd fmla="*/ 474667 h 400" name="T61"/>
                <a:gd fmla="*/ 242858 w 497" name="T62"/>
                <a:gd fmla="*/ 71281 h 400" name="T63"/>
                <a:gd fmla="*/ 372382 w 497" name="T64"/>
                <a:gd fmla="*/ 158762 h 400" name="T65"/>
                <a:gd fmla="*/ 372382 w 497" name="T66"/>
                <a:gd fmla="*/ 560528 h 400" name="T67"/>
                <a:gd fmla="*/ 558574 w 497" name="T68"/>
                <a:gd fmla="*/ 474667 h 400" name="T69"/>
                <a:gd fmla="*/ 558574 w 497" name="T70"/>
                <a:gd fmla="*/ 474667 h 400" name="T71"/>
                <a:gd fmla="*/ 430668 w 497" name="T72"/>
                <a:gd fmla="*/ 560528 h 400" name="T73"/>
                <a:gd fmla="*/ 430668 w 497" name="T74"/>
                <a:gd fmla="*/ 158762 h 400" name="T75"/>
                <a:gd fmla="*/ 558574 w 497" name="T76"/>
                <a:gd fmla="*/ 71281 h 400" name="T77"/>
                <a:gd fmla="*/ 558574 w 497" name="T78"/>
                <a:gd fmla="*/ 474667 h 400" name="T79"/>
                <a:gd fmla="*/ 746384 w 497" name="T80"/>
                <a:gd fmla="*/ 560528 h 400" name="T81"/>
                <a:gd fmla="*/ 746384 w 497" name="T82"/>
                <a:gd fmla="*/ 560528 h 400" name="T83"/>
                <a:gd fmla="*/ 615241 w 497" name="T84"/>
                <a:gd fmla="*/ 474667 h 400" name="T85"/>
                <a:gd fmla="*/ 615241 w 497" name="T86"/>
                <a:gd fmla="*/ 71281 h 400" name="T87"/>
                <a:gd fmla="*/ 746384 w 497" name="T88"/>
                <a:gd fmla="*/ 158762 h 400" name="T89"/>
                <a:gd fmla="*/ 746384 w 497" name="T90"/>
                <a:gd fmla="*/ 560528 h 400"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b="b" l="0" r="r" t="0"/>
              <a:pathLst>
                <a:path h="400" w="497">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grpSp>
      <p:grpSp>
        <p:nvGrpSpPr>
          <p:cNvPr id="109" name="Group 54"/>
          <p:cNvGrpSpPr/>
          <p:nvPr/>
        </p:nvGrpSpPr>
        <p:grpSpPr>
          <a:xfrm>
            <a:off x="5438458" y="1838674"/>
            <a:ext cx="737870" cy="734585"/>
            <a:chOff x="14361737" y="2978422"/>
            <a:chExt cx="1999231" cy="1999752"/>
          </a:xfrm>
        </p:grpSpPr>
        <p:grpSp>
          <p:nvGrpSpPr>
            <p:cNvPr id="110" name="Group 74"/>
            <p:cNvGrpSpPr/>
            <p:nvPr/>
          </p:nvGrpSpPr>
          <p:grpSpPr>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grpSp>
        <p:sp>
          <p:nvSpPr>
            <p:cNvPr id="111" name="Freeform 22"/>
            <p:cNvSpPr>
              <a:spLocks noChangeArrowheads="1"/>
            </p:cNvSpPr>
            <p:nvPr/>
          </p:nvSpPr>
          <p:spPr bwMode="auto">
            <a:xfrm>
              <a:off x="15014063" y="3584307"/>
              <a:ext cx="747702" cy="747708"/>
            </a:xfrm>
            <a:custGeom>
              <a:gdLst>
                <a:gd fmla="*/ 373040 w 461" name="T0"/>
                <a:gd fmla="*/ 12975 h 461" name="T1"/>
                <a:gd fmla="*/ 373040 w 461" name="T2"/>
                <a:gd fmla="*/ 12975 h 461" name="T3"/>
                <a:gd fmla="*/ 0 w 461" name="T4"/>
                <a:gd fmla="*/ 387640 h 461" name="T5"/>
                <a:gd fmla="*/ 373040 w 461" name="T6"/>
                <a:gd fmla="*/ 746086 h 461" name="T7"/>
                <a:gd fmla="*/ 746080 w 461" name="T8"/>
                <a:gd fmla="*/ 373043 h 461" name="T9"/>
                <a:gd fmla="*/ 373040 w 461" name="T10"/>
                <a:gd fmla="*/ 12975 h 461" name="T11"/>
                <a:gd fmla="*/ 373040 w 461" name="T12"/>
                <a:gd fmla="*/ 56767 h 461" name="T13"/>
                <a:gd fmla="*/ 373040 w 461" name="T14"/>
                <a:gd fmla="*/ 56767 h 461" name="T15"/>
                <a:gd fmla="*/ 517390 w 461" name="T16"/>
                <a:gd fmla="*/ 85962 h 461" name="T17"/>
                <a:gd fmla="*/ 471977 w 461" name="T18"/>
                <a:gd fmla="*/ 171924 h 461" name="T19"/>
                <a:gd fmla="*/ 373040 w 461" name="T20"/>
                <a:gd fmla="*/ 157327 h 461" name="T21"/>
                <a:gd fmla="*/ 272481 w 461" name="T22"/>
                <a:gd fmla="*/ 171924 h 461" name="T23"/>
                <a:gd fmla="*/ 228690 w 461" name="T24"/>
                <a:gd fmla="*/ 85962 h 461" name="T25"/>
                <a:gd fmla="*/ 373040 w 461" name="T26"/>
                <a:gd fmla="*/ 56767 h 461" name="T27"/>
                <a:gd fmla="*/ 171923 w 461" name="T28"/>
                <a:gd fmla="*/ 473602 h 461" name="T29"/>
                <a:gd fmla="*/ 171923 w 461" name="T30"/>
                <a:gd fmla="*/ 473602 h 461" name="T31"/>
                <a:gd fmla="*/ 85961 w 461" name="T32"/>
                <a:gd fmla="*/ 530370 h 461" name="T33"/>
                <a:gd fmla="*/ 56767 w 461" name="T34"/>
                <a:gd fmla="*/ 387640 h 461" name="T35"/>
                <a:gd fmla="*/ 85961 w 461" name="T36"/>
                <a:gd fmla="*/ 228692 h 461" name="T37"/>
                <a:gd fmla="*/ 171923 w 461" name="T38"/>
                <a:gd fmla="*/ 270862 h 461" name="T39"/>
                <a:gd fmla="*/ 142728 w 461" name="T40"/>
                <a:gd fmla="*/ 373043 h 461" name="T41"/>
                <a:gd fmla="*/ 171923 w 461" name="T42"/>
                <a:gd fmla="*/ 473602 h 461" name="T43"/>
                <a:gd fmla="*/ 373040 w 461" name="T44"/>
                <a:gd fmla="*/ 702294 h 461" name="T45"/>
                <a:gd fmla="*/ 373040 w 461" name="T46"/>
                <a:gd fmla="*/ 702294 h 461" name="T47"/>
                <a:gd fmla="*/ 228690 w 461" name="T48"/>
                <a:gd fmla="*/ 660124 h 461" name="T49"/>
                <a:gd fmla="*/ 272481 w 461" name="T50"/>
                <a:gd fmla="*/ 574162 h 461" name="T51"/>
                <a:gd fmla="*/ 373040 w 461" name="T52"/>
                <a:gd fmla="*/ 603357 h 461" name="T53"/>
                <a:gd fmla="*/ 471977 w 461" name="T54"/>
                <a:gd fmla="*/ 574162 h 461" name="T55"/>
                <a:gd fmla="*/ 517390 w 461" name="T56"/>
                <a:gd fmla="*/ 660124 h 461" name="T57"/>
                <a:gd fmla="*/ 373040 w 461" name="T58"/>
                <a:gd fmla="*/ 702294 h 461" name="T59"/>
                <a:gd fmla="*/ 373040 w 461" name="T60"/>
                <a:gd fmla="*/ 559565 h 461" name="T61"/>
                <a:gd fmla="*/ 373040 w 461" name="T62"/>
                <a:gd fmla="*/ 559565 h 461" name="T63"/>
                <a:gd fmla="*/ 201117 w 461" name="T64"/>
                <a:gd fmla="*/ 373043 h 461" name="T65"/>
                <a:gd fmla="*/ 373040 w 461" name="T66"/>
                <a:gd fmla="*/ 199497 h 461" name="T67"/>
                <a:gd fmla="*/ 544963 w 461" name="T68"/>
                <a:gd fmla="*/ 373043 h 461" name="T69"/>
                <a:gd fmla="*/ 373040 w 461" name="T70"/>
                <a:gd fmla="*/ 559565 h 461" name="T71"/>
                <a:gd fmla="*/ 574157 w 461" name="T72"/>
                <a:gd fmla="*/ 473602 h 461" name="T73"/>
                <a:gd fmla="*/ 574157 w 461" name="T74"/>
                <a:gd fmla="*/ 473602 h 461" name="T75"/>
                <a:gd fmla="*/ 603352 w 461" name="T76"/>
                <a:gd fmla="*/ 373043 h 461" name="T77"/>
                <a:gd fmla="*/ 574157 w 461" name="T78"/>
                <a:gd fmla="*/ 270862 h 461" name="T79"/>
                <a:gd fmla="*/ 660119 w 461" name="T80"/>
                <a:gd fmla="*/ 228692 h 461" name="T81"/>
                <a:gd fmla="*/ 689313 w 461" name="T82"/>
                <a:gd fmla="*/ 373043 h 461" name="T83"/>
                <a:gd fmla="*/ 660119 w 461" name="T84"/>
                <a:gd fmla="*/ 530370 h 461" name="T85"/>
                <a:gd fmla="*/ 574157 w 461" name="T86"/>
                <a:gd fmla="*/ 473602 h 461"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b="b" l="0" r="r" t="0"/>
              <a:pathLst>
                <a:path h="461" w="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grpSp>
      <p:grpSp>
        <p:nvGrpSpPr>
          <p:cNvPr id="114" name="Group 55"/>
          <p:cNvGrpSpPr/>
          <p:nvPr/>
        </p:nvGrpSpPr>
        <p:grpSpPr>
          <a:xfrm>
            <a:off x="3994944" y="1834249"/>
            <a:ext cx="737870" cy="735691"/>
            <a:chOff x="12208441" y="5274469"/>
            <a:chExt cx="1999231" cy="1999752"/>
          </a:xfrm>
        </p:grpSpPr>
        <p:grpSp>
          <p:nvGrpSpPr>
            <p:cNvPr id="115" name="Group 61"/>
            <p:cNvGrpSpPr/>
            <p:nvPr/>
          </p:nvGrpSpPr>
          <p:grpSpPr>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grpSp>
        <p:sp>
          <p:nvSpPr>
            <p:cNvPr id="116" name="Freeform 101"/>
            <p:cNvSpPr>
              <a:spLocks noChangeArrowheads="1"/>
            </p:cNvSpPr>
            <p:nvPr/>
          </p:nvSpPr>
          <p:spPr bwMode="auto">
            <a:xfrm>
              <a:off x="12885009" y="5933249"/>
              <a:ext cx="804670" cy="619524"/>
            </a:xfrm>
            <a:custGeom>
              <a:gdLst>
                <a:gd fmla="*/ 129524 w 497" name="T0"/>
                <a:gd fmla="*/ 402204 h 382" name="T1"/>
                <a:gd fmla="*/ 129524 w 497" name="T2"/>
                <a:gd fmla="*/ 402204 h 382" name="T3"/>
                <a:gd fmla="*/ 257430 w 497" name="T4"/>
                <a:gd fmla="*/ 531947 h 382" name="T5"/>
                <a:gd fmla="*/ 401525 w 497" name="T6"/>
                <a:gd fmla="*/ 617902 h 382" name="T7"/>
                <a:gd fmla="*/ 545621 w 497" name="T8"/>
                <a:gd fmla="*/ 546543 h 382" name="T9"/>
                <a:gd fmla="*/ 631431 w 497" name="T10"/>
                <a:gd fmla="*/ 418422 h 382" name="T11"/>
                <a:gd fmla="*/ 401525 w 497" name="T12"/>
                <a:gd fmla="*/ 531947 h 382" name="T13"/>
                <a:gd fmla="*/ 129524 w 497" name="T14"/>
                <a:gd fmla="*/ 402204 h 382" name="T15"/>
                <a:gd fmla="*/ 788479 w 497" name="T16"/>
                <a:gd fmla="*/ 201102 h 382" name="T17"/>
                <a:gd fmla="*/ 788479 w 497" name="T18"/>
                <a:gd fmla="*/ 201102 h 382" name="T19"/>
                <a:gd fmla="*/ 443621 w 497" name="T20"/>
                <a:gd fmla="*/ 14596 h 382" name="T21"/>
                <a:gd fmla="*/ 357811 w 497" name="T22"/>
                <a:gd fmla="*/ 14596 h 382" name="T23"/>
                <a:gd fmla="*/ 14571 w 497" name="T24"/>
                <a:gd fmla="*/ 201102 h 382" name="T25"/>
                <a:gd fmla="*/ 14571 w 497" name="T26"/>
                <a:gd fmla="*/ 259486 h 382" name="T27"/>
                <a:gd fmla="*/ 357811 w 497" name="T28"/>
                <a:gd fmla="*/ 445992 h 382" name="T29"/>
                <a:gd fmla="*/ 443621 w 497" name="T30"/>
                <a:gd fmla="*/ 445992 h 382" name="T31"/>
                <a:gd fmla="*/ 660574 w 497" name="T32"/>
                <a:gd fmla="*/ 316249 h 382" name="T33"/>
                <a:gd fmla="*/ 430668 w 497" name="T34"/>
                <a:gd fmla="*/ 259486 h 382" name="T35"/>
                <a:gd fmla="*/ 401525 w 497" name="T36"/>
                <a:gd fmla="*/ 272461 h 382" name="T37"/>
                <a:gd fmla="*/ 328668 w 497" name="T38"/>
                <a:gd fmla="*/ 215698 h 382" name="T39"/>
                <a:gd fmla="*/ 401525 w 497" name="T40"/>
                <a:gd fmla="*/ 173532 h 382" name="T41"/>
                <a:gd fmla="*/ 474383 w 497" name="T42"/>
                <a:gd fmla="*/ 201102 h 382" name="T43"/>
                <a:gd fmla="*/ 717241 w 497" name="T44"/>
                <a:gd fmla="*/ 287057 h 382" name="T45"/>
                <a:gd fmla="*/ 788479 w 497" name="T46"/>
                <a:gd fmla="*/ 259486 h 382" name="T47"/>
                <a:gd fmla="*/ 788479 w 497" name="T48"/>
                <a:gd fmla="*/ 201102 h 382" name="T49"/>
                <a:gd fmla="*/ 688098 w 497" name="T50"/>
                <a:gd fmla="*/ 561140 h 382" name="T51"/>
                <a:gd fmla="*/ 688098 w 497" name="T52"/>
                <a:gd fmla="*/ 561140 h 382" name="T53"/>
                <a:gd fmla="*/ 746384 w 497" name="T54"/>
                <a:gd fmla="*/ 546543 h 382" name="T55"/>
                <a:gd fmla="*/ 717241 w 497" name="T56"/>
                <a:gd fmla="*/ 287057 h 382" name="T57"/>
                <a:gd fmla="*/ 660574 w 497" name="T58"/>
                <a:gd fmla="*/ 316249 h 382" name="T59"/>
                <a:gd fmla="*/ 688098 w 497" name="T60"/>
                <a:gd fmla="*/ 561140 h 382"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b="b" l="0" r="r" t="0"/>
              <a:pathLst>
                <a:path h="382" w="497">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grpSp>
      <p:grpSp>
        <p:nvGrpSpPr>
          <p:cNvPr id="119" name="Group 56"/>
          <p:cNvGrpSpPr/>
          <p:nvPr/>
        </p:nvGrpSpPr>
        <p:grpSpPr>
          <a:xfrm>
            <a:off x="2546985" y="1832037"/>
            <a:ext cx="737870" cy="735691"/>
            <a:chOff x="9907711" y="7463571"/>
            <a:chExt cx="1999231" cy="1999752"/>
          </a:xfrm>
        </p:grpSpPr>
        <p:grpSp>
          <p:nvGrpSpPr>
            <p:cNvPr id="120" name="Group 57"/>
            <p:cNvGrpSpPr/>
            <p:nvPr/>
          </p:nvGrpSpPr>
          <p:grpSpPr>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grpSp>
        <p:sp>
          <p:nvSpPr>
            <p:cNvPr id="121" name="Freeform 104"/>
            <p:cNvSpPr>
              <a:spLocks noChangeArrowheads="1"/>
            </p:cNvSpPr>
            <p:nvPr/>
          </p:nvSpPr>
          <p:spPr bwMode="auto">
            <a:xfrm>
              <a:off x="10528124" y="8136492"/>
              <a:ext cx="804676" cy="541196"/>
            </a:xfrm>
            <a:custGeom>
              <a:gdLst>
                <a:gd fmla="*/ 328670 w 497" name="T0"/>
                <a:gd fmla="*/ 412722 h 337" name="T1"/>
                <a:gd fmla="*/ 328670 w 497" name="T2"/>
                <a:gd fmla="*/ 412722 h 337" name="T3"/>
                <a:gd fmla="*/ 357814 w 497" name="T4"/>
                <a:gd fmla="*/ 525137 h 337" name="T5"/>
                <a:gd fmla="*/ 458196 w 497" name="T6"/>
                <a:gd fmla="*/ 497836 h 337" name="T7"/>
                <a:gd fmla="*/ 644388 w 497" name="T8"/>
                <a:gd fmla="*/ 14453 h 337" name="T9"/>
                <a:gd fmla="*/ 328670 w 497" name="T10"/>
                <a:gd fmla="*/ 412722 h 337" name="T11"/>
                <a:gd fmla="*/ 401528 w 497" name="T12"/>
                <a:gd fmla="*/ 114021 h 337" name="T13"/>
                <a:gd fmla="*/ 401528 w 497" name="T14"/>
                <a:gd fmla="*/ 114021 h 337" name="T15"/>
                <a:gd fmla="*/ 443624 w 497" name="T16"/>
                <a:gd fmla="*/ 114021 h 337" name="T17"/>
                <a:gd fmla="*/ 501911 w 497" name="T18"/>
                <a:gd fmla="*/ 41754 h 337" name="T19"/>
                <a:gd fmla="*/ 401528 w 497" name="T20"/>
                <a:gd fmla="*/ 27301 h 337" name="T21"/>
                <a:gd fmla="*/ 0 w 497" name="T22"/>
                <a:gd fmla="*/ 454476 h 337" name="T23"/>
                <a:gd fmla="*/ 0 w 497" name="T24"/>
                <a:gd fmla="*/ 497836 h 337" name="T25"/>
                <a:gd fmla="*/ 42096 w 497" name="T26"/>
                <a:gd fmla="*/ 539590 h 337" name="T27"/>
                <a:gd fmla="*/ 85811 w 497" name="T28"/>
                <a:gd fmla="*/ 497836 h 337" name="T29"/>
                <a:gd fmla="*/ 85811 w 497" name="T30"/>
                <a:gd fmla="*/ 454476 h 337" name="T31"/>
                <a:gd fmla="*/ 401528 w 497" name="T32"/>
                <a:gd fmla="*/ 114021 h 337" name="T33"/>
                <a:gd fmla="*/ 688103 w 497" name="T34"/>
                <a:gd fmla="*/ 157380 h 337" name="T35"/>
                <a:gd fmla="*/ 688103 w 497" name="T36"/>
                <a:gd fmla="*/ 157380 h 337" name="T37"/>
                <a:gd fmla="*/ 658960 w 497" name="T38"/>
                <a:gd fmla="*/ 242494 h 337" name="T39"/>
                <a:gd fmla="*/ 715627 w 497" name="T40"/>
                <a:gd fmla="*/ 454476 h 337" name="T41"/>
                <a:gd fmla="*/ 715627 w 497" name="T42"/>
                <a:gd fmla="*/ 497836 h 337" name="T43"/>
                <a:gd fmla="*/ 759342 w 497" name="T44"/>
                <a:gd fmla="*/ 539590 h 337" name="T45"/>
                <a:gd fmla="*/ 759342 w 497" name="T46"/>
                <a:gd fmla="*/ 539590 h 337" name="T47"/>
                <a:gd fmla="*/ 803057 w 497" name="T48"/>
                <a:gd fmla="*/ 497836 h 337" name="T49"/>
                <a:gd fmla="*/ 803057 w 497" name="T50"/>
                <a:gd fmla="*/ 454476 h 337" name="T51"/>
                <a:gd fmla="*/ 688103 w 497" name="T52"/>
                <a:gd fmla="*/ 157380 h 337"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b="b" l="0" r="r" t="0"/>
              <a:pathLst>
                <a:path h="337" w="49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grpSp>
      <p:grpSp>
        <p:nvGrpSpPr>
          <p:cNvPr id="124" name="Group 83"/>
          <p:cNvGrpSpPr/>
          <p:nvPr/>
        </p:nvGrpSpPr>
        <p:grpSpPr>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fmla="val 2657162" name="adj1"/>
                <a:gd fmla="val 8176062" name="adj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altLang="en-US" lang="zh-CN" noProof="1" sz="500">
                <a:latin typeface="Calibri Light"/>
              </a:endParaRPr>
            </a:p>
          </p:txBody>
        </p:sp>
      </p:grpSp>
      <p:grpSp>
        <p:nvGrpSpPr>
          <p:cNvPr id="127" name="Group 101"/>
          <p:cNvGrpSpPr/>
          <p:nvPr/>
        </p:nvGrpSpPr>
        <p:grpSpPr>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fmla="val 2657162" name="adj1"/>
                <a:gd fmla="val 8176062" name="adj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altLang="en-US" lang="zh-CN" noProof="1" sz="500">
                <a:latin typeface="Calibri Light"/>
              </a:endParaRPr>
            </a:p>
          </p:txBody>
        </p:sp>
      </p:grpSp>
      <p:grpSp>
        <p:nvGrpSpPr>
          <p:cNvPr id="130" name="Group 104"/>
          <p:cNvGrpSpPr/>
          <p:nvPr/>
        </p:nvGrpSpPr>
        <p:grpSpPr>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fmla="val 2657162" name="adj1"/>
                <a:gd fmla="val 8176062" name="adj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altLang="en-US" lang="zh-CN" noProof="1" sz="500">
                <a:latin typeface="Calibri Light"/>
              </a:endParaRPr>
            </a:p>
          </p:txBody>
        </p:sp>
      </p:grpSp>
      <p:grpSp>
        <p:nvGrpSpPr>
          <p:cNvPr id="133" name="Group 107"/>
          <p:cNvGrpSpPr/>
          <p:nvPr/>
        </p:nvGrpSpPr>
        <p:grpSpPr>
          <a:xfrm>
            <a:off x="6849745" y="1838674"/>
            <a:ext cx="738982" cy="734585"/>
            <a:chOff x="9907711" y="7463571"/>
            <a:chExt cx="1999231" cy="1999752"/>
          </a:xfrm>
        </p:grpSpPr>
        <p:grpSp>
          <p:nvGrpSpPr>
            <p:cNvPr id="134" name="Group 108"/>
            <p:cNvGrpSpPr/>
            <p:nvPr/>
          </p:nvGrpSpPr>
          <p:grpSpPr>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57852" lIns="115703" rIns="115703" tIns="57852"/>
              <a:lstStyle/>
              <a:p>
                <a:pPr algn="ctr" eaLnBrk="1" hangingPunct="1">
                  <a:defRPr/>
                </a:pPr>
                <a:endParaRPr lang="bg-BG" noProof="1">
                  <a:latin typeface="Calibri Light"/>
                </a:endParaRPr>
              </a:p>
            </p:txBody>
          </p:sp>
        </p:grpSp>
        <p:sp>
          <p:nvSpPr>
            <p:cNvPr id="135" name="Freeform 104"/>
            <p:cNvSpPr>
              <a:spLocks noChangeArrowheads="1"/>
            </p:cNvSpPr>
            <p:nvPr/>
          </p:nvSpPr>
          <p:spPr bwMode="auto">
            <a:xfrm>
              <a:off x="10528124" y="8136492"/>
              <a:ext cx="804676" cy="541196"/>
            </a:xfrm>
            <a:custGeom>
              <a:gdLst>
                <a:gd fmla="*/ 328670 w 497" name="T0"/>
                <a:gd fmla="*/ 412722 h 337" name="T1"/>
                <a:gd fmla="*/ 328670 w 497" name="T2"/>
                <a:gd fmla="*/ 412722 h 337" name="T3"/>
                <a:gd fmla="*/ 357814 w 497" name="T4"/>
                <a:gd fmla="*/ 525137 h 337" name="T5"/>
                <a:gd fmla="*/ 458196 w 497" name="T6"/>
                <a:gd fmla="*/ 497836 h 337" name="T7"/>
                <a:gd fmla="*/ 644388 w 497" name="T8"/>
                <a:gd fmla="*/ 14453 h 337" name="T9"/>
                <a:gd fmla="*/ 328670 w 497" name="T10"/>
                <a:gd fmla="*/ 412722 h 337" name="T11"/>
                <a:gd fmla="*/ 401528 w 497" name="T12"/>
                <a:gd fmla="*/ 114021 h 337" name="T13"/>
                <a:gd fmla="*/ 401528 w 497" name="T14"/>
                <a:gd fmla="*/ 114021 h 337" name="T15"/>
                <a:gd fmla="*/ 443624 w 497" name="T16"/>
                <a:gd fmla="*/ 114021 h 337" name="T17"/>
                <a:gd fmla="*/ 501911 w 497" name="T18"/>
                <a:gd fmla="*/ 41754 h 337" name="T19"/>
                <a:gd fmla="*/ 401528 w 497" name="T20"/>
                <a:gd fmla="*/ 27301 h 337" name="T21"/>
                <a:gd fmla="*/ 0 w 497" name="T22"/>
                <a:gd fmla="*/ 454476 h 337" name="T23"/>
                <a:gd fmla="*/ 0 w 497" name="T24"/>
                <a:gd fmla="*/ 497836 h 337" name="T25"/>
                <a:gd fmla="*/ 42096 w 497" name="T26"/>
                <a:gd fmla="*/ 539590 h 337" name="T27"/>
                <a:gd fmla="*/ 85811 w 497" name="T28"/>
                <a:gd fmla="*/ 497836 h 337" name="T29"/>
                <a:gd fmla="*/ 85811 w 497" name="T30"/>
                <a:gd fmla="*/ 454476 h 337" name="T31"/>
                <a:gd fmla="*/ 401528 w 497" name="T32"/>
                <a:gd fmla="*/ 114021 h 337" name="T33"/>
                <a:gd fmla="*/ 688103 w 497" name="T34"/>
                <a:gd fmla="*/ 157380 h 337" name="T35"/>
                <a:gd fmla="*/ 688103 w 497" name="T36"/>
                <a:gd fmla="*/ 157380 h 337" name="T37"/>
                <a:gd fmla="*/ 658960 w 497" name="T38"/>
                <a:gd fmla="*/ 242494 h 337" name="T39"/>
                <a:gd fmla="*/ 715627 w 497" name="T40"/>
                <a:gd fmla="*/ 454476 h 337" name="T41"/>
                <a:gd fmla="*/ 715627 w 497" name="T42"/>
                <a:gd fmla="*/ 497836 h 337" name="T43"/>
                <a:gd fmla="*/ 759342 w 497" name="T44"/>
                <a:gd fmla="*/ 539590 h 337" name="T45"/>
                <a:gd fmla="*/ 759342 w 497" name="T46"/>
                <a:gd fmla="*/ 539590 h 337" name="T47"/>
                <a:gd fmla="*/ 803057 w 497" name="T48"/>
                <a:gd fmla="*/ 497836 h 337" name="T49"/>
                <a:gd fmla="*/ 803057 w 497" name="T50"/>
                <a:gd fmla="*/ 454476 h 337" name="T51"/>
                <a:gd fmla="*/ 688103 w 497" name="T52"/>
                <a:gd fmla="*/ 157380 h 337" name="T53"/>
                <a:gd fmla="*/ 0 60000 65536" name="T54"/>
                <a:gd fmla="*/ 0 60000 65536"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b="b" l="0" r="r" t="0"/>
              <a:pathLst>
                <a:path h="337" w="49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ctr" wrap="none"/>
            <a:lstStyle/>
            <a:p>
              <a:endParaRPr altLang="en-US" lang="zh-CN"/>
            </a:p>
          </p:txBody>
        </p:sp>
      </p:grpSp>
      <p:sp>
        <p:nvSpPr>
          <p:cNvPr id="138" name="TextBox 23"/>
          <p:cNvSpPr txBox="1">
            <a:spLocks noChangeArrowheads="1"/>
          </p:cNvSpPr>
          <p:nvPr/>
        </p:nvSpPr>
        <p:spPr bwMode="auto">
          <a:xfrm>
            <a:off x="567849" y="3149643"/>
            <a:ext cx="1410176"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39" name="TextBox 24"/>
          <p:cNvSpPr txBox="1">
            <a:spLocks noChangeArrowheads="1"/>
          </p:cNvSpPr>
          <p:nvPr/>
        </p:nvSpPr>
        <p:spPr bwMode="auto">
          <a:xfrm>
            <a:off x="567849" y="291400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140" name="TextBox 23"/>
          <p:cNvSpPr txBox="1">
            <a:spLocks noChangeArrowheads="1"/>
          </p:cNvSpPr>
          <p:nvPr/>
        </p:nvSpPr>
        <p:spPr bwMode="auto">
          <a:xfrm>
            <a:off x="2128044" y="3149643"/>
            <a:ext cx="1410176"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41" name="TextBox 24"/>
          <p:cNvSpPr txBox="1">
            <a:spLocks noChangeArrowheads="1"/>
          </p:cNvSpPr>
          <p:nvPr/>
        </p:nvSpPr>
        <p:spPr bwMode="auto">
          <a:xfrm>
            <a:off x="2128044" y="291400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142" name="TextBox 23"/>
          <p:cNvSpPr txBox="1">
            <a:spLocks noChangeArrowheads="1"/>
          </p:cNvSpPr>
          <p:nvPr/>
        </p:nvSpPr>
        <p:spPr bwMode="auto">
          <a:xfrm>
            <a:off x="3674904" y="3149643"/>
            <a:ext cx="1410176"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43" name="TextBox 24"/>
          <p:cNvSpPr txBox="1">
            <a:spLocks noChangeArrowheads="1"/>
          </p:cNvSpPr>
          <p:nvPr/>
        </p:nvSpPr>
        <p:spPr bwMode="auto">
          <a:xfrm>
            <a:off x="3674904" y="291400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144" name="TextBox 23"/>
          <p:cNvSpPr txBox="1">
            <a:spLocks noChangeArrowheads="1"/>
          </p:cNvSpPr>
          <p:nvPr/>
        </p:nvSpPr>
        <p:spPr bwMode="auto">
          <a:xfrm>
            <a:off x="5261769" y="3149643"/>
            <a:ext cx="1410176"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45" name="TextBox 24"/>
          <p:cNvSpPr txBox="1">
            <a:spLocks noChangeArrowheads="1"/>
          </p:cNvSpPr>
          <p:nvPr/>
        </p:nvSpPr>
        <p:spPr bwMode="auto">
          <a:xfrm>
            <a:off x="5261769" y="291400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146" name="TextBox 23"/>
          <p:cNvSpPr txBox="1">
            <a:spLocks noChangeArrowheads="1"/>
          </p:cNvSpPr>
          <p:nvPr/>
        </p:nvSpPr>
        <p:spPr bwMode="auto">
          <a:xfrm>
            <a:off x="6808629" y="3149643"/>
            <a:ext cx="1410176" cy="47537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a:spAutoFit/>
          </a:bodyPr>
          <a:lstStyle/>
          <a:p>
            <a:pPr eaLnBrk="1" hangingPunct="1">
              <a:lnSpc>
                <a:spcPct val="150000"/>
              </a:lnSpc>
            </a:pPr>
            <a:r>
              <a:rPr altLang="en-US" lang="zh-CN" sz="600">
                <a:solidFill>
                  <a:schemeClr val="bg1">
                    <a:lumMod val="85000"/>
                  </a:schemeClr>
                </a:solidFill>
                <a:latin charset="0" pitchFamily="34" typeface="Arial"/>
                <a:ea charset="-122" panose="020b0503020204020204" pitchFamily="34" typeface="微软雅黑"/>
                <a:sym charset="0" pitchFamily="34" typeface="Arial"/>
              </a:rPr>
              <a:t>点击添加相关标题文字，点击添加相关标题文字，点击添加相关标题文字，点击添加相关标题文字。</a:t>
            </a:r>
          </a:p>
        </p:txBody>
      </p:sp>
      <p:sp>
        <p:nvSpPr>
          <p:cNvPr id="147" name="TextBox 24"/>
          <p:cNvSpPr txBox="1">
            <a:spLocks noChangeArrowheads="1"/>
          </p:cNvSpPr>
          <p:nvPr/>
        </p:nvSpPr>
        <p:spPr bwMode="auto">
          <a:xfrm>
            <a:off x="6808628" y="2914000"/>
            <a:ext cx="1105696" cy="23153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1949" lIns="63898" rIns="63898" tIns="31949" wrap="none">
            <a:spAutoFit/>
          </a:bodyPr>
          <a:lstStyle/>
          <a:p>
            <a:pPr eaLnBrk="1" hangingPunct="1"/>
            <a:r>
              <a:rPr altLang="en-US" lang="zh-CN" sz="1100">
                <a:solidFill>
                  <a:schemeClr val="bg1">
                    <a:lumMod val="85000"/>
                  </a:schemeClr>
                </a:solidFill>
                <a:ea charset="-122" panose="020b0503020204020204" pitchFamily="34" typeface="微软雅黑"/>
              </a:rPr>
              <a:t>请替换文字内容</a:t>
            </a:r>
          </a:p>
        </p:txBody>
      </p:sp>
      <p:sp>
        <p:nvSpPr>
          <p:cNvPr id="49" name="平行四边形 48"/>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0" name="平行四边形 49"/>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1" name="平行四边形 50"/>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52" name="平行四边形 51"/>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55" name="Group 7"/>
          <p:cNvGrpSpPr/>
          <p:nvPr/>
        </p:nvGrpSpPr>
        <p:grpSpPr>
          <a:xfrm>
            <a:off x="180202" y="181952"/>
            <a:ext cx="216018" cy="113981"/>
            <a:chExt cx="1041399" cy="549275"/>
          </a:xfrm>
          <a:solidFill>
            <a:srgbClr val="133E73"/>
          </a:solidFill>
        </p:grpSpPr>
        <p:sp>
          <p:nvSpPr>
            <p:cNvPr id="56"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57"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58"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59"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extLst>
      <p:ext uri="{BB962C8B-B14F-4D97-AF65-F5344CB8AC3E}">
        <p14:creationId val="643119536"/>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55"/>
                                        </p:tgtEl>
                                        <p:attrNameLst>
                                          <p:attrName>style.visibility</p:attrName>
                                        </p:attrNameLst>
                                      </p:cBhvr>
                                      <p:to>
                                        <p:strVal val="visible"/>
                                      </p:to>
                                    </p:set>
                                    <p:anim calcmode="lin" valueType="num">
                                      <p:cBhvr additive="base">
                                        <p:cTn dur="500" fill="hold" id="7"/>
                                        <p:tgtEl>
                                          <p:spTgt spid="55"/>
                                        </p:tgtEl>
                                        <p:attrNameLst>
                                          <p:attrName>ppt_x</p:attrName>
                                        </p:attrNameLst>
                                      </p:cBhvr>
                                      <p:tavLst>
                                        <p:tav tm="0">
                                          <p:val>
                                            <p:strVal val="0-#ppt_w/2"/>
                                          </p:val>
                                        </p:tav>
                                        <p:tav tm="100000">
                                          <p:val>
                                            <p:strVal val="#ppt_x"/>
                                          </p:val>
                                        </p:tav>
                                      </p:tavLst>
                                    </p:anim>
                                    <p:anim calcmode="lin" valueType="num">
                                      <p:cBhvr additive="base">
                                        <p:cTn dur="500" fill="hold" id="8"/>
                                        <p:tgtEl>
                                          <p:spTgt spid="55"/>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54"/>
                                        </p:tgtEl>
                                        <p:attrNameLst>
                                          <p:attrName>style.visibility</p:attrName>
                                        </p:attrNameLst>
                                      </p:cBhvr>
                                      <p:to>
                                        <p:strVal val="visible"/>
                                      </p:to>
                                    </p:set>
                                    <p:anim calcmode="lin" valueType="num">
                                      <p:cBhvr>
                                        <p:cTn dur="500" fill="hold" id="12"/>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54"/>
                                        </p:tgtEl>
                                        <p:attrNameLst>
                                          <p:attrName>ppt_y</p:attrName>
                                        </p:attrNameLst>
                                      </p:cBhvr>
                                      <p:tavLst>
                                        <p:tav tm="0">
                                          <p:val>
                                            <p:strVal val="#ppt_y"/>
                                          </p:val>
                                        </p:tav>
                                        <p:tav tm="100000">
                                          <p:val>
                                            <p:strVal val="#ppt_y"/>
                                          </p:val>
                                        </p:tav>
                                      </p:tavLst>
                                    </p:anim>
                                    <p:anim calcmode="lin" valueType="num">
                                      <p:cBhvr>
                                        <p:cTn dur="500" fill="hold" id="14"/>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54"/>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54"/>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51"/>
                                        </p:tgtEl>
                                        <p:attrNameLst>
                                          <p:attrName>fillcolor</p:attrName>
                                        </p:attrNameLst>
                                      </p:cBhvr>
                                      <p:to>
                                        <a:srgbClr val="00AEEF"/>
                                      </p:to>
                                    </p:animClr>
                                    <p:set>
                                      <p:cBhvr>
                                        <p:cTn dur="300" fill="hold" id="20"/>
                                        <p:tgtEl>
                                          <p:spTgt spid="51"/>
                                        </p:tgtEl>
                                        <p:attrNameLst>
                                          <p:attrName>fill.type</p:attrName>
                                        </p:attrNameLst>
                                      </p:cBhvr>
                                      <p:to>
                                        <p:strVal val="solid"/>
                                      </p:to>
                                    </p:set>
                                    <p:set>
                                      <p:cBhvr>
                                        <p:cTn dur="300" fill="hold" id="21"/>
                                        <p:tgtEl>
                                          <p:spTgt spid="51"/>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12" presetSubtype="8">
                                  <p:stCondLst>
                                    <p:cond delay="0"/>
                                  </p:stCondLst>
                                  <p:childTnLst>
                                    <p:set>
                                      <p:cBhvr>
                                        <p:cTn dur="1" fill="hold" id="24">
                                          <p:stCondLst>
                                            <p:cond delay="0"/>
                                          </p:stCondLst>
                                        </p:cTn>
                                        <p:tgtEl>
                                          <p:spTgt spid="104"/>
                                        </p:tgtEl>
                                        <p:attrNameLst>
                                          <p:attrName>style.visibility</p:attrName>
                                        </p:attrNameLst>
                                      </p:cBhvr>
                                      <p:to>
                                        <p:strVal val="visible"/>
                                      </p:to>
                                    </p:set>
                                    <p:anim calcmode="lin" valueType="num">
                                      <p:cBhvr>
                                        <p:cTn dur="500" id="25"/>
                                        <p:tgtEl>
                                          <p:spTgt spid="104"/>
                                        </p:tgtEl>
                                        <p:attrNameLst>
                                          <p:attrName>ppt_x</p:attrName>
                                        </p:attrNameLst>
                                      </p:cBhvr>
                                      <p:tavLst>
                                        <p:tav tm="0">
                                          <p:val>
                                            <p:strVal val="#ppt_x-#ppt_w*1.125000"/>
                                          </p:val>
                                        </p:tav>
                                        <p:tav tm="100000">
                                          <p:val>
                                            <p:strVal val="#ppt_x"/>
                                          </p:val>
                                        </p:tav>
                                      </p:tavLst>
                                    </p:anim>
                                    <p:animEffect filter="wipe(right)" transition="in">
                                      <p:cBhvr>
                                        <p:cTn dur="500" id="26"/>
                                        <p:tgtEl>
                                          <p:spTgt spid="104"/>
                                        </p:tgtEl>
                                      </p:cBhvr>
                                    </p:animEffect>
                                  </p:childTnLst>
                                </p:cTn>
                              </p:par>
                            </p:childTnLst>
                          </p:cTn>
                        </p:par>
                        <p:par>
                          <p:cTn fill="hold" id="27" nodeType="afterGroup">
                            <p:stCondLst>
                              <p:cond delay="1800"/>
                            </p:stCondLst>
                            <p:childTnLst>
                              <p:par>
                                <p:cTn fill="hold" grpId="0" id="28" nodeType="afterEffect" presetClass="entr" presetID="12" presetSubtype="4">
                                  <p:stCondLst>
                                    <p:cond delay="0"/>
                                  </p:stCondLst>
                                  <p:childTnLst>
                                    <p:set>
                                      <p:cBhvr>
                                        <p:cTn dur="1" fill="hold" id="29">
                                          <p:stCondLst>
                                            <p:cond delay="0"/>
                                          </p:stCondLst>
                                        </p:cTn>
                                        <p:tgtEl>
                                          <p:spTgt spid="138"/>
                                        </p:tgtEl>
                                        <p:attrNameLst>
                                          <p:attrName>style.visibility</p:attrName>
                                        </p:attrNameLst>
                                      </p:cBhvr>
                                      <p:to>
                                        <p:strVal val="visible"/>
                                      </p:to>
                                    </p:set>
                                    <p:anim calcmode="lin" valueType="num">
                                      <p:cBhvr>
                                        <p:cTn dur="500" id="30"/>
                                        <p:tgtEl>
                                          <p:spTgt spid="138"/>
                                        </p:tgtEl>
                                        <p:attrNameLst>
                                          <p:attrName>ppt_y</p:attrName>
                                        </p:attrNameLst>
                                      </p:cBhvr>
                                      <p:tavLst>
                                        <p:tav tm="0">
                                          <p:val>
                                            <p:strVal val="#ppt_y+#ppt_h*1.125000"/>
                                          </p:val>
                                        </p:tav>
                                        <p:tav tm="100000">
                                          <p:val>
                                            <p:strVal val="#ppt_y"/>
                                          </p:val>
                                        </p:tav>
                                      </p:tavLst>
                                    </p:anim>
                                    <p:animEffect filter="wipe(up)" transition="in">
                                      <p:cBhvr>
                                        <p:cTn dur="500" id="31"/>
                                        <p:tgtEl>
                                          <p:spTgt spid="138"/>
                                        </p:tgtEl>
                                      </p:cBhvr>
                                    </p:animEffect>
                                  </p:childTnLst>
                                </p:cTn>
                              </p:par>
                              <p:par>
                                <p:cTn fill="hold" grpId="0" id="32" nodeType="withEffect" presetClass="entr" presetID="12" presetSubtype="1">
                                  <p:stCondLst>
                                    <p:cond delay="0"/>
                                  </p:stCondLst>
                                  <p:childTnLst>
                                    <p:set>
                                      <p:cBhvr>
                                        <p:cTn dur="1" fill="hold" id="33">
                                          <p:stCondLst>
                                            <p:cond delay="0"/>
                                          </p:stCondLst>
                                        </p:cTn>
                                        <p:tgtEl>
                                          <p:spTgt spid="139"/>
                                        </p:tgtEl>
                                        <p:attrNameLst>
                                          <p:attrName>style.visibility</p:attrName>
                                        </p:attrNameLst>
                                      </p:cBhvr>
                                      <p:to>
                                        <p:strVal val="visible"/>
                                      </p:to>
                                    </p:set>
                                    <p:anim calcmode="lin" valueType="num">
                                      <p:cBhvr>
                                        <p:cTn dur="500" id="34"/>
                                        <p:tgtEl>
                                          <p:spTgt spid="139"/>
                                        </p:tgtEl>
                                        <p:attrNameLst>
                                          <p:attrName>ppt_y</p:attrName>
                                        </p:attrNameLst>
                                      </p:cBhvr>
                                      <p:tavLst>
                                        <p:tav tm="0">
                                          <p:val>
                                            <p:strVal val="#ppt_y-#ppt_h*1.125000"/>
                                          </p:val>
                                        </p:tav>
                                        <p:tav tm="100000">
                                          <p:val>
                                            <p:strVal val="#ppt_y"/>
                                          </p:val>
                                        </p:tav>
                                      </p:tavLst>
                                    </p:anim>
                                    <p:animEffect filter="wipe(down)" transition="in">
                                      <p:cBhvr>
                                        <p:cTn dur="500" id="35"/>
                                        <p:tgtEl>
                                          <p:spTgt spid="139"/>
                                        </p:tgtEl>
                                      </p:cBhvr>
                                    </p:animEffect>
                                  </p:childTnLst>
                                </p:cTn>
                              </p:par>
                            </p:childTnLst>
                          </p:cTn>
                        </p:par>
                        <p:par>
                          <p:cTn fill="hold" id="36" nodeType="afterGroup">
                            <p:stCondLst>
                              <p:cond delay="2300"/>
                            </p:stCondLst>
                            <p:childTnLst>
                              <p:par>
                                <p:cTn fill="hold" id="37" nodeType="afterEffect" presetClass="entr" presetID="22" presetSubtype="8">
                                  <p:stCondLst>
                                    <p:cond delay="0"/>
                                  </p:stCondLst>
                                  <p:childTnLst>
                                    <p:set>
                                      <p:cBhvr>
                                        <p:cTn dur="1" fill="hold" id="38">
                                          <p:stCondLst>
                                            <p:cond delay="0"/>
                                          </p:stCondLst>
                                        </p:cTn>
                                        <p:tgtEl>
                                          <p:spTgt spid="130"/>
                                        </p:tgtEl>
                                        <p:attrNameLst>
                                          <p:attrName>style.visibility</p:attrName>
                                        </p:attrNameLst>
                                      </p:cBhvr>
                                      <p:to>
                                        <p:strVal val="visible"/>
                                      </p:to>
                                    </p:set>
                                    <p:animEffect filter="wipe(left)" transition="in">
                                      <p:cBhvr>
                                        <p:cTn dur="500" id="39"/>
                                        <p:tgtEl>
                                          <p:spTgt spid="130"/>
                                        </p:tgtEl>
                                      </p:cBhvr>
                                    </p:animEffect>
                                  </p:childTnLst>
                                </p:cTn>
                              </p:par>
                            </p:childTnLst>
                          </p:cTn>
                        </p:par>
                        <p:par>
                          <p:cTn fill="hold" id="40" nodeType="afterGroup">
                            <p:stCondLst>
                              <p:cond delay="2800"/>
                            </p:stCondLst>
                            <p:childTnLst>
                              <p:par>
                                <p:cTn fill="hold" id="41" nodeType="afterEffect" presetClass="entr" presetID="12" presetSubtype="8">
                                  <p:stCondLst>
                                    <p:cond delay="0"/>
                                  </p:stCondLst>
                                  <p:childTnLst>
                                    <p:set>
                                      <p:cBhvr>
                                        <p:cTn dur="1" fill="hold" id="42">
                                          <p:stCondLst>
                                            <p:cond delay="0"/>
                                          </p:stCondLst>
                                        </p:cTn>
                                        <p:tgtEl>
                                          <p:spTgt spid="119"/>
                                        </p:tgtEl>
                                        <p:attrNameLst>
                                          <p:attrName>style.visibility</p:attrName>
                                        </p:attrNameLst>
                                      </p:cBhvr>
                                      <p:to>
                                        <p:strVal val="visible"/>
                                      </p:to>
                                    </p:set>
                                    <p:anim calcmode="lin" valueType="num">
                                      <p:cBhvr>
                                        <p:cTn dur="500" id="43"/>
                                        <p:tgtEl>
                                          <p:spTgt spid="119"/>
                                        </p:tgtEl>
                                        <p:attrNameLst>
                                          <p:attrName>ppt_x</p:attrName>
                                        </p:attrNameLst>
                                      </p:cBhvr>
                                      <p:tavLst>
                                        <p:tav tm="0">
                                          <p:val>
                                            <p:strVal val="#ppt_x-#ppt_w*1.125000"/>
                                          </p:val>
                                        </p:tav>
                                        <p:tav tm="100000">
                                          <p:val>
                                            <p:strVal val="#ppt_x"/>
                                          </p:val>
                                        </p:tav>
                                      </p:tavLst>
                                    </p:anim>
                                    <p:animEffect filter="wipe(right)" transition="in">
                                      <p:cBhvr>
                                        <p:cTn dur="500" id="44"/>
                                        <p:tgtEl>
                                          <p:spTgt spid="119"/>
                                        </p:tgtEl>
                                      </p:cBhvr>
                                    </p:animEffect>
                                  </p:childTnLst>
                                </p:cTn>
                              </p:par>
                            </p:childTnLst>
                          </p:cTn>
                        </p:par>
                        <p:par>
                          <p:cTn fill="hold" id="45" nodeType="afterGroup">
                            <p:stCondLst>
                              <p:cond delay="3300"/>
                            </p:stCondLst>
                            <p:childTnLst>
                              <p:par>
                                <p:cTn fill="hold" grpId="0" id="46" nodeType="afterEffect" presetClass="entr" presetID="12" presetSubtype="4">
                                  <p:stCondLst>
                                    <p:cond delay="0"/>
                                  </p:stCondLst>
                                  <p:childTnLst>
                                    <p:set>
                                      <p:cBhvr>
                                        <p:cTn dur="1" fill="hold" id="47">
                                          <p:stCondLst>
                                            <p:cond delay="0"/>
                                          </p:stCondLst>
                                        </p:cTn>
                                        <p:tgtEl>
                                          <p:spTgt spid="140"/>
                                        </p:tgtEl>
                                        <p:attrNameLst>
                                          <p:attrName>style.visibility</p:attrName>
                                        </p:attrNameLst>
                                      </p:cBhvr>
                                      <p:to>
                                        <p:strVal val="visible"/>
                                      </p:to>
                                    </p:set>
                                    <p:anim calcmode="lin" valueType="num">
                                      <p:cBhvr>
                                        <p:cTn dur="500" id="48"/>
                                        <p:tgtEl>
                                          <p:spTgt spid="140"/>
                                        </p:tgtEl>
                                        <p:attrNameLst>
                                          <p:attrName>ppt_y</p:attrName>
                                        </p:attrNameLst>
                                      </p:cBhvr>
                                      <p:tavLst>
                                        <p:tav tm="0">
                                          <p:val>
                                            <p:strVal val="#ppt_y+#ppt_h*1.125000"/>
                                          </p:val>
                                        </p:tav>
                                        <p:tav tm="100000">
                                          <p:val>
                                            <p:strVal val="#ppt_y"/>
                                          </p:val>
                                        </p:tav>
                                      </p:tavLst>
                                    </p:anim>
                                    <p:animEffect filter="wipe(up)" transition="in">
                                      <p:cBhvr>
                                        <p:cTn dur="500" id="49"/>
                                        <p:tgtEl>
                                          <p:spTgt spid="140"/>
                                        </p:tgtEl>
                                      </p:cBhvr>
                                    </p:animEffect>
                                  </p:childTnLst>
                                </p:cTn>
                              </p:par>
                              <p:par>
                                <p:cTn fill="hold" grpId="0" id="50" nodeType="withEffect" presetClass="entr" presetID="12" presetSubtype="1">
                                  <p:stCondLst>
                                    <p:cond delay="0"/>
                                  </p:stCondLst>
                                  <p:childTnLst>
                                    <p:set>
                                      <p:cBhvr>
                                        <p:cTn dur="1" fill="hold" id="51">
                                          <p:stCondLst>
                                            <p:cond delay="0"/>
                                          </p:stCondLst>
                                        </p:cTn>
                                        <p:tgtEl>
                                          <p:spTgt spid="141"/>
                                        </p:tgtEl>
                                        <p:attrNameLst>
                                          <p:attrName>style.visibility</p:attrName>
                                        </p:attrNameLst>
                                      </p:cBhvr>
                                      <p:to>
                                        <p:strVal val="visible"/>
                                      </p:to>
                                    </p:set>
                                    <p:anim calcmode="lin" valueType="num">
                                      <p:cBhvr>
                                        <p:cTn dur="500" id="52"/>
                                        <p:tgtEl>
                                          <p:spTgt spid="141"/>
                                        </p:tgtEl>
                                        <p:attrNameLst>
                                          <p:attrName>ppt_y</p:attrName>
                                        </p:attrNameLst>
                                      </p:cBhvr>
                                      <p:tavLst>
                                        <p:tav tm="0">
                                          <p:val>
                                            <p:strVal val="#ppt_y-#ppt_h*1.125000"/>
                                          </p:val>
                                        </p:tav>
                                        <p:tav tm="100000">
                                          <p:val>
                                            <p:strVal val="#ppt_y"/>
                                          </p:val>
                                        </p:tav>
                                      </p:tavLst>
                                    </p:anim>
                                    <p:animEffect filter="wipe(down)" transition="in">
                                      <p:cBhvr>
                                        <p:cTn dur="500" id="53"/>
                                        <p:tgtEl>
                                          <p:spTgt spid="141"/>
                                        </p:tgtEl>
                                      </p:cBhvr>
                                    </p:animEffect>
                                  </p:childTnLst>
                                </p:cTn>
                              </p:par>
                            </p:childTnLst>
                          </p:cTn>
                        </p:par>
                        <p:par>
                          <p:cTn fill="hold" id="54" nodeType="afterGroup">
                            <p:stCondLst>
                              <p:cond delay="3800"/>
                            </p:stCondLst>
                            <p:childTnLst>
                              <p:par>
                                <p:cTn fill="hold" id="55" nodeType="afterEffect" presetClass="entr" presetID="22" presetSubtype="8">
                                  <p:stCondLst>
                                    <p:cond delay="0"/>
                                  </p:stCondLst>
                                  <p:childTnLst>
                                    <p:set>
                                      <p:cBhvr>
                                        <p:cTn dur="1" fill="hold" id="56">
                                          <p:stCondLst>
                                            <p:cond delay="0"/>
                                          </p:stCondLst>
                                        </p:cTn>
                                        <p:tgtEl>
                                          <p:spTgt spid="101"/>
                                        </p:tgtEl>
                                        <p:attrNameLst>
                                          <p:attrName>style.visibility</p:attrName>
                                        </p:attrNameLst>
                                      </p:cBhvr>
                                      <p:to>
                                        <p:strVal val="visible"/>
                                      </p:to>
                                    </p:set>
                                    <p:animEffect filter="wipe(left)" transition="in">
                                      <p:cBhvr>
                                        <p:cTn dur="500" id="57"/>
                                        <p:tgtEl>
                                          <p:spTgt spid="101"/>
                                        </p:tgtEl>
                                      </p:cBhvr>
                                    </p:animEffect>
                                  </p:childTnLst>
                                </p:cTn>
                              </p:par>
                            </p:childTnLst>
                          </p:cTn>
                        </p:par>
                        <p:par>
                          <p:cTn fill="hold" id="58" nodeType="afterGroup">
                            <p:stCondLst>
                              <p:cond delay="4300"/>
                            </p:stCondLst>
                            <p:childTnLst>
                              <p:par>
                                <p:cTn fill="hold" id="59" nodeType="afterEffect" presetClass="entr" presetID="12" presetSubtype="8">
                                  <p:stCondLst>
                                    <p:cond delay="0"/>
                                  </p:stCondLst>
                                  <p:childTnLst>
                                    <p:set>
                                      <p:cBhvr>
                                        <p:cTn dur="1" fill="hold" id="60">
                                          <p:stCondLst>
                                            <p:cond delay="0"/>
                                          </p:stCondLst>
                                        </p:cTn>
                                        <p:tgtEl>
                                          <p:spTgt spid="114"/>
                                        </p:tgtEl>
                                        <p:attrNameLst>
                                          <p:attrName>style.visibility</p:attrName>
                                        </p:attrNameLst>
                                      </p:cBhvr>
                                      <p:to>
                                        <p:strVal val="visible"/>
                                      </p:to>
                                    </p:set>
                                    <p:anim calcmode="lin" valueType="num">
                                      <p:cBhvr>
                                        <p:cTn dur="500" id="61"/>
                                        <p:tgtEl>
                                          <p:spTgt spid="114"/>
                                        </p:tgtEl>
                                        <p:attrNameLst>
                                          <p:attrName>ppt_x</p:attrName>
                                        </p:attrNameLst>
                                      </p:cBhvr>
                                      <p:tavLst>
                                        <p:tav tm="0">
                                          <p:val>
                                            <p:strVal val="#ppt_x-#ppt_w*1.125000"/>
                                          </p:val>
                                        </p:tav>
                                        <p:tav tm="100000">
                                          <p:val>
                                            <p:strVal val="#ppt_x"/>
                                          </p:val>
                                        </p:tav>
                                      </p:tavLst>
                                    </p:anim>
                                    <p:animEffect filter="wipe(right)" transition="in">
                                      <p:cBhvr>
                                        <p:cTn dur="500" id="62"/>
                                        <p:tgtEl>
                                          <p:spTgt spid="114"/>
                                        </p:tgtEl>
                                      </p:cBhvr>
                                    </p:animEffect>
                                  </p:childTnLst>
                                </p:cTn>
                              </p:par>
                            </p:childTnLst>
                          </p:cTn>
                        </p:par>
                        <p:par>
                          <p:cTn fill="hold" id="63" nodeType="afterGroup">
                            <p:stCondLst>
                              <p:cond delay="4800"/>
                            </p:stCondLst>
                            <p:childTnLst>
                              <p:par>
                                <p:cTn fill="hold" grpId="0" id="64" nodeType="afterEffect" presetClass="entr" presetID="12" presetSubtype="4">
                                  <p:stCondLst>
                                    <p:cond delay="0"/>
                                  </p:stCondLst>
                                  <p:childTnLst>
                                    <p:set>
                                      <p:cBhvr>
                                        <p:cTn dur="1" fill="hold" id="65">
                                          <p:stCondLst>
                                            <p:cond delay="0"/>
                                          </p:stCondLst>
                                        </p:cTn>
                                        <p:tgtEl>
                                          <p:spTgt spid="142"/>
                                        </p:tgtEl>
                                        <p:attrNameLst>
                                          <p:attrName>style.visibility</p:attrName>
                                        </p:attrNameLst>
                                      </p:cBhvr>
                                      <p:to>
                                        <p:strVal val="visible"/>
                                      </p:to>
                                    </p:set>
                                    <p:anim calcmode="lin" valueType="num">
                                      <p:cBhvr>
                                        <p:cTn dur="500" id="66"/>
                                        <p:tgtEl>
                                          <p:spTgt spid="142"/>
                                        </p:tgtEl>
                                        <p:attrNameLst>
                                          <p:attrName>ppt_y</p:attrName>
                                        </p:attrNameLst>
                                      </p:cBhvr>
                                      <p:tavLst>
                                        <p:tav tm="0">
                                          <p:val>
                                            <p:strVal val="#ppt_y+#ppt_h*1.125000"/>
                                          </p:val>
                                        </p:tav>
                                        <p:tav tm="100000">
                                          <p:val>
                                            <p:strVal val="#ppt_y"/>
                                          </p:val>
                                        </p:tav>
                                      </p:tavLst>
                                    </p:anim>
                                    <p:animEffect filter="wipe(up)" transition="in">
                                      <p:cBhvr>
                                        <p:cTn dur="500" id="67"/>
                                        <p:tgtEl>
                                          <p:spTgt spid="142"/>
                                        </p:tgtEl>
                                      </p:cBhvr>
                                    </p:animEffect>
                                  </p:childTnLst>
                                </p:cTn>
                              </p:par>
                            </p:childTnLst>
                          </p:cTn>
                        </p:par>
                      </p:childTnLst>
                    </p:cTn>
                  </p:par>
                  <p:par>
                    <p:cTn fill="hold" id="68" nodeType="clickPar">
                      <p:stCondLst>
                        <p:cond delay="indefinite"/>
                        <p:cond delay="0" evt="onBegin">
                          <p:tn val="67"/>
                        </p:cond>
                      </p:stCondLst>
                      <p:childTnLst>
                        <p:par>
                          <p:cTn fill="hold" id="69" nodeType="afterGroup">
                            <p:stCondLst>
                              <p:cond delay="0"/>
                            </p:stCondLst>
                            <p:childTnLst>
                              <p:par>
                                <p:cTn fill="hold" id="70" nodeType="clickEffect" presetClass="mediacall" presetID="1" presetSubtype="0">
                                  <p:stCondLst>
                                    <p:cond delay="0"/>
                                  </p:stCondLst>
                                  <p:childTnLst>
                                    <p:cmd cmd="playFrom(0.0)" type="call">
                                      <p:cBhvr>
                                        <p:cTn dur="705" fill="hold" id="71"/>
                                        <p:tgtEl>
                                          <p:spTgt spid="59"/>
                                        </p:tgtEl>
                                      </p:cBhvr>
                                    </p:cmd>
                                  </p:childTnLst>
                                </p:cTn>
                              </p:par>
                              <p:par>
                                <p:cTn fill="hold" grpId="0" id="73" nodeType="withEffect" presetClass="entr" presetID="12" presetSubtype="1">
                                  <p:stCondLst>
                                    <p:cond delay="0"/>
                                  </p:stCondLst>
                                  <p:childTnLst>
                                    <p:set>
                                      <p:cBhvr>
                                        <p:cTn dur="1" fill="hold" id="74">
                                          <p:stCondLst>
                                            <p:cond delay="0"/>
                                          </p:stCondLst>
                                        </p:cTn>
                                        <p:tgtEl>
                                          <p:spTgt spid="143"/>
                                        </p:tgtEl>
                                        <p:attrNameLst>
                                          <p:attrName>style.visibility</p:attrName>
                                        </p:attrNameLst>
                                      </p:cBhvr>
                                      <p:to>
                                        <p:strVal val="visible"/>
                                      </p:to>
                                    </p:set>
                                    <p:anim calcmode="lin" valueType="num">
                                      <p:cBhvr>
                                        <p:cTn dur="500" id="75"/>
                                        <p:tgtEl>
                                          <p:spTgt spid="143"/>
                                        </p:tgtEl>
                                        <p:attrNameLst>
                                          <p:attrName>ppt_y</p:attrName>
                                        </p:attrNameLst>
                                      </p:cBhvr>
                                      <p:tavLst>
                                        <p:tav tm="0">
                                          <p:val>
                                            <p:strVal val="#ppt_y-#ppt_h*1.125000"/>
                                          </p:val>
                                        </p:tav>
                                        <p:tav tm="100000">
                                          <p:val>
                                            <p:strVal val="#ppt_y"/>
                                          </p:val>
                                        </p:tav>
                                      </p:tavLst>
                                    </p:anim>
                                    <p:animEffect filter="wipe(down)" transition="in">
                                      <p:cBhvr>
                                        <p:cTn dur="500" id="76"/>
                                        <p:tgtEl>
                                          <p:spTgt spid="143"/>
                                        </p:tgtEl>
                                      </p:cBhvr>
                                    </p:animEffect>
                                  </p:childTnLst>
                                </p:cTn>
                              </p:par>
                            </p:childTnLst>
                          </p:cTn>
                        </p:par>
                        <p:par>
                          <p:cTn fill="hold" id="77" nodeType="afterGroup">
                            <p:stCondLst>
                              <p:cond delay="705"/>
                            </p:stCondLst>
                            <p:childTnLst>
                              <p:par>
                                <p:cTn fill="hold" id="78" nodeType="afterEffect" presetClass="entr" presetID="22" presetSubtype="8">
                                  <p:stCondLst>
                                    <p:cond delay="0"/>
                                  </p:stCondLst>
                                  <p:childTnLst>
                                    <p:set>
                                      <p:cBhvr>
                                        <p:cTn dur="1" fill="hold" id="79">
                                          <p:stCondLst>
                                            <p:cond delay="0"/>
                                          </p:stCondLst>
                                        </p:cTn>
                                        <p:tgtEl>
                                          <p:spTgt spid="124"/>
                                        </p:tgtEl>
                                        <p:attrNameLst>
                                          <p:attrName>style.visibility</p:attrName>
                                        </p:attrNameLst>
                                      </p:cBhvr>
                                      <p:to>
                                        <p:strVal val="visible"/>
                                      </p:to>
                                    </p:set>
                                    <p:animEffect filter="wipe(left)" transition="in">
                                      <p:cBhvr>
                                        <p:cTn dur="500" id="80"/>
                                        <p:tgtEl>
                                          <p:spTgt spid="124"/>
                                        </p:tgtEl>
                                      </p:cBhvr>
                                    </p:animEffect>
                                  </p:childTnLst>
                                </p:cTn>
                              </p:par>
                            </p:childTnLst>
                          </p:cTn>
                        </p:par>
                        <p:par>
                          <p:cTn fill="hold" id="81" nodeType="afterGroup">
                            <p:stCondLst>
                              <p:cond delay="1205"/>
                            </p:stCondLst>
                            <p:childTnLst>
                              <p:par>
                                <p:cTn fill="hold" id="82" nodeType="afterEffect" presetClass="entr" presetID="12" presetSubtype="8">
                                  <p:stCondLst>
                                    <p:cond delay="0"/>
                                  </p:stCondLst>
                                  <p:childTnLst>
                                    <p:set>
                                      <p:cBhvr>
                                        <p:cTn dur="1" fill="hold" id="83">
                                          <p:stCondLst>
                                            <p:cond delay="0"/>
                                          </p:stCondLst>
                                        </p:cTn>
                                        <p:tgtEl>
                                          <p:spTgt spid="109"/>
                                        </p:tgtEl>
                                        <p:attrNameLst>
                                          <p:attrName>style.visibility</p:attrName>
                                        </p:attrNameLst>
                                      </p:cBhvr>
                                      <p:to>
                                        <p:strVal val="visible"/>
                                      </p:to>
                                    </p:set>
                                    <p:anim calcmode="lin" valueType="num">
                                      <p:cBhvr>
                                        <p:cTn dur="500" id="84"/>
                                        <p:tgtEl>
                                          <p:spTgt spid="109"/>
                                        </p:tgtEl>
                                        <p:attrNameLst>
                                          <p:attrName>ppt_x</p:attrName>
                                        </p:attrNameLst>
                                      </p:cBhvr>
                                      <p:tavLst>
                                        <p:tav tm="0">
                                          <p:val>
                                            <p:strVal val="#ppt_x-#ppt_w*1.125000"/>
                                          </p:val>
                                        </p:tav>
                                        <p:tav tm="100000">
                                          <p:val>
                                            <p:strVal val="#ppt_x"/>
                                          </p:val>
                                        </p:tav>
                                      </p:tavLst>
                                    </p:anim>
                                    <p:animEffect filter="wipe(right)" transition="in">
                                      <p:cBhvr>
                                        <p:cTn dur="500" id="85"/>
                                        <p:tgtEl>
                                          <p:spTgt spid="109"/>
                                        </p:tgtEl>
                                      </p:cBhvr>
                                    </p:animEffect>
                                  </p:childTnLst>
                                </p:cTn>
                              </p:par>
                            </p:childTnLst>
                          </p:cTn>
                        </p:par>
                        <p:par>
                          <p:cTn fill="hold" id="86" nodeType="afterGroup">
                            <p:stCondLst>
                              <p:cond delay="1705"/>
                            </p:stCondLst>
                            <p:childTnLst>
                              <p:par>
                                <p:cTn fill="hold" grpId="0" id="87" nodeType="afterEffect" presetClass="entr" presetID="12" presetSubtype="4">
                                  <p:stCondLst>
                                    <p:cond delay="0"/>
                                  </p:stCondLst>
                                  <p:childTnLst>
                                    <p:set>
                                      <p:cBhvr>
                                        <p:cTn dur="1" fill="hold" id="88">
                                          <p:stCondLst>
                                            <p:cond delay="0"/>
                                          </p:stCondLst>
                                        </p:cTn>
                                        <p:tgtEl>
                                          <p:spTgt spid="144"/>
                                        </p:tgtEl>
                                        <p:attrNameLst>
                                          <p:attrName>style.visibility</p:attrName>
                                        </p:attrNameLst>
                                      </p:cBhvr>
                                      <p:to>
                                        <p:strVal val="visible"/>
                                      </p:to>
                                    </p:set>
                                    <p:anim calcmode="lin" valueType="num">
                                      <p:cBhvr>
                                        <p:cTn dur="500" id="89"/>
                                        <p:tgtEl>
                                          <p:spTgt spid="144"/>
                                        </p:tgtEl>
                                        <p:attrNameLst>
                                          <p:attrName>ppt_y</p:attrName>
                                        </p:attrNameLst>
                                      </p:cBhvr>
                                      <p:tavLst>
                                        <p:tav tm="0">
                                          <p:val>
                                            <p:strVal val="#ppt_y+#ppt_h*1.125000"/>
                                          </p:val>
                                        </p:tav>
                                        <p:tav tm="100000">
                                          <p:val>
                                            <p:strVal val="#ppt_y"/>
                                          </p:val>
                                        </p:tav>
                                      </p:tavLst>
                                    </p:anim>
                                    <p:animEffect filter="wipe(up)" transition="in">
                                      <p:cBhvr>
                                        <p:cTn dur="500" id="90"/>
                                        <p:tgtEl>
                                          <p:spTgt spid="144"/>
                                        </p:tgtEl>
                                      </p:cBhvr>
                                    </p:animEffect>
                                  </p:childTnLst>
                                </p:cTn>
                              </p:par>
                              <p:par>
                                <p:cTn fill="hold" grpId="0" id="91" nodeType="withEffect" presetClass="entr" presetID="12" presetSubtype="1">
                                  <p:stCondLst>
                                    <p:cond delay="0"/>
                                  </p:stCondLst>
                                  <p:childTnLst>
                                    <p:set>
                                      <p:cBhvr>
                                        <p:cTn dur="1" fill="hold" id="92">
                                          <p:stCondLst>
                                            <p:cond delay="0"/>
                                          </p:stCondLst>
                                        </p:cTn>
                                        <p:tgtEl>
                                          <p:spTgt spid="145"/>
                                        </p:tgtEl>
                                        <p:attrNameLst>
                                          <p:attrName>style.visibility</p:attrName>
                                        </p:attrNameLst>
                                      </p:cBhvr>
                                      <p:to>
                                        <p:strVal val="visible"/>
                                      </p:to>
                                    </p:set>
                                    <p:anim calcmode="lin" valueType="num">
                                      <p:cBhvr>
                                        <p:cTn dur="500" id="93"/>
                                        <p:tgtEl>
                                          <p:spTgt spid="145"/>
                                        </p:tgtEl>
                                        <p:attrNameLst>
                                          <p:attrName>ppt_y</p:attrName>
                                        </p:attrNameLst>
                                      </p:cBhvr>
                                      <p:tavLst>
                                        <p:tav tm="0">
                                          <p:val>
                                            <p:strVal val="#ppt_y-#ppt_h*1.125000"/>
                                          </p:val>
                                        </p:tav>
                                        <p:tav tm="100000">
                                          <p:val>
                                            <p:strVal val="#ppt_y"/>
                                          </p:val>
                                        </p:tav>
                                      </p:tavLst>
                                    </p:anim>
                                    <p:animEffect filter="wipe(down)" transition="in">
                                      <p:cBhvr>
                                        <p:cTn dur="500" id="94"/>
                                        <p:tgtEl>
                                          <p:spTgt spid="145"/>
                                        </p:tgtEl>
                                      </p:cBhvr>
                                    </p:animEffect>
                                  </p:childTnLst>
                                </p:cTn>
                              </p:par>
                            </p:childTnLst>
                          </p:cTn>
                        </p:par>
                        <p:par>
                          <p:cTn fill="hold" id="95" nodeType="afterGroup">
                            <p:stCondLst>
                              <p:cond delay="2205"/>
                            </p:stCondLst>
                            <p:childTnLst>
                              <p:par>
                                <p:cTn fill="hold" id="96" nodeType="afterEffect" presetClass="entr" presetID="22" presetSubtype="8">
                                  <p:stCondLst>
                                    <p:cond delay="0"/>
                                  </p:stCondLst>
                                  <p:childTnLst>
                                    <p:set>
                                      <p:cBhvr>
                                        <p:cTn dur="1" fill="hold" id="97">
                                          <p:stCondLst>
                                            <p:cond delay="0"/>
                                          </p:stCondLst>
                                        </p:cTn>
                                        <p:tgtEl>
                                          <p:spTgt spid="127"/>
                                        </p:tgtEl>
                                        <p:attrNameLst>
                                          <p:attrName>style.visibility</p:attrName>
                                        </p:attrNameLst>
                                      </p:cBhvr>
                                      <p:to>
                                        <p:strVal val="visible"/>
                                      </p:to>
                                    </p:set>
                                    <p:animEffect filter="wipe(left)" transition="in">
                                      <p:cBhvr>
                                        <p:cTn dur="500" id="98"/>
                                        <p:tgtEl>
                                          <p:spTgt spid="127"/>
                                        </p:tgtEl>
                                      </p:cBhvr>
                                    </p:animEffect>
                                  </p:childTnLst>
                                </p:cTn>
                              </p:par>
                            </p:childTnLst>
                          </p:cTn>
                        </p:par>
                        <p:par>
                          <p:cTn fill="hold" id="99" nodeType="afterGroup">
                            <p:stCondLst>
                              <p:cond delay="2705"/>
                            </p:stCondLst>
                            <p:childTnLst>
                              <p:par>
                                <p:cTn fill="hold" id="100" nodeType="afterEffect" presetClass="entr" presetID="12" presetSubtype="8">
                                  <p:stCondLst>
                                    <p:cond delay="0"/>
                                  </p:stCondLst>
                                  <p:childTnLst>
                                    <p:set>
                                      <p:cBhvr>
                                        <p:cTn dur="1" fill="hold" id="101">
                                          <p:stCondLst>
                                            <p:cond delay="0"/>
                                          </p:stCondLst>
                                        </p:cTn>
                                        <p:tgtEl>
                                          <p:spTgt spid="133"/>
                                        </p:tgtEl>
                                        <p:attrNameLst>
                                          <p:attrName>style.visibility</p:attrName>
                                        </p:attrNameLst>
                                      </p:cBhvr>
                                      <p:to>
                                        <p:strVal val="visible"/>
                                      </p:to>
                                    </p:set>
                                    <p:anim calcmode="lin" valueType="num">
                                      <p:cBhvr>
                                        <p:cTn dur="500" id="102"/>
                                        <p:tgtEl>
                                          <p:spTgt spid="133"/>
                                        </p:tgtEl>
                                        <p:attrNameLst>
                                          <p:attrName>ppt_x</p:attrName>
                                        </p:attrNameLst>
                                      </p:cBhvr>
                                      <p:tavLst>
                                        <p:tav tm="0">
                                          <p:val>
                                            <p:strVal val="#ppt_x-#ppt_w*1.125000"/>
                                          </p:val>
                                        </p:tav>
                                        <p:tav tm="100000">
                                          <p:val>
                                            <p:strVal val="#ppt_x"/>
                                          </p:val>
                                        </p:tav>
                                      </p:tavLst>
                                    </p:anim>
                                    <p:animEffect filter="wipe(right)" transition="in">
                                      <p:cBhvr>
                                        <p:cTn dur="500" id="103"/>
                                        <p:tgtEl>
                                          <p:spTgt spid="133"/>
                                        </p:tgtEl>
                                      </p:cBhvr>
                                    </p:animEffect>
                                  </p:childTnLst>
                                </p:cTn>
                              </p:par>
                            </p:childTnLst>
                          </p:cTn>
                        </p:par>
                        <p:par>
                          <p:cTn fill="hold" id="104" nodeType="afterGroup">
                            <p:stCondLst>
                              <p:cond delay="3205"/>
                            </p:stCondLst>
                            <p:childTnLst>
                              <p:par>
                                <p:cTn fill="hold" grpId="0" id="105" nodeType="afterEffect" presetClass="entr" presetID="12" presetSubtype="4">
                                  <p:stCondLst>
                                    <p:cond delay="0"/>
                                  </p:stCondLst>
                                  <p:childTnLst>
                                    <p:set>
                                      <p:cBhvr>
                                        <p:cTn dur="1" fill="hold" id="106">
                                          <p:stCondLst>
                                            <p:cond delay="0"/>
                                          </p:stCondLst>
                                        </p:cTn>
                                        <p:tgtEl>
                                          <p:spTgt spid="146"/>
                                        </p:tgtEl>
                                        <p:attrNameLst>
                                          <p:attrName>style.visibility</p:attrName>
                                        </p:attrNameLst>
                                      </p:cBhvr>
                                      <p:to>
                                        <p:strVal val="visible"/>
                                      </p:to>
                                    </p:set>
                                    <p:anim calcmode="lin" valueType="num">
                                      <p:cBhvr>
                                        <p:cTn dur="500" id="107"/>
                                        <p:tgtEl>
                                          <p:spTgt spid="146"/>
                                        </p:tgtEl>
                                        <p:attrNameLst>
                                          <p:attrName>ppt_y</p:attrName>
                                        </p:attrNameLst>
                                      </p:cBhvr>
                                      <p:tavLst>
                                        <p:tav tm="0">
                                          <p:val>
                                            <p:strVal val="#ppt_y+#ppt_h*1.125000"/>
                                          </p:val>
                                        </p:tav>
                                        <p:tav tm="100000">
                                          <p:val>
                                            <p:strVal val="#ppt_y"/>
                                          </p:val>
                                        </p:tav>
                                      </p:tavLst>
                                    </p:anim>
                                    <p:animEffect filter="wipe(up)" transition="in">
                                      <p:cBhvr>
                                        <p:cTn dur="500" id="108"/>
                                        <p:tgtEl>
                                          <p:spTgt spid="146"/>
                                        </p:tgtEl>
                                      </p:cBhvr>
                                    </p:animEffect>
                                  </p:childTnLst>
                                </p:cTn>
                              </p:par>
                              <p:par>
                                <p:cTn fill="hold" grpId="0" id="109" nodeType="withEffect" presetClass="entr" presetID="12" presetSubtype="1">
                                  <p:stCondLst>
                                    <p:cond delay="0"/>
                                  </p:stCondLst>
                                  <p:childTnLst>
                                    <p:set>
                                      <p:cBhvr>
                                        <p:cTn dur="1" fill="hold" id="110">
                                          <p:stCondLst>
                                            <p:cond delay="0"/>
                                          </p:stCondLst>
                                        </p:cTn>
                                        <p:tgtEl>
                                          <p:spTgt spid="147"/>
                                        </p:tgtEl>
                                        <p:attrNameLst>
                                          <p:attrName>style.visibility</p:attrName>
                                        </p:attrNameLst>
                                      </p:cBhvr>
                                      <p:to>
                                        <p:strVal val="visible"/>
                                      </p:to>
                                    </p:set>
                                    <p:anim calcmode="lin" valueType="num">
                                      <p:cBhvr>
                                        <p:cTn dur="500" id="111"/>
                                        <p:tgtEl>
                                          <p:spTgt spid="147"/>
                                        </p:tgtEl>
                                        <p:attrNameLst>
                                          <p:attrName>ppt_y</p:attrName>
                                        </p:attrNameLst>
                                      </p:cBhvr>
                                      <p:tavLst>
                                        <p:tav tm="0">
                                          <p:val>
                                            <p:strVal val="#ppt_y-#ppt_h*1.125000"/>
                                          </p:val>
                                        </p:tav>
                                        <p:tav tm="100000">
                                          <p:val>
                                            <p:strVal val="#ppt_y"/>
                                          </p:val>
                                        </p:tav>
                                      </p:tavLst>
                                    </p:anim>
                                    <p:animEffect filter="wipe(down)" transition="in">
                                      <p:cBhvr>
                                        <p:cTn dur="500" id="112"/>
                                        <p:tgtEl>
                                          <p:spTgt spid="147"/>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vol="80000">
                <p:cTn display="0" fill="hold" id="72">
                  <p:stCondLst>
                    <p:cond delay="indefinite"/>
                  </p:stCondLst>
                  <p:endCondLst>
                    <p:cond delay="0" evt="onPrev">
                      <p:tgtEl>
                        <p:sldTgt/>
                      </p:tgtEl>
                    </p:cond>
                    <p:cond delay="0" evt="onStopAudio">
                      <p:tgtEl>
                        <p:sldTgt/>
                      </p:tgtEl>
                    </p:cond>
                  </p:endCondLst>
                </p:cTn>
                <p:tgtEl>
                  <p:spTgt spid="59"/>
                </p:tgtEl>
              </p:cMediaNode>
            </p:audio>
          </p:childTnLst>
        </p:cTn>
      </p:par>
    </p:tnLst>
    <p:bldLst>
      <p:bldP grpId="0" spid="138"/>
      <p:bldP grpId="0" spid="139"/>
      <p:bldP grpId="0" spid="140"/>
      <p:bldP grpId="0" spid="141"/>
      <p:bldP grpId="0" spid="142"/>
      <p:bldP grpId="0" spid="143"/>
      <p:bldP grpId="0" spid="144"/>
      <p:bldP grpId="0" spid="145"/>
      <p:bldP grpId="0" spid="146"/>
      <p:bldP grpId="0" spid="147"/>
      <p:bldP grpId="0" spid="51"/>
      <p:bldP grpId="0" spid="54"/>
    </p:bldLst>
  </p:timing>
  <p:extLst mod="1">
    <p:ext uri="{E180D4A7-C9FB-4DFB-919C-405C955672EB}">
      <p14:showEvtLst>
        <p14:playEvt objId="59" time="1316"/>
        <p14:stopEvt objId="59" time="2092"/>
      </p14:showEvtLst>
    </p:ext>
  </p:extLst>
</p:sld>
</file>

<file path=ppt/slides/slide2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bg>
      <p:bgPr>
        <a:blipFill dpi="0" rotWithShape="1">
          <a:blip r:embed="rId3">
            <a:lum/>
          </a:blip>
          <a:stretch>
            <a:fillRect l="-1000" r="-1000"/>
          </a:stretch>
        </a:blipFill>
        <a:effectLst/>
      </p:bgPr>
    </p:bg>
    <p:spTree>
      <p:nvGrpSpPr>
        <p:cNvPr id="1" name=""/>
        <p:cNvGrpSpPr/>
        <p:nvPr/>
      </p:nvGrpSpPr>
      <p:grpSpPr>
        <a:xfrm>
          <a:off x="0" y="0"/>
          <a:ext cx="0" cy="0"/>
        </a:xfrm>
      </p:grpSpPr>
      <p:sp>
        <p:nvSpPr>
          <p:cNvPr id="2" name="TextBox 4"/>
          <p:cNvSpPr txBox="1"/>
          <p:nvPr/>
        </p:nvSpPr>
        <p:spPr>
          <a:xfrm>
            <a:off x="6804753" y="1944108"/>
            <a:ext cx="1706880" cy="914400"/>
          </a:xfrm>
          <a:prstGeom prst="rect">
            <a:avLst/>
          </a:prstGeom>
          <a:noFill/>
        </p:spPr>
        <p:txBody>
          <a:bodyPr rtlCol="0" wrap="none">
            <a:spAutoFit/>
          </a:bodyPr>
          <a:lstStyle/>
          <a:p>
            <a:r>
              <a:rPr altLang="zh-CN" lang="en-US" spc="300" sz="5400">
                <a:solidFill>
                  <a:schemeClr val="bg1"/>
                </a:solidFill>
                <a:latin charset="-122" panose="02010600030101010101" pitchFamily="2" typeface="黑体"/>
                <a:ea charset="-122" panose="02010600030101010101" pitchFamily="2" typeface="黑体"/>
              </a:rPr>
              <a:t>2018</a:t>
            </a:r>
          </a:p>
        </p:txBody>
      </p:sp>
      <p:sp>
        <p:nvSpPr>
          <p:cNvPr id="3" name="TextBox 5"/>
          <p:cNvSpPr txBox="1"/>
          <p:nvPr/>
        </p:nvSpPr>
        <p:spPr>
          <a:xfrm>
            <a:off x="4860592" y="2655461"/>
            <a:ext cx="3637280" cy="579120"/>
          </a:xfrm>
          <a:prstGeom prst="rect">
            <a:avLst/>
          </a:prstGeom>
          <a:noFill/>
        </p:spPr>
        <p:txBody>
          <a:bodyPr rtlCol="0" wrap="none">
            <a:spAutoFit/>
          </a:bodyPr>
          <a:lstStyle/>
          <a:p>
            <a:r>
              <a:rPr altLang="en-US" lang="zh-CN" sz="3200">
                <a:solidFill>
                  <a:srgbClr val="00AEEF"/>
                </a:solidFill>
                <a:latin charset="-122" panose="02010600030101010101" pitchFamily="2" typeface="黑体"/>
                <a:ea charset="-122" panose="02010600030101010101" pitchFamily="2" typeface="黑体"/>
              </a:rPr>
              <a:t>演示完毕 感谢聆听</a:t>
            </a:r>
          </a:p>
        </p:txBody>
      </p:sp>
      <p:sp>
        <p:nvSpPr>
          <p:cNvPr id="4" name="TextBox 6"/>
          <p:cNvSpPr txBox="1"/>
          <p:nvPr/>
        </p:nvSpPr>
        <p:spPr>
          <a:xfrm>
            <a:off x="6588735" y="3163872"/>
            <a:ext cx="1833880" cy="289560"/>
          </a:xfrm>
          <a:prstGeom prst="rect">
            <a:avLst/>
          </a:prstGeom>
          <a:noFill/>
        </p:spPr>
        <p:txBody>
          <a:bodyPr rtlCol="0" wrap="none">
            <a:spAutoFit/>
          </a:bodyPr>
          <a:lstStyle/>
          <a:p>
            <a:r>
              <a:rPr altLang="zh-CN" lang="en-US" sz="1300">
                <a:solidFill>
                  <a:schemeClr val="bg1"/>
                </a:solidFill>
                <a:latin charset="-122" panose="02010600030101010101" pitchFamily="2" typeface="黑体"/>
                <a:ea charset="-122" panose="02010600030101010101" pitchFamily="2" typeface="黑体"/>
              </a:rPr>
              <a:t>Thanks for listening</a:t>
            </a: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324529" y="3672284"/>
            <a:ext cx="4094480" cy="335280"/>
          </a:xfrm>
          <a:prstGeom prst="rect">
            <a:avLst/>
          </a:prstGeom>
          <a:noFill/>
        </p:spPr>
        <p:txBody>
          <a:bodyPr rtlCol="0" wrap="none">
            <a:spAutoFit/>
          </a:bodyPr>
          <a:lstStyle/>
          <a:p>
            <a:pPr algn="r"/>
            <a:r>
              <a:rPr altLang="zh-CN" lang="en-US" sz="800">
                <a:solidFill>
                  <a:schemeClr val="bg1"/>
                </a:solidFill>
                <a:latin charset="-122" panose="02010600030101010101" pitchFamily="2" typeface="黑体"/>
                <a:ea charset="-122" panose="02010600030101010101" pitchFamily="2" typeface="黑体"/>
              </a:rPr>
              <a:t>A collection of data that can not be caught, managed, and processed by conven</a:t>
            </a:r>
          </a:p>
          <a:p>
            <a:pPr algn="r"/>
            <a:r>
              <a:rPr altLang="zh-CN" lang="en-US" sz="800">
                <a:solidFill>
                  <a:schemeClr val="bg1"/>
                </a:solidFill>
                <a:latin charset="-122" panose="02010600030101010101" pitchFamily="2" typeface="黑体"/>
                <a:ea charset="-122" panose="02010600030101010101" pitchFamily="2" typeface="黑体"/>
              </a:rPr>
              <a:t>tional software tools within a given time scale,</a:t>
            </a:r>
          </a:p>
        </p:txBody>
      </p:sp>
    </p:spTree>
    <p:extLst>
      <p:ext uri="{BB962C8B-B14F-4D97-AF65-F5344CB8AC3E}">
        <p14:creationId val="2712209393"/>
      </p:ext>
    </p:extLst>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41" presetSubtype="0">
                                  <p:stCondLst>
                                    <p:cond delay="0"/>
                                  </p:stCondLst>
                                  <p:iterate type="lt">
                                    <p:tmPct val="10000"/>
                                  </p:iterate>
                                  <p:childTnLst>
                                    <p:set>
                                      <p:cBhvr>
                                        <p:cTn dur="1" fill="hold" id="6">
                                          <p:stCondLst>
                                            <p:cond delay="0"/>
                                          </p:stCondLst>
                                        </p:cTn>
                                        <p:tgtEl>
                                          <p:spTgt spid="2"/>
                                        </p:tgtEl>
                                        <p:attrNameLst>
                                          <p:attrName>style.visibility</p:attrName>
                                        </p:attrNameLst>
                                      </p:cBhvr>
                                      <p:to>
                                        <p:strVal val="visible"/>
                                      </p:to>
                                    </p:set>
                                    <p:anim calcmode="lin" valueType="num">
                                      <p:cBhvr>
                                        <p:cTn dur="500" fill="hold" id="7"/>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8"/>
                                        <p:tgtEl>
                                          <p:spTgt spid="2"/>
                                        </p:tgtEl>
                                        <p:attrNameLst>
                                          <p:attrName>ppt_y</p:attrName>
                                        </p:attrNameLst>
                                      </p:cBhvr>
                                      <p:tavLst>
                                        <p:tav tm="0">
                                          <p:val>
                                            <p:strVal val="#ppt_y"/>
                                          </p:val>
                                        </p:tav>
                                        <p:tav tm="100000">
                                          <p:val>
                                            <p:strVal val="#ppt_y"/>
                                          </p:val>
                                        </p:tav>
                                      </p:tavLst>
                                    </p:anim>
                                    <p:anim calcmode="lin" valueType="num">
                                      <p:cBhvr>
                                        <p:cTn dur="500" fill="hold" id="9"/>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0"/>
                                        <p:tgtEl>
                                          <p:spTgt spid="2"/>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1" tmFilter="0,0; .5, 1; 1, 1"/>
                                        <p:tgtEl>
                                          <p:spTgt spid="2"/>
                                        </p:tgtEl>
                                      </p:cBhvr>
                                    </p:animEffect>
                                  </p:childTnLst>
                                </p:cTn>
                              </p:par>
                            </p:childTnLst>
                          </p:cTn>
                        </p:par>
                        <p:par>
                          <p:cTn fill="hold" id="12" nodeType="afterGroup">
                            <p:stCondLst>
                              <p:cond delay="500"/>
                            </p:stCondLst>
                            <p:childTnLst>
                              <p:par>
                                <p:cTn fill="hold" grpId="1" id="13" nodeType="afterEffect" presetClass="emph" presetID="26" presetSubtype="0">
                                  <p:stCondLst>
                                    <p:cond delay="0"/>
                                  </p:stCondLst>
                                  <p:iterate type="lt">
                                    <p:tmPct val="0"/>
                                  </p:iterate>
                                  <p:childTnLst>
                                    <p:animEffect filter="fade" transition="out">
                                      <p:cBhvr>
                                        <p:cTn dur="500" id="14" tmFilter="0, 0; .2, .5; .8, .5; 1, 0"/>
                                        <p:tgtEl>
                                          <p:spTgt spid="2"/>
                                        </p:tgtEl>
                                      </p:cBhvr>
                                    </p:animEffect>
                                    <p:animScale>
                                      <p:cBhvr>
                                        <p:cTn autoRev="1" dur="250" fill="hold" id="15"/>
                                        <p:tgtEl>
                                          <p:spTgt spid="2"/>
                                        </p:tgtEl>
                                      </p:cBhvr>
                                      <p:by x="105000" y="105000"/>
                                    </p:animScale>
                                  </p:childTnLst>
                                </p:cTn>
                              </p:par>
                            </p:childTnLst>
                          </p:cTn>
                        </p:par>
                        <p:par>
                          <p:cTn fill="hold" id="16" nodeType="afterGroup">
                            <p:stCondLst>
                              <p:cond delay="1000"/>
                            </p:stCondLst>
                            <p:childTnLst>
                              <p:par>
                                <p:cTn fill="hold" grpId="0" id="17" nodeType="afterEffect" presetClass="entr" presetID="41" presetSubtype="0">
                                  <p:stCondLst>
                                    <p:cond delay="0"/>
                                  </p:stCondLst>
                                  <p:iterate type="lt">
                                    <p:tmPct val="10000"/>
                                  </p:iterate>
                                  <p:childTnLst>
                                    <p:set>
                                      <p:cBhvr>
                                        <p:cTn dur="1" fill="hold" id="18">
                                          <p:stCondLst>
                                            <p:cond delay="0"/>
                                          </p:stCondLst>
                                        </p:cTn>
                                        <p:tgtEl>
                                          <p:spTgt spid="3"/>
                                        </p:tgtEl>
                                        <p:attrNameLst>
                                          <p:attrName>style.visibility</p:attrName>
                                        </p:attrNameLst>
                                      </p:cBhvr>
                                      <p:to>
                                        <p:strVal val="visible"/>
                                      </p:to>
                                    </p:set>
                                    <p:anim calcmode="lin" valueType="num">
                                      <p:cBhvr>
                                        <p:cTn dur="500" fill="hold" id="19"/>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20"/>
                                        <p:tgtEl>
                                          <p:spTgt spid="3"/>
                                        </p:tgtEl>
                                        <p:attrNameLst>
                                          <p:attrName>ppt_y</p:attrName>
                                        </p:attrNameLst>
                                      </p:cBhvr>
                                      <p:tavLst>
                                        <p:tav tm="0">
                                          <p:val>
                                            <p:strVal val="#ppt_y"/>
                                          </p:val>
                                        </p:tav>
                                        <p:tav tm="100000">
                                          <p:val>
                                            <p:strVal val="#ppt_y"/>
                                          </p:val>
                                        </p:tav>
                                      </p:tavLst>
                                    </p:anim>
                                    <p:anim calcmode="lin" valueType="num">
                                      <p:cBhvr>
                                        <p:cTn dur="500" fill="hold" id="21"/>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22"/>
                                        <p:tgtEl>
                                          <p:spTgt spid="3"/>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23" tmFilter="0,0; .5, 1; 1, 1"/>
                                        <p:tgtEl>
                                          <p:spTgt spid="3"/>
                                        </p:tgtEl>
                                      </p:cBhvr>
                                    </p:animEffect>
                                  </p:childTnLst>
                                </p:cTn>
                              </p:par>
                            </p:childTnLst>
                          </p:cTn>
                        </p:par>
                        <p:par>
                          <p:cTn fill="hold" id="24" nodeType="afterGroup">
                            <p:stCondLst>
                              <p:cond delay="1500"/>
                            </p:stCondLst>
                            <p:childTnLst>
                              <p:par>
                                <p:cTn fill="hold" grpId="1" id="25" nodeType="afterEffect" presetClass="emph" presetID="26" presetSubtype="0">
                                  <p:stCondLst>
                                    <p:cond delay="0"/>
                                  </p:stCondLst>
                                  <p:iterate type="lt">
                                    <p:tmPct val="0"/>
                                  </p:iterate>
                                  <p:childTnLst>
                                    <p:animEffect filter="fade" transition="out">
                                      <p:cBhvr>
                                        <p:cTn dur="500" id="26" tmFilter="0, 0; .2, .5; .8, .5; 1, 0"/>
                                        <p:tgtEl>
                                          <p:spTgt spid="3"/>
                                        </p:tgtEl>
                                      </p:cBhvr>
                                    </p:animEffect>
                                    <p:animScale>
                                      <p:cBhvr>
                                        <p:cTn autoRev="1" dur="250" fill="hold" id="27"/>
                                        <p:tgtEl>
                                          <p:spTgt spid="3"/>
                                        </p:tgtEl>
                                      </p:cBhvr>
                                      <p:by x="105000" y="105000"/>
                                    </p:animScale>
                                  </p:childTnLst>
                                </p:cTn>
                              </p:par>
                            </p:childTnLst>
                          </p:cTn>
                        </p:par>
                        <p:par>
                          <p:cTn fill="hold" id="28" nodeType="afterGroup">
                            <p:stCondLst>
                              <p:cond delay="2000"/>
                            </p:stCondLst>
                            <p:childTnLst>
                              <p:par>
                                <p:cTn fill="hold" grpId="0" id="29" nodeType="afterEffect" presetClass="entr" presetID="41" presetSubtype="0">
                                  <p:stCondLst>
                                    <p:cond delay="0"/>
                                  </p:stCondLst>
                                  <p:iterate type="lt">
                                    <p:tmPct val="10000"/>
                                  </p:iterate>
                                  <p:childTnLst>
                                    <p:set>
                                      <p:cBhvr>
                                        <p:cTn dur="1" fill="hold" id="30">
                                          <p:stCondLst>
                                            <p:cond delay="0"/>
                                          </p:stCondLst>
                                        </p:cTn>
                                        <p:tgtEl>
                                          <p:spTgt spid="4"/>
                                        </p:tgtEl>
                                        <p:attrNameLst>
                                          <p:attrName>style.visibility</p:attrName>
                                        </p:attrNameLst>
                                      </p:cBhvr>
                                      <p:to>
                                        <p:strVal val="visible"/>
                                      </p:to>
                                    </p:set>
                                    <p:anim calcmode="lin" valueType="num">
                                      <p:cBhvr>
                                        <p:cTn dur="500" fill="hold" id="31"/>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32"/>
                                        <p:tgtEl>
                                          <p:spTgt spid="4"/>
                                        </p:tgtEl>
                                        <p:attrNameLst>
                                          <p:attrName>ppt_y</p:attrName>
                                        </p:attrNameLst>
                                      </p:cBhvr>
                                      <p:tavLst>
                                        <p:tav tm="0">
                                          <p:val>
                                            <p:strVal val="#ppt_y"/>
                                          </p:val>
                                        </p:tav>
                                        <p:tav tm="100000">
                                          <p:val>
                                            <p:strVal val="#ppt_y"/>
                                          </p:val>
                                        </p:tav>
                                      </p:tavLst>
                                    </p:anim>
                                    <p:anim calcmode="lin" valueType="num">
                                      <p:cBhvr>
                                        <p:cTn dur="500" fill="hold" id="33"/>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34"/>
                                        <p:tgtEl>
                                          <p:spTgt spid="4"/>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35" tmFilter="0,0; .5, 1; 1, 1"/>
                                        <p:tgtEl>
                                          <p:spTgt spid="4"/>
                                        </p:tgtEl>
                                      </p:cBhvr>
                                    </p:animEffect>
                                  </p:childTnLst>
                                </p:cTn>
                              </p:par>
                            </p:childTnLst>
                          </p:cTn>
                        </p:par>
                        <p:par>
                          <p:cTn fill="hold" id="36" nodeType="afterGroup">
                            <p:stCondLst>
                              <p:cond delay="2500"/>
                            </p:stCondLst>
                            <p:childTnLst>
                              <p:par>
                                <p:cTn fill="hold" id="37" nodeType="afterEffect" presetClass="entr" presetID="22" presetSubtype="8">
                                  <p:stCondLst>
                                    <p:cond delay="0"/>
                                  </p:stCondLst>
                                  <p:childTnLst>
                                    <p:set>
                                      <p:cBhvr>
                                        <p:cTn dur="1" fill="hold" id="38">
                                          <p:stCondLst>
                                            <p:cond delay="0"/>
                                          </p:stCondLst>
                                        </p:cTn>
                                        <p:tgtEl>
                                          <p:spTgt spid="5"/>
                                        </p:tgtEl>
                                        <p:attrNameLst>
                                          <p:attrName>style.visibility</p:attrName>
                                        </p:attrNameLst>
                                      </p:cBhvr>
                                      <p:to>
                                        <p:strVal val="visible"/>
                                      </p:to>
                                    </p:set>
                                    <p:animEffect filter="wipe(left)" transition="in">
                                      <p:cBhvr>
                                        <p:cTn dur="500" id="39"/>
                                        <p:tgtEl>
                                          <p:spTgt spid="5"/>
                                        </p:tgtEl>
                                      </p:cBhvr>
                                    </p:animEffect>
                                  </p:childTnLst>
                                </p:cTn>
                              </p:par>
                            </p:childTnLst>
                          </p:cTn>
                        </p:par>
                        <p:par>
                          <p:cTn fill="hold" id="40" nodeType="afterGroup">
                            <p:stCondLst>
                              <p:cond delay="3000"/>
                            </p:stCondLst>
                            <p:childTnLst>
                              <p:par>
                                <p:cTn fill="hold" grpId="0" id="41" nodeType="afterEffect" presetClass="entr" presetID="42" presetSubtype="0">
                                  <p:stCondLst>
                                    <p:cond delay="0"/>
                                  </p:stCondLst>
                                  <p:childTnLst>
                                    <p:set>
                                      <p:cBhvr>
                                        <p:cTn dur="1" fill="hold" id="42">
                                          <p:stCondLst>
                                            <p:cond delay="0"/>
                                          </p:stCondLst>
                                        </p:cTn>
                                        <p:tgtEl>
                                          <p:spTgt spid="6"/>
                                        </p:tgtEl>
                                        <p:attrNameLst>
                                          <p:attrName>style.visibility</p:attrName>
                                        </p:attrNameLst>
                                      </p:cBhvr>
                                      <p:to>
                                        <p:strVal val="visible"/>
                                      </p:to>
                                    </p:set>
                                    <p:animEffect filter="fade" transition="in">
                                      <p:cBhvr>
                                        <p:cTn dur="1000" id="43"/>
                                        <p:tgtEl>
                                          <p:spTgt spid="6"/>
                                        </p:tgtEl>
                                      </p:cBhvr>
                                    </p:animEffect>
                                    <p:anim calcmode="lin" valueType="num">
                                      <p:cBhvr>
                                        <p:cTn dur="1000" fill="hold" id="44"/>
                                        <p:tgtEl>
                                          <p:spTgt spid="6"/>
                                        </p:tgtEl>
                                        <p:attrNameLst>
                                          <p:attrName>ppt_x</p:attrName>
                                        </p:attrNameLst>
                                      </p:cBhvr>
                                      <p:tavLst>
                                        <p:tav tm="0">
                                          <p:val>
                                            <p:strVal val="#ppt_x"/>
                                          </p:val>
                                        </p:tav>
                                        <p:tav tm="100000">
                                          <p:val>
                                            <p:strVal val="#ppt_x"/>
                                          </p:val>
                                        </p:tav>
                                      </p:tavLst>
                                    </p:anim>
                                    <p:anim calcmode="lin" valueType="num">
                                      <p:cBhvr>
                                        <p:cTn dur="1000" fill="hold" id="45"/>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1" spid="2"/>
      <p:bldP grpId="0" spid="3"/>
      <p:bldP grpId="1" spid="3"/>
      <p:bldP grpId="0" spid="4"/>
      <p:bldP grpId="0" spid="6"/>
    </p:bld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8" name="图片 17"/>
          <p:cNvPicPr>
            <a:picLocks noChangeAspect="1"/>
          </p:cNvPicPr>
          <p:nvPr/>
        </p:nvPicPr>
        <p:blipFill>
          <a:blip r:embed="rId3">
            <a:extLst>
              <a:ext uri="{28A0092B-C50C-407E-A947-70E740481C1C}">
                <a14:useLocalDpi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545080" cy="518160"/>
          </a:xfrm>
          <a:prstGeom prst="rect">
            <a:avLst/>
          </a:prstGeom>
          <a:noFill/>
        </p:spPr>
        <p:txBody>
          <a:bodyPr rtlCol="0" wrap="none">
            <a:spAutoFit/>
          </a:bodyPr>
          <a:lstStyle/>
          <a:p>
            <a:r>
              <a:rPr altLang="en-US" lang="zh-CN" spc="300" sz="2800">
                <a:solidFill>
                  <a:srgbClr val="0070C0"/>
                </a:solidFill>
                <a:latin charset="-122" panose="02010600030101010101" pitchFamily="2" typeface="黑体"/>
                <a:ea charset="-122" panose="02010600030101010101" pitchFamily="2" typeface="黑体"/>
              </a:rPr>
              <a:t>单击添加标题</a:t>
            </a:r>
          </a:p>
        </p:txBody>
      </p:sp>
      <p:sp>
        <p:nvSpPr>
          <p:cNvPr id="20" name="TextBox 11"/>
          <p:cNvSpPr txBox="1"/>
          <p:nvPr/>
        </p:nvSpPr>
        <p:spPr>
          <a:xfrm>
            <a:off x="1260292" y="3564725"/>
            <a:ext cx="3884930" cy="426720"/>
          </a:xfrm>
          <a:prstGeom prst="rect">
            <a:avLst/>
          </a:prstGeom>
          <a:noFill/>
        </p:spPr>
        <p:txBody>
          <a:bodyPr rtlCol="0" wrap="none">
            <a:spAutoFit/>
          </a:bodyPr>
          <a:lstStyle/>
          <a:p>
            <a:r>
              <a:rPr altLang="zh-CN" lang="en-US" sz="1100">
                <a:solidFill>
                  <a:schemeClr val="bg1"/>
                </a:solidFill>
                <a:latin charset="-122" panose="01010104010101010101" pitchFamily="2" typeface="汉仪细等线"/>
                <a:ea charset="-122" panose="01010104010101010101" pitchFamily="2" typeface="汉仪细等线"/>
              </a:rPr>
              <a:t>Please click enter to Please click enter add</a:t>
            </a:r>
          </a:p>
          <a:p>
            <a:r>
              <a:rPr altLang="zh-CN" lang="en-US" sz="1100">
                <a:solidFill>
                  <a:schemeClr val="bg1"/>
                </a:solidFill>
                <a:latin charset="-122" panose="01010104010101010101" pitchFamily="2" typeface="汉仪细等线"/>
                <a:ea charset="-122" panose="01010104010101010101" pitchFamily="2" typeface="汉仪细等线"/>
              </a:rPr>
              <a:t>text content Please click enter </a:t>
            </a:r>
          </a:p>
        </p:txBody>
      </p:sp>
      <p:sp>
        <p:nvSpPr>
          <p:cNvPr id="21" name="TextBox 21"/>
          <p:cNvSpPr txBox="1"/>
          <p:nvPr/>
        </p:nvSpPr>
        <p:spPr>
          <a:xfrm>
            <a:off x="1188194" y="1306180"/>
            <a:ext cx="2487930" cy="1844040"/>
          </a:xfrm>
          <a:prstGeom prst="rect">
            <a:avLst/>
          </a:prstGeom>
          <a:noFill/>
        </p:spPr>
        <p:txBody>
          <a:bodyPr rtlCol="0" wrap="none">
            <a:spAutoFit/>
          </a:bodyPr>
          <a:lstStyle/>
          <a:p>
            <a:r>
              <a:rPr altLang="zh-CN" lang="en-US" spc="300" sz="11500">
                <a:solidFill>
                  <a:srgbClr val="0070C0"/>
                </a:solidFill>
                <a:latin charset="-122" panose="02010600030101010101" pitchFamily="2" typeface="黑体"/>
                <a:ea charset="-122" panose="02010600030101010101" pitchFamily="2" typeface="黑体"/>
              </a:rPr>
              <a:t>01.</a:t>
            </a:r>
          </a:p>
        </p:txBody>
      </p:sp>
    </p:spTree>
    <p:extLst>
      <p:ext uri="{BB962C8B-B14F-4D97-AF65-F5344CB8AC3E}">
        <p14:creationId val="3321005204"/>
      </p:ext>
    </p:extLst>
  </p:cSld>
  <p:clrMapOvr>
    <a:masterClrMapping/>
  </p:clrMapOvr>
  <mc:AlternateContent>
    <mc:Choice Requires="p15">
      <p:transition p14:dur="1250" spd="slow">
        <p15:prstTrans prst="airplan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3" id="5" nodeType="afterEffect" presetClass="entr" presetID="10" presetSubtype="0">
                                  <p:stCondLst>
                                    <p:cond delay="0"/>
                                  </p:stCondLst>
                                  <p:childTnLst>
                                    <p:set>
                                      <p:cBhvr>
                                        <p:cTn dur="1" fill="hold" id="6">
                                          <p:stCondLst>
                                            <p:cond delay="0"/>
                                          </p:stCondLst>
                                        </p:cTn>
                                        <p:tgtEl>
                                          <p:spTgt spid="21"/>
                                        </p:tgtEl>
                                        <p:attrNameLst>
                                          <p:attrName>style.visibility</p:attrName>
                                        </p:attrNameLst>
                                      </p:cBhvr>
                                      <p:to>
                                        <p:strVal val="visible"/>
                                      </p:to>
                                    </p:set>
                                    <p:animEffect filter="fade" transition="in">
                                      <p:cBhvr>
                                        <p:cTn dur="500" id="7"/>
                                        <p:tgtEl>
                                          <p:spTgt spid="21"/>
                                        </p:tgtEl>
                                      </p:cBhvr>
                                    </p:animEffect>
                                  </p:childTnLst>
                                </p:cTn>
                              </p:par>
                            </p:childTnLst>
                          </p:cTn>
                        </p:par>
                        <p:par>
                          <p:cTn fill="hold" id="8" nodeType="afterGroup">
                            <p:stCondLst>
                              <p:cond delay="500"/>
                            </p:stCondLst>
                            <p:childTnLst>
                              <p:par>
                                <p:cTn fill="hold" grpId="0" id="9" nodeType="afterEffect" presetClass="emph" presetID="35" presetSubtype="0">
                                  <p:stCondLst>
                                    <p:cond delay="0"/>
                                  </p:stCondLst>
                                  <p:childTnLst>
                                    <p:anim calcmode="discrete" valueType="str">
                                      <p:cBhvr>
                                        <p:cTn dur="1000" fill="hold" id="10"/>
                                        <p:tgtEl>
                                          <p:spTgt spid="21"/>
                                        </p:tgtEl>
                                        <p:attrNameLst>
                                          <p:attrName>style.visibility</p:attrName>
                                        </p:attrNameLst>
                                      </p:cBhvr>
                                      <p:tavLst>
                                        <p:tav tm="0">
                                          <p:val>
                                            <p:strVal val="hidden"/>
                                          </p:val>
                                        </p:tav>
                                        <p:tav tm="50000">
                                          <p:val>
                                            <p:strVal val="visible"/>
                                          </p:val>
                                        </p:tav>
                                      </p:tavLst>
                                    </p:anim>
                                  </p:childTnLst>
                                </p:cTn>
                              </p:par>
                            </p:childTnLst>
                          </p:cTn>
                        </p:par>
                        <p:par>
                          <p:cTn fill="hold" id="11" nodeType="afterGroup">
                            <p:stCondLst>
                              <p:cond delay="1500"/>
                            </p:stCondLst>
                            <p:childTnLst>
                              <p:par>
                                <p:cTn fill="hold" grpId="1" id="12" nodeType="afterEffect" presetClass="emph" presetID="35" presetSubtype="0">
                                  <p:stCondLst>
                                    <p:cond delay="0"/>
                                  </p:stCondLst>
                                  <p:childTnLst>
                                    <p:anim calcmode="discrete" valueType="str">
                                      <p:cBhvr>
                                        <p:cTn dur="1000" fill="hold" id="13"/>
                                        <p:tgtEl>
                                          <p:spTgt spid="21"/>
                                        </p:tgtEl>
                                        <p:attrNameLst>
                                          <p:attrName>style.visibility</p:attrName>
                                        </p:attrNameLst>
                                      </p:cBhvr>
                                      <p:tavLst>
                                        <p:tav tm="0">
                                          <p:val>
                                            <p:strVal val="hidden"/>
                                          </p:val>
                                        </p:tav>
                                        <p:tav tm="50000">
                                          <p:val>
                                            <p:strVal val="visible"/>
                                          </p:val>
                                        </p:tav>
                                      </p:tavLst>
                                    </p:anim>
                                  </p:childTnLst>
                                </p:cTn>
                              </p:par>
                            </p:childTnLst>
                          </p:cTn>
                        </p:par>
                        <p:par>
                          <p:cTn fill="hold" id="14" nodeType="afterGroup">
                            <p:stCondLst>
                              <p:cond delay="2500"/>
                            </p:stCondLst>
                            <p:childTnLst>
                              <p:par>
                                <p:cTn fill="hold" grpId="0" id="15" nodeType="afterEffect" presetClass="entr" presetID="10" presetSubtype="0">
                                  <p:stCondLst>
                                    <p:cond delay="0"/>
                                  </p:stCondLst>
                                  <p:childTnLst>
                                    <p:set>
                                      <p:cBhvr>
                                        <p:cTn dur="1" fill="hold" id="16">
                                          <p:stCondLst>
                                            <p:cond delay="0"/>
                                          </p:stCondLst>
                                        </p:cTn>
                                        <p:tgtEl>
                                          <p:spTgt spid="19"/>
                                        </p:tgtEl>
                                        <p:attrNameLst>
                                          <p:attrName>style.visibility</p:attrName>
                                        </p:attrNameLst>
                                      </p:cBhvr>
                                      <p:to>
                                        <p:strVal val="visible"/>
                                      </p:to>
                                    </p:set>
                                    <p:animEffect filter="fade" transition="in">
                                      <p:cBhvr>
                                        <p:cTn dur="500" id="17"/>
                                        <p:tgtEl>
                                          <p:spTgt spid="19"/>
                                        </p:tgtEl>
                                      </p:cBhvr>
                                    </p:animEffect>
                                  </p:childTnLst>
                                </p:cTn>
                              </p:par>
                            </p:childTnLst>
                          </p:cTn>
                        </p:par>
                        <p:par>
                          <p:cTn fill="hold" id="18" nodeType="afterGroup">
                            <p:stCondLst>
                              <p:cond delay="3000"/>
                            </p:stCondLst>
                            <p:childTnLst>
                              <p:par>
                                <p:cTn fill="hold" grpId="1" id="19" nodeType="afterEffect" presetClass="emph" presetID="26" presetSubtype="0">
                                  <p:stCondLst>
                                    <p:cond delay="0"/>
                                  </p:stCondLst>
                                  <p:childTnLst>
                                    <p:animEffect filter="fade" transition="out">
                                      <p:cBhvr>
                                        <p:cTn dur="500" id="20" tmFilter="0, 0; .2, .5; .8, .5; 1, 0"/>
                                        <p:tgtEl>
                                          <p:spTgt spid="19"/>
                                        </p:tgtEl>
                                      </p:cBhvr>
                                    </p:animEffect>
                                    <p:animScale>
                                      <p:cBhvr>
                                        <p:cTn autoRev="1" dur="250" fill="hold" id="21"/>
                                        <p:tgtEl>
                                          <p:spTgt spid="19"/>
                                        </p:tgtEl>
                                      </p:cBhvr>
                                      <p:by x="105000" y="105000"/>
                                    </p:animScale>
                                  </p:childTnLst>
                                </p:cTn>
                              </p:par>
                            </p:childTnLst>
                          </p:cTn>
                        </p:par>
                        <p:par>
                          <p:cTn fill="hold" id="22" nodeType="afterGroup">
                            <p:stCondLst>
                              <p:cond delay="3500"/>
                            </p:stCondLst>
                            <p:childTnLst>
                              <p:par>
                                <p:cTn fill="hold" grpId="0" id="23" nodeType="afterEffect" presetClass="entr" presetID="41" presetSubtype="0">
                                  <p:stCondLst>
                                    <p:cond delay="0"/>
                                  </p:stCondLst>
                                  <p:iterate type="lt">
                                    <p:tmPct val="10000"/>
                                  </p:iterate>
                                  <p:childTnLst>
                                    <p:set>
                                      <p:cBhvr>
                                        <p:cTn dur="1" fill="hold" id="24">
                                          <p:stCondLst>
                                            <p:cond delay="0"/>
                                          </p:stCondLst>
                                        </p:cTn>
                                        <p:tgtEl>
                                          <p:spTgt spid="20"/>
                                        </p:tgtEl>
                                        <p:attrNameLst>
                                          <p:attrName>style.visibility</p:attrName>
                                        </p:attrNameLst>
                                      </p:cBhvr>
                                      <p:to>
                                        <p:strVal val="visible"/>
                                      </p:to>
                                    </p:set>
                                    <p:anim calcmode="lin" valueType="num">
                                      <p:cBhvr>
                                        <p:cTn dur="200" fill="hold" id="25"/>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dur="200" fill="hold" id="26"/>
                                        <p:tgtEl>
                                          <p:spTgt spid="20"/>
                                        </p:tgtEl>
                                        <p:attrNameLst>
                                          <p:attrName>ppt_y</p:attrName>
                                        </p:attrNameLst>
                                      </p:cBhvr>
                                      <p:tavLst>
                                        <p:tav tm="0">
                                          <p:val>
                                            <p:strVal val="#ppt_y"/>
                                          </p:val>
                                        </p:tav>
                                        <p:tav tm="100000">
                                          <p:val>
                                            <p:strVal val="#ppt_y"/>
                                          </p:val>
                                        </p:tav>
                                      </p:tavLst>
                                    </p:anim>
                                    <p:anim calcmode="lin" valueType="num">
                                      <p:cBhvr>
                                        <p:cTn dur="200" fill="hold" id="27"/>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dur="200" fill="hold" id="28"/>
                                        <p:tgtEl>
                                          <p:spTgt spid="20"/>
                                        </p:tgtEl>
                                        <p:attrNameLst>
                                          <p:attrName>ppt_w</p:attrName>
                                        </p:attrNameLst>
                                      </p:cBhvr>
                                      <p:tavLst>
                                        <p:tav tm="0">
                                          <p:val>
                                            <p:strVal val="#ppt_w/10"/>
                                          </p:val>
                                        </p:tav>
                                        <p:tav tm="50000">
                                          <p:val>
                                            <p:strVal val="#ppt_w+.01"/>
                                          </p:val>
                                        </p:tav>
                                        <p:tav tm="100000">
                                          <p:val>
                                            <p:strVal val="#ppt_w"/>
                                          </p:val>
                                        </p:tav>
                                      </p:tavLst>
                                    </p:anim>
                                    <p:animEffect filter="fade" transition="in">
                                      <p:cBhvr>
                                        <p:cTn dur="200" id="29" tmFilter="0,0; .5, 1; 1, 1"/>
                                        <p:tgtEl>
                                          <p:spTgt spid="2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9"/>
      <p:bldP grpId="1" spid="19"/>
      <p:bldP grpId="0" spid="20"/>
      <p:bldP grpId="0" spid="21"/>
      <p:bldP grpId="1" spid="21"/>
      <p:bldP grpId="3" spid="21"/>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typeface="+mn-ea"/>
              </a:endParaRPr>
            </a:p>
          </p:txBody>
        </p:sp>
        <p:sp>
          <p:nvSpPr>
            <p:cNvPr id="25" name="文本框 43"/>
            <p:cNvSpPr txBox="1"/>
            <p:nvPr/>
          </p:nvSpPr>
          <p:spPr>
            <a:xfrm>
              <a:off x="1268979" y="2114416"/>
              <a:ext cx="876197" cy="466657"/>
            </a:xfrm>
            <a:prstGeom prst="rect">
              <a:avLst/>
            </a:prstGeom>
            <a:grpFill/>
            <a:ln>
              <a:noFill/>
            </a:ln>
          </p:spPr>
          <p:txBody>
            <a:bodyPr bIns="45708" lIns="91416" rIns="91416" rtlCol="0" tIns="45708" wrap="none">
              <a:spAutoFit/>
            </a:bodyPr>
            <a:lstStyle/>
            <a:p>
              <a:pPr algn="ctr"/>
              <a:r>
                <a:rPr altLang="zh-CN" lang="en-US" sz="2400">
                  <a:solidFill>
                    <a:schemeClr val="bg1"/>
                  </a:solidFill>
                  <a:latin typeface="+mn-ea"/>
                </a:rPr>
                <a:t>2015</a:t>
              </a: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typeface="+mn-ea"/>
              </a:endParaRPr>
            </a:p>
          </p:txBody>
        </p:sp>
        <p:sp>
          <p:nvSpPr>
            <p:cNvPr id="28" name="文本框 39"/>
            <p:cNvSpPr txBox="1"/>
            <p:nvPr/>
          </p:nvSpPr>
          <p:spPr>
            <a:xfrm>
              <a:off x="3174667" y="2111444"/>
              <a:ext cx="876197" cy="466657"/>
            </a:xfrm>
            <a:prstGeom prst="rect">
              <a:avLst/>
            </a:prstGeom>
            <a:noFill/>
          </p:spPr>
          <p:txBody>
            <a:bodyPr bIns="45708" lIns="91416" rIns="91416" rtlCol="0" tIns="45708" wrap="none">
              <a:spAutoFit/>
            </a:bodyPr>
            <a:lstStyle/>
            <a:p>
              <a:pPr algn="ctr"/>
              <a:r>
                <a:rPr altLang="zh-CN" lang="en-US" sz="2400">
                  <a:solidFill>
                    <a:schemeClr val="bg1"/>
                  </a:solidFill>
                  <a:latin typeface="+mn-ea"/>
                </a:rPr>
                <a:t>2016</a:t>
              </a: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typeface="+mn-ea"/>
              </a:endParaRPr>
            </a:p>
          </p:txBody>
        </p:sp>
        <p:sp>
          <p:nvSpPr>
            <p:cNvPr id="34" name="文本框 40"/>
            <p:cNvSpPr txBox="1"/>
            <p:nvPr/>
          </p:nvSpPr>
          <p:spPr>
            <a:xfrm>
              <a:off x="5080356" y="2111444"/>
              <a:ext cx="876197" cy="466657"/>
            </a:xfrm>
            <a:prstGeom prst="rect">
              <a:avLst/>
            </a:prstGeom>
            <a:solidFill>
              <a:srgbClr val="00AEEF"/>
            </a:solidFill>
            <a:ln>
              <a:noFill/>
            </a:ln>
          </p:spPr>
          <p:txBody>
            <a:bodyPr bIns="45708" lIns="91416" rIns="91416" rtlCol="0" tIns="45708" wrap="none">
              <a:spAutoFit/>
            </a:bodyPr>
            <a:lstStyle/>
            <a:p>
              <a:pPr algn="ctr"/>
              <a:r>
                <a:rPr altLang="zh-CN" lang="en-US" sz="2400">
                  <a:solidFill>
                    <a:schemeClr val="bg1"/>
                  </a:solidFill>
                  <a:latin typeface="+mn-ea"/>
                </a:rPr>
                <a:t>2017</a:t>
              </a: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8" lIns="91416" rIns="91416" rtlCol="0" tIns="45708"/>
            <a:lstStyle/>
            <a:p>
              <a:pPr algn="ctr"/>
              <a:endParaRPr altLang="en-US" lang="zh-CN" sz="2400">
                <a:latin typeface="+mn-ea"/>
              </a:endParaRPr>
            </a:p>
          </p:txBody>
        </p:sp>
        <p:sp>
          <p:nvSpPr>
            <p:cNvPr id="38" name="文本框 41"/>
            <p:cNvSpPr txBox="1"/>
            <p:nvPr/>
          </p:nvSpPr>
          <p:spPr>
            <a:xfrm>
              <a:off x="6986044" y="2111444"/>
              <a:ext cx="876197" cy="466657"/>
            </a:xfrm>
            <a:prstGeom prst="rect">
              <a:avLst/>
            </a:prstGeom>
            <a:noFill/>
          </p:spPr>
          <p:txBody>
            <a:bodyPr bIns="45708" lIns="91416" rIns="91416" rtlCol="0" tIns="45708" wrap="none">
              <a:spAutoFit/>
            </a:bodyPr>
            <a:lstStyle/>
            <a:p>
              <a:pPr algn="ctr"/>
              <a:r>
                <a:rPr altLang="zh-CN" lang="en-US" sz="2400">
                  <a:solidFill>
                    <a:schemeClr val="bg1"/>
                  </a:solidFill>
                  <a:latin typeface="+mn-ea"/>
                </a:rPr>
                <a:t>2018</a:t>
              </a: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1" name="Freeform 19"/>
            <p:cNvSpPr/>
            <p:nvPr/>
          </p:nvSpPr>
          <p:spPr bwMode="auto">
            <a:xfrm>
              <a:off x="5511805" y="1344614"/>
              <a:ext cx="860427" cy="760411"/>
            </a:xfrm>
            <a:custGeom>
              <a:gdLst>
                <a:gd fmla="*/ 201 w 301" name="T0"/>
                <a:gd fmla="*/ 0 h 266" name="T1"/>
                <a:gd fmla="*/ 151 w 301" name="T2"/>
                <a:gd fmla="*/ 67 h 266" name="T3"/>
                <a:gd fmla="*/ 101 w 301" name="T4"/>
                <a:gd fmla="*/ 0 h 266" name="T5"/>
                <a:gd fmla="*/ 0 w 301" name="T6"/>
                <a:gd fmla="*/ 144 h 266" name="T7"/>
                <a:gd fmla="*/ 0 w 301" name="T8"/>
                <a:gd fmla="*/ 235 h 266" name="T9"/>
                <a:gd fmla="*/ 0 w 301" name="T10"/>
                <a:gd fmla="*/ 235 h 266" name="T11"/>
                <a:gd fmla="*/ 151 w 301" name="T12"/>
                <a:gd fmla="*/ 266 h 266" name="T13"/>
                <a:gd fmla="*/ 301 w 301" name="T14"/>
                <a:gd fmla="*/ 235 h 266" name="T15"/>
                <a:gd fmla="*/ 301 w 301" name="T16"/>
                <a:gd fmla="*/ 235 h 266" name="T17"/>
                <a:gd fmla="*/ 301 w 301" name="T18"/>
                <a:gd fmla="*/ 144 h 266" name="T19"/>
                <a:gd fmla="*/ 201 w 301" name="T20"/>
                <a:gd fmla="*/ 0 h 26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66" w="301">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2" name="Freeform 20"/>
            <p:cNvSpPr/>
            <p:nvPr/>
          </p:nvSpPr>
          <p:spPr bwMode="auto">
            <a:xfrm>
              <a:off x="5900744" y="1319215"/>
              <a:ext cx="85725" cy="50798"/>
            </a:xfrm>
            <a:custGeom>
              <a:gdLst>
                <a:gd fmla="*/ 30 w 30" name="T0"/>
                <a:gd fmla="*/ 1 h 18" name="T1"/>
                <a:gd fmla="*/ 15 w 30" name="T2"/>
                <a:gd fmla="*/ 0 h 18" name="T3"/>
                <a:gd fmla="*/ 1 w 30" name="T4"/>
                <a:gd fmla="*/ 1 h 18" name="T5"/>
                <a:gd fmla="*/ 7 w 30" name="T6"/>
                <a:gd fmla="*/ 18 h 18" name="T7"/>
                <a:gd fmla="*/ 24 w 30" name="T8"/>
                <a:gd fmla="*/ 18 h 18" name="T9"/>
                <a:gd fmla="*/ 30 w 30" name="T10"/>
                <a:gd fmla="*/ 1 h 18" name="T11"/>
              </a:gdLst>
              <a:cxnLst>
                <a:cxn ang="0">
                  <a:pos x="T0" y="T1"/>
                </a:cxn>
                <a:cxn ang="0">
                  <a:pos x="T2" y="T3"/>
                </a:cxn>
                <a:cxn ang="0">
                  <a:pos x="T4" y="T5"/>
                </a:cxn>
                <a:cxn ang="0">
                  <a:pos x="T6" y="T7"/>
                </a:cxn>
                <a:cxn ang="0">
                  <a:pos x="T8" y="T9"/>
                </a:cxn>
                <a:cxn ang="0">
                  <a:pos x="T10" y="T11"/>
                </a:cxn>
              </a:cxnLst>
              <a:rect b="b" l="0" r="r" t="0"/>
              <a:pathLst>
                <a:path h="18" w="30">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3" name="Freeform 21"/>
            <p:cNvSpPr/>
            <p:nvPr/>
          </p:nvSpPr>
          <p:spPr bwMode="auto">
            <a:xfrm>
              <a:off x="5894396" y="1377952"/>
              <a:ext cx="95249" cy="130175"/>
            </a:xfrm>
            <a:custGeom>
              <a:gdLst>
                <a:gd fmla="*/ 15 w 60" name="T0"/>
                <a:gd fmla="*/ 0 h 82" name="T1"/>
                <a:gd fmla="*/ 47 w 60" name="T2"/>
                <a:gd fmla="*/ 0 h 82" name="T3"/>
                <a:gd fmla="*/ 60 w 60" name="T4"/>
                <a:gd fmla="*/ 47 h 82" name="T5"/>
                <a:gd fmla="*/ 31 w 60" name="T6"/>
                <a:gd fmla="*/ 82 h 82" name="T7"/>
                <a:gd fmla="*/ 0 w 60" name="T8"/>
                <a:gd fmla="*/ 47 h 82" name="T9"/>
                <a:gd fmla="*/ 15 w 60" name="T10"/>
                <a:gd fmla="*/ 0 h 82" name="T11"/>
              </a:gdLst>
              <a:cxnLst>
                <a:cxn ang="0">
                  <a:pos x="T0" y="T1"/>
                </a:cxn>
                <a:cxn ang="0">
                  <a:pos x="T2" y="T3"/>
                </a:cxn>
                <a:cxn ang="0">
                  <a:pos x="T4" y="T5"/>
                </a:cxn>
                <a:cxn ang="0">
                  <a:pos x="T6" y="T7"/>
                </a:cxn>
                <a:cxn ang="0">
                  <a:pos x="T8" y="T9"/>
                </a:cxn>
                <a:cxn ang="0">
                  <a:pos x="T10" y="T11"/>
                </a:cxn>
              </a:cxnLst>
              <a:rect b="b" l="0" r="r" t="0"/>
              <a:pathLst>
                <a:path h="82" w="60">
                  <a:moveTo>
                    <a:pt x="15" y="0"/>
                  </a:moveTo>
                  <a:lnTo>
                    <a:pt x="47" y="0"/>
                  </a:lnTo>
                  <a:lnTo>
                    <a:pt x="60" y="47"/>
                  </a:lnTo>
                  <a:lnTo>
                    <a:pt x="31" y="82"/>
                  </a:lnTo>
                  <a:lnTo>
                    <a:pt x="0" y="47"/>
                  </a:lnTo>
                  <a:lnTo>
                    <a:pt x="15" y="0"/>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4" name="Freeform 22"/>
            <p:cNvSpPr/>
            <p:nvPr/>
          </p:nvSpPr>
          <p:spPr bwMode="auto">
            <a:xfrm>
              <a:off x="5432433" y="1427162"/>
              <a:ext cx="71438" cy="96838"/>
            </a:xfrm>
            <a:custGeom>
              <a:gdLst>
                <a:gd fmla="*/ 23 w 45" name="T0"/>
                <a:gd fmla="*/ 61 h 61" name="T1"/>
                <a:gd fmla="*/ 45 w 45" name="T2"/>
                <a:gd fmla="*/ 34 h 61" name="T3"/>
                <a:gd fmla="*/ 34 w 45" name="T4"/>
                <a:gd fmla="*/ 0 h 61" name="T5"/>
                <a:gd fmla="*/ 11 w 45" name="T6"/>
                <a:gd fmla="*/ 0 h 61" name="T7"/>
                <a:gd fmla="*/ 0 w 45" name="T8"/>
                <a:gd fmla="*/ 34 h 61" name="T9"/>
                <a:gd fmla="*/ 23 w 45" name="T10"/>
                <a:gd fmla="*/ 61 h 61" name="T11"/>
              </a:gdLst>
              <a:cxnLst>
                <a:cxn ang="0">
                  <a:pos x="T0" y="T1"/>
                </a:cxn>
                <a:cxn ang="0">
                  <a:pos x="T2" y="T3"/>
                </a:cxn>
                <a:cxn ang="0">
                  <a:pos x="T4" y="T5"/>
                </a:cxn>
                <a:cxn ang="0">
                  <a:pos x="T6" y="T7"/>
                </a:cxn>
                <a:cxn ang="0">
                  <a:pos x="T8" y="T9"/>
                </a:cxn>
                <a:cxn ang="0">
                  <a:pos x="T10" y="T11"/>
                </a:cxn>
              </a:cxnLst>
              <a:rect b="b" l="0" r="r" t="0"/>
              <a:pathLst>
                <a:path h="61" w="45">
                  <a:moveTo>
                    <a:pt x="23" y="61"/>
                  </a:moveTo>
                  <a:lnTo>
                    <a:pt x="45" y="34"/>
                  </a:lnTo>
                  <a:lnTo>
                    <a:pt x="34" y="0"/>
                  </a:lnTo>
                  <a:lnTo>
                    <a:pt x="11" y="0"/>
                  </a:lnTo>
                  <a:lnTo>
                    <a:pt x="0" y="34"/>
                  </a:lnTo>
                  <a:lnTo>
                    <a:pt x="23" y="61"/>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5" name="Freeform 23"/>
            <p:cNvSpPr/>
            <p:nvPr/>
          </p:nvSpPr>
          <p:spPr bwMode="auto">
            <a:xfrm>
              <a:off x="5146681" y="1401763"/>
              <a:ext cx="465139" cy="568324"/>
            </a:xfrm>
            <a:custGeom>
              <a:gdLst>
                <a:gd fmla="*/ 150 w 163" name="T0"/>
                <a:gd fmla="*/ 0 h 199" name="T1"/>
                <a:gd fmla="*/ 113 w 163" name="T2"/>
                <a:gd fmla="*/ 50 h 199" name="T3"/>
                <a:gd fmla="*/ 75 w 163" name="T4"/>
                <a:gd fmla="*/ 0 h 199" name="T5"/>
                <a:gd fmla="*/ 0 w 163" name="T6"/>
                <a:gd fmla="*/ 108 h 199" name="T7"/>
                <a:gd fmla="*/ 0 w 163" name="T8"/>
                <a:gd fmla="*/ 176 h 199" name="T9"/>
                <a:gd fmla="*/ 0 w 163" name="T10"/>
                <a:gd fmla="*/ 176 h 199" name="T11"/>
                <a:gd fmla="*/ 113 w 163" name="T12"/>
                <a:gd fmla="*/ 199 h 199" name="T13"/>
                <a:gd fmla="*/ 114 w 163" name="T14"/>
                <a:gd fmla="*/ 199 h 199" name="T15"/>
                <a:gd fmla="*/ 114 w 163" name="T16"/>
                <a:gd fmla="*/ 124 h 199" name="T17"/>
                <a:gd fmla="*/ 163 w 163" name="T18"/>
                <a:gd fmla="*/ 6 h 199" name="T19"/>
                <a:gd fmla="*/ 150 w 163" name="T20"/>
                <a:gd fmla="*/ 0 h 199"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99" w="163">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6" name="Freeform 24"/>
            <p:cNvSpPr/>
            <p:nvPr/>
          </p:nvSpPr>
          <p:spPr bwMode="auto">
            <a:xfrm>
              <a:off x="5438781" y="1381127"/>
              <a:ext cx="61913" cy="41276"/>
            </a:xfrm>
            <a:custGeom>
              <a:gdLst>
                <a:gd fmla="*/ 18 w 22" name="T0"/>
                <a:gd fmla="*/ 14 h 14" name="T1"/>
                <a:gd fmla="*/ 22 w 22" name="T2"/>
                <a:gd fmla="*/ 1 h 14" name="T3"/>
                <a:gd fmla="*/ 11 w 22" name="T4"/>
                <a:gd fmla="*/ 0 h 14" name="T5"/>
                <a:gd fmla="*/ 0 w 22" name="T6"/>
                <a:gd fmla="*/ 1 h 14" name="T7"/>
                <a:gd fmla="*/ 5 w 22" name="T8"/>
                <a:gd fmla="*/ 14 h 14" name="T9"/>
                <a:gd fmla="*/ 18 w 22" name="T10"/>
                <a:gd fmla="*/ 14 h 14" name="T11"/>
              </a:gdLst>
              <a:cxnLst>
                <a:cxn ang="0">
                  <a:pos x="T0" y="T1"/>
                </a:cxn>
                <a:cxn ang="0">
                  <a:pos x="T2" y="T3"/>
                </a:cxn>
                <a:cxn ang="0">
                  <a:pos x="T4" y="T5"/>
                </a:cxn>
                <a:cxn ang="0">
                  <a:pos x="T6" y="T7"/>
                </a:cxn>
                <a:cxn ang="0">
                  <a:pos x="T8" y="T9"/>
                </a:cxn>
                <a:cxn ang="0">
                  <a:pos x="T10" y="T11"/>
                </a:cxn>
              </a:cxnLst>
              <a:rect b="b" l="0" r="r" t="0"/>
              <a:pathLst>
                <a:path h="14" w="22">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8" name="Freeform 26"/>
            <p:cNvSpPr/>
            <p:nvPr/>
          </p:nvSpPr>
          <p:spPr bwMode="auto">
            <a:xfrm>
              <a:off x="6386523" y="1381127"/>
              <a:ext cx="61913" cy="41276"/>
            </a:xfrm>
            <a:custGeom>
              <a:gdLst>
                <a:gd fmla="*/ 17 w 22" name="T0"/>
                <a:gd fmla="*/ 14 h 14" name="T1"/>
                <a:gd fmla="*/ 22 w 22" name="T2"/>
                <a:gd fmla="*/ 1 h 14" name="T3"/>
                <a:gd fmla="*/ 11 w 22" name="T4"/>
                <a:gd fmla="*/ 0 h 14" name="T5"/>
                <a:gd fmla="*/ 0 w 22" name="T6"/>
                <a:gd fmla="*/ 1 h 14" name="T7"/>
                <a:gd fmla="*/ 5 w 22" name="T8"/>
                <a:gd fmla="*/ 14 h 14" name="T9"/>
                <a:gd fmla="*/ 17 w 22" name="T10"/>
                <a:gd fmla="*/ 14 h 14" name="T11"/>
              </a:gdLst>
              <a:cxnLst>
                <a:cxn ang="0">
                  <a:pos x="T0" y="T1"/>
                </a:cxn>
                <a:cxn ang="0">
                  <a:pos x="T2" y="T3"/>
                </a:cxn>
                <a:cxn ang="0">
                  <a:pos x="T4" y="T5"/>
                </a:cxn>
                <a:cxn ang="0">
                  <a:pos x="T6" y="T7"/>
                </a:cxn>
                <a:cxn ang="0">
                  <a:pos x="T8" y="T9"/>
                </a:cxn>
                <a:cxn ang="0">
                  <a:pos x="T10" y="T11"/>
                </a:cxn>
              </a:cxnLst>
              <a:rect b="b" l="0" r="r" t="0"/>
              <a:pathLst>
                <a:path h="14" w="22">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49" name="Freeform 27"/>
            <p:cNvSpPr/>
            <p:nvPr/>
          </p:nvSpPr>
          <p:spPr bwMode="auto">
            <a:xfrm>
              <a:off x="6380170" y="1427162"/>
              <a:ext cx="71438" cy="96838"/>
            </a:xfrm>
            <a:custGeom>
              <a:gdLst>
                <a:gd fmla="*/ 24 w 45" name="T0"/>
                <a:gd fmla="*/ 61 h 61" name="T1"/>
                <a:gd fmla="*/ 45 w 45" name="T2"/>
                <a:gd fmla="*/ 34 h 61" name="T3"/>
                <a:gd fmla="*/ 34 w 45" name="T4"/>
                <a:gd fmla="*/ 0 h 61" name="T5"/>
                <a:gd fmla="*/ 11 w 45" name="T6"/>
                <a:gd fmla="*/ 0 h 61" name="T7"/>
                <a:gd fmla="*/ 0 w 45" name="T8"/>
                <a:gd fmla="*/ 34 h 61" name="T9"/>
                <a:gd fmla="*/ 24 w 45" name="T10"/>
                <a:gd fmla="*/ 61 h 61" name="T11"/>
              </a:gdLst>
              <a:cxnLst>
                <a:cxn ang="0">
                  <a:pos x="T0" y="T1"/>
                </a:cxn>
                <a:cxn ang="0">
                  <a:pos x="T2" y="T3"/>
                </a:cxn>
                <a:cxn ang="0">
                  <a:pos x="T4" y="T5"/>
                </a:cxn>
                <a:cxn ang="0">
                  <a:pos x="T6" y="T7"/>
                </a:cxn>
                <a:cxn ang="0">
                  <a:pos x="T8" y="T9"/>
                </a:cxn>
                <a:cxn ang="0">
                  <a:pos x="T10" y="T11"/>
                </a:cxn>
              </a:cxnLst>
              <a:rect b="b" l="0" r="r" t="0"/>
              <a:pathLst>
                <a:path h="61" w="45">
                  <a:moveTo>
                    <a:pt x="24" y="61"/>
                  </a:moveTo>
                  <a:lnTo>
                    <a:pt x="45" y="34"/>
                  </a:lnTo>
                  <a:lnTo>
                    <a:pt x="34" y="0"/>
                  </a:lnTo>
                  <a:lnTo>
                    <a:pt x="11" y="0"/>
                  </a:lnTo>
                  <a:lnTo>
                    <a:pt x="0" y="34"/>
                  </a:lnTo>
                  <a:lnTo>
                    <a:pt x="24" y="61"/>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51" name="Freeform 29"/>
            <p:cNvSpPr/>
            <p:nvPr/>
          </p:nvSpPr>
          <p:spPr bwMode="auto">
            <a:xfrm>
              <a:off x="6272212" y="1401763"/>
              <a:ext cx="465139" cy="568324"/>
            </a:xfrm>
            <a:custGeom>
              <a:gdLst>
                <a:gd fmla="*/ 88 w 163" name="T0"/>
                <a:gd fmla="*/ 0 h 199" name="T1"/>
                <a:gd fmla="*/ 51 w 163" name="T2"/>
                <a:gd fmla="*/ 50 h 199" name="T3"/>
                <a:gd fmla="*/ 13 w 163" name="T4"/>
                <a:gd fmla="*/ 0 h 199" name="T5"/>
                <a:gd fmla="*/ 0 w 163" name="T6"/>
                <a:gd fmla="*/ 6 h 199" name="T7"/>
                <a:gd fmla="*/ 49 w 163" name="T8"/>
                <a:gd fmla="*/ 124 h 199" name="T9"/>
                <a:gd fmla="*/ 49 w 163" name="T10"/>
                <a:gd fmla="*/ 199 h 199" name="T11"/>
                <a:gd fmla="*/ 51 w 163" name="T12"/>
                <a:gd fmla="*/ 199 h 199" name="T13"/>
                <a:gd fmla="*/ 163 w 163" name="T14"/>
                <a:gd fmla="*/ 176 h 199" name="T15"/>
                <a:gd fmla="*/ 163 w 163" name="T16"/>
                <a:gd fmla="*/ 176 h 199" name="T17"/>
                <a:gd fmla="*/ 163 w 163" name="T18"/>
                <a:gd fmla="*/ 108 h 199" name="T19"/>
                <a:gd fmla="*/ 88 w 163" name="T20"/>
                <a:gd fmla="*/ 0 h 199"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99" w="163">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gdLst>
                <a:gd fmla="*/ 256 w 281" name="T0"/>
                <a:gd fmla="*/ 26 h 282" name="T1"/>
                <a:gd fmla="*/ 163 w 281" name="T2"/>
                <a:gd fmla="*/ 26 h 282" name="T3"/>
                <a:gd fmla="*/ 0 w 281" name="T4"/>
                <a:gd fmla="*/ 190 h 282" name="T5"/>
                <a:gd fmla="*/ 92 w 281" name="T6"/>
                <a:gd fmla="*/ 282 h 282" name="T7"/>
                <a:gd fmla="*/ 256 w 281" name="T8"/>
                <a:gd fmla="*/ 119 h 282" name="T9"/>
                <a:gd fmla="*/ 256 w 281" name="T10"/>
                <a:gd fmla="*/ 26 h 282" name="T11"/>
                <a:gd fmla="*/ 55 w 281" name="T12"/>
                <a:gd fmla="*/ 192 h 282" name="T13"/>
                <a:gd fmla="*/ 44 w 281" name="T14"/>
                <a:gd fmla="*/ 181 h 282" name="T15"/>
                <a:gd fmla="*/ 183 w 281" name="T16"/>
                <a:gd fmla="*/ 42 h 282" name="T17"/>
                <a:gd fmla="*/ 194 w 281" name="T18"/>
                <a:gd fmla="*/ 42 h 282" name="T19"/>
                <a:gd fmla="*/ 194 w 281" name="T20"/>
                <a:gd fmla="*/ 53 h 282" name="T21"/>
                <a:gd fmla="*/ 55 w 281" name="T22"/>
                <a:gd fmla="*/ 192 h 282" name="T23"/>
                <a:gd fmla="*/ 78 w 281" name="T24"/>
                <a:gd fmla="*/ 215 h 282" name="T25"/>
                <a:gd fmla="*/ 67 w 281" name="T26"/>
                <a:gd fmla="*/ 204 h 282" name="T27"/>
                <a:gd fmla="*/ 217 w 281" name="T28"/>
                <a:gd fmla="*/ 54 h 282" name="T29"/>
                <a:gd fmla="*/ 228 w 281" name="T30"/>
                <a:gd fmla="*/ 54 h 282" name="T31"/>
                <a:gd fmla="*/ 228 w 281" name="T32"/>
                <a:gd fmla="*/ 65 h 282" name="T33"/>
                <a:gd fmla="*/ 78 w 281" name="T34"/>
                <a:gd fmla="*/ 215 h 282" name="T35"/>
                <a:gd fmla="*/ 101 w 281" name="T36"/>
                <a:gd fmla="*/ 238 h 282" name="T37"/>
                <a:gd fmla="*/ 90 w 281" name="T38"/>
                <a:gd fmla="*/ 227 h 282" name="T39"/>
                <a:gd fmla="*/ 229 w 281" name="T40"/>
                <a:gd fmla="*/ 88 h 282" name="T41"/>
                <a:gd fmla="*/ 240 w 281" name="T42"/>
                <a:gd fmla="*/ 88 h 282" name="T43"/>
                <a:gd fmla="*/ 240 w 281" name="T44"/>
                <a:gd fmla="*/ 99 h 282" name="T45"/>
                <a:gd fmla="*/ 101 w 281" name="T46"/>
                <a:gd fmla="*/ 238 h 282" name="T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b="b" l="0" r="r" t="0"/>
              <a:pathLst>
                <a:path h="282" w="281">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sp>
          <p:nvSpPr>
            <p:cNvPr id="54" name="Freeform 68"/>
            <p:cNvSpPr/>
            <p:nvPr/>
          </p:nvSpPr>
          <p:spPr bwMode="auto">
            <a:xfrm>
              <a:off x="5375275" y="3662363"/>
              <a:ext cx="554038" cy="558800"/>
            </a:xfrm>
            <a:custGeom>
              <a:gdLst>
                <a:gd fmla="*/ 227 w 349" name="T0"/>
                <a:gd fmla="*/ 209 h 352" name="T1"/>
                <a:gd fmla="*/ 210 w 349" name="T2"/>
                <a:gd fmla="*/ 193 h 352" name="T3"/>
                <a:gd fmla="*/ 349 w 349" name="T4"/>
                <a:gd fmla="*/ 54 h 352" name="T5"/>
                <a:gd fmla="*/ 295 w 349" name="T6"/>
                <a:gd fmla="*/ 0 h 352" name="T7"/>
                <a:gd fmla="*/ 156 w 349" name="T8"/>
                <a:gd fmla="*/ 139 h 352" name="T9"/>
                <a:gd fmla="*/ 142 w 349" name="T10"/>
                <a:gd fmla="*/ 125 h 352" name="T11"/>
                <a:gd fmla="*/ 110 w 349" name="T12"/>
                <a:gd fmla="*/ 141 h 352" name="T13"/>
                <a:gd fmla="*/ 0 w 349" name="T14"/>
                <a:gd fmla="*/ 317 h 352" name="T15"/>
                <a:gd fmla="*/ 32 w 349" name="T16"/>
                <a:gd fmla="*/ 352 h 352" name="T17"/>
                <a:gd fmla="*/ 207 w 349" name="T18"/>
                <a:gd fmla="*/ 242 h 352" name="T19"/>
                <a:gd fmla="*/ 227 w 349" name="T20"/>
                <a:gd fmla="*/ 209 h 35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52" w="349">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sp>
          <p:nvSpPr>
            <p:cNvPr id="55" name="Freeform 69"/>
            <p:cNvSpPr/>
            <p:nvPr/>
          </p:nvSpPr>
          <p:spPr bwMode="auto">
            <a:xfrm>
              <a:off x="5278438" y="2986088"/>
              <a:ext cx="590550" cy="590550"/>
            </a:xfrm>
            <a:custGeom>
              <a:gdLst>
                <a:gd fmla="*/ 104 w 207" name="T0"/>
                <a:gd fmla="*/ 0 h 207" name="T1"/>
                <a:gd fmla="*/ 78 w 207" name="T2"/>
                <a:gd fmla="*/ 3 h 207" name="T3"/>
                <a:gd fmla="*/ 81 w 207" name="T4"/>
                <a:gd fmla="*/ 5 h 207" name="T5"/>
                <a:gd fmla="*/ 118 w 207" name="T6"/>
                <a:gd fmla="*/ 43 h 207" name="T7"/>
                <a:gd fmla="*/ 118 w 207" name="T8"/>
                <a:gd fmla="*/ 112 h 207" name="T9"/>
                <a:gd fmla="*/ 49 w 207" name="T10"/>
                <a:gd fmla="*/ 112 h 207" name="T11"/>
                <a:gd fmla="*/ 12 w 207" name="T12"/>
                <a:gd fmla="*/ 74 h 207" name="T13"/>
                <a:gd fmla="*/ 7 w 207" name="T14"/>
                <a:gd fmla="*/ 68 h 207" name="T15"/>
                <a:gd fmla="*/ 0 w 207" name="T16"/>
                <a:gd fmla="*/ 103 h 207" name="T17"/>
                <a:gd fmla="*/ 104 w 207" name="T18"/>
                <a:gd fmla="*/ 207 h 207" name="T19"/>
                <a:gd fmla="*/ 207 w 207" name="T20"/>
                <a:gd fmla="*/ 103 h 207" name="T21"/>
                <a:gd fmla="*/ 104 w 207" name="T22"/>
                <a:gd fmla="*/ 0 h 207"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206" w="206">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sp>
          <p:nvSpPr>
            <p:cNvPr id="56" name="Freeform 70"/>
            <p:cNvSpPr>
              <a:spLocks noEditPoints="1"/>
            </p:cNvSpPr>
            <p:nvPr/>
          </p:nvSpPr>
          <p:spPr bwMode="auto">
            <a:xfrm>
              <a:off x="6008688" y="3686176"/>
              <a:ext cx="531813" cy="531813"/>
            </a:xfrm>
            <a:custGeom>
              <a:gdLst>
                <a:gd fmla="*/ 164 w 186" name="T0"/>
                <a:gd fmla="*/ 164 h 186" name="T1"/>
                <a:gd fmla="*/ 164 w 186" name="T2"/>
                <a:gd fmla="*/ 83 h 186" name="T3"/>
                <a:gd fmla="*/ 81 w 186" name="T4"/>
                <a:gd fmla="*/ 0 h 186" name="T5"/>
                <a:gd fmla="*/ 0 w 186" name="T6"/>
                <a:gd fmla="*/ 81 h 186" name="T7"/>
                <a:gd fmla="*/ 82 w 186" name="T8"/>
                <a:gd fmla="*/ 164 h 186" name="T9"/>
                <a:gd fmla="*/ 164 w 186" name="T10"/>
                <a:gd fmla="*/ 164 h 186" name="T11"/>
                <a:gd fmla="*/ 109 w 186" name="T12"/>
                <a:gd fmla="*/ 109 h 186" name="T13"/>
                <a:gd fmla="*/ 142 w 186" name="T14"/>
                <a:gd fmla="*/ 109 h 186" name="T15"/>
                <a:gd fmla="*/ 142 w 186" name="T16"/>
                <a:gd fmla="*/ 143 h 186" name="T17"/>
                <a:gd fmla="*/ 109 w 186" name="T18"/>
                <a:gd fmla="*/ 143 h 186" name="T19"/>
                <a:gd fmla="*/ 109 w 186" name="T20"/>
                <a:gd fmla="*/ 109 h 18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86" w="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gdLst>
                <a:gd fmla="*/ 69 w 79" name="T0"/>
                <a:gd fmla="*/ 40 h 105" name="T1"/>
                <a:gd fmla="*/ 70 w 79" name="T2"/>
                <a:gd fmla="*/ 3 h 105" name="T3"/>
                <a:gd fmla="*/ 52 w 79" name="T4"/>
                <a:gd fmla="*/ 0 h 105" name="T5"/>
                <a:gd fmla="*/ 0 w 79" name="T6"/>
                <a:gd fmla="*/ 52 h 105" name="T7"/>
                <a:gd fmla="*/ 52 w 79" name="T8"/>
                <a:gd fmla="*/ 105 h 105" name="T9"/>
                <a:gd fmla="*/ 79 w 79" name="T10"/>
                <a:gd fmla="*/ 97 h 105" name="T11"/>
                <a:gd fmla="*/ 69 w 79" name="T12"/>
                <a:gd fmla="*/ 40 h 105" name="T13"/>
              </a:gdLst>
              <a:cxnLst>
                <a:cxn ang="0">
                  <a:pos x="T0" y="T1"/>
                </a:cxn>
                <a:cxn ang="0">
                  <a:pos x="T2" y="T3"/>
                </a:cxn>
                <a:cxn ang="0">
                  <a:pos x="T4" y="T5"/>
                </a:cxn>
                <a:cxn ang="0">
                  <a:pos x="T6" y="T7"/>
                </a:cxn>
                <a:cxn ang="0">
                  <a:pos x="T8" y="T9"/>
                </a:cxn>
                <a:cxn ang="0">
                  <a:pos x="T10" y="T11"/>
                </a:cxn>
                <a:cxn ang="0">
                  <a:pos x="T12" y="T13"/>
                </a:cxn>
              </a:cxnLst>
              <a:rect b="b" l="0" r="r" t="0"/>
              <a:pathLst>
                <a:path h="105" w="79">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59" name="Freeform 30"/>
            <p:cNvSpPr/>
            <p:nvPr/>
          </p:nvSpPr>
          <p:spPr bwMode="auto">
            <a:xfrm>
              <a:off x="3900488" y="2911475"/>
              <a:ext cx="228600" cy="306388"/>
            </a:xfrm>
            <a:custGeom>
              <a:gdLst>
                <a:gd fmla="*/ 10 w 79" name="T0"/>
                <a:gd fmla="*/ 40 h 105" name="T1"/>
                <a:gd fmla="*/ 9 w 79" name="T2"/>
                <a:gd fmla="*/ 3 h 105" name="T3"/>
                <a:gd fmla="*/ 27 w 79" name="T4"/>
                <a:gd fmla="*/ 0 h 105" name="T5"/>
                <a:gd fmla="*/ 79 w 79" name="T6"/>
                <a:gd fmla="*/ 52 h 105" name="T7"/>
                <a:gd fmla="*/ 27 w 79" name="T8"/>
                <a:gd fmla="*/ 105 h 105" name="T9"/>
                <a:gd fmla="*/ 0 w 79" name="T10"/>
                <a:gd fmla="*/ 97 h 105" name="T11"/>
                <a:gd fmla="*/ 10 w 79" name="T12"/>
                <a:gd fmla="*/ 40 h 105" name="T13"/>
              </a:gdLst>
              <a:cxnLst>
                <a:cxn ang="0">
                  <a:pos x="T0" y="T1"/>
                </a:cxn>
                <a:cxn ang="0">
                  <a:pos x="T2" y="T3"/>
                </a:cxn>
                <a:cxn ang="0">
                  <a:pos x="T4" y="T5"/>
                </a:cxn>
                <a:cxn ang="0">
                  <a:pos x="T6" y="T7"/>
                </a:cxn>
                <a:cxn ang="0">
                  <a:pos x="T8" y="T9"/>
                </a:cxn>
                <a:cxn ang="0">
                  <a:pos x="T10" y="T11"/>
                </a:cxn>
                <a:cxn ang="0">
                  <a:pos x="T12" y="T13"/>
                </a:cxn>
              </a:cxnLst>
              <a:rect b="b" l="0" r="r" t="0"/>
              <a:pathLst>
                <a:path h="105" w="79">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0" name="Freeform 31"/>
            <p:cNvSpPr/>
            <p:nvPr/>
          </p:nvSpPr>
          <p:spPr bwMode="auto">
            <a:xfrm>
              <a:off x="3481388" y="3570288"/>
              <a:ext cx="147638" cy="328613"/>
            </a:xfrm>
            <a:custGeom>
              <a:gdLst>
                <a:gd fmla="*/ 25 w 93" name="T0"/>
                <a:gd fmla="*/ 0 h 207" name="T1"/>
                <a:gd fmla="*/ 0 w 93" name="T2"/>
                <a:gd fmla="*/ 145 h 207" name="T3"/>
                <a:gd fmla="*/ 47 w 93" name="T4"/>
                <a:gd fmla="*/ 207 h 207" name="T5"/>
                <a:gd fmla="*/ 93 w 93" name="T6"/>
                <a:gd fmla="*/ 143 h 207" name="T7"/>
                <a:gd fmla="*/ 68 w 93" name="T8"/>
                <a:gd fmla="*/ 0 h 207" name="T9"/>
                <a:gd fmla="*/ 25 w 93" name="T10"/>
                <a:gd fmla="*/ 0 h 207" name="T11"/>
              </a:gdLst>
              <a:cxnLst>
                <a:cxn ang="0">
                  <a:pos x="T0" y="T1"/>
                </a:cxn>
                <a:cxn ang="0">
                  <a:pos x="T2" y="T3"/>
                </a:cxn>
                <a:cxn ang="0">
                  <a:pos x="T4" y="T5"/>
                </a:cxn>
                <a:cxn ang="0">
                  <a:pos x="T6" y="T7"/>
                </a:cxn>
                <a:cxn ang="0">
                  <a:pos x="T8" y="T9"/>
                </a:cxn>
                <a:cxn ang="0">
                  <a:pos x="T10" y="T11"/>
                </a:cxn>
              </a:cxnLst>
              <a:rect b="b" l="0" r="r" t="0"/>
              <a:pathLst>
                <a:path h="206" w="93">
                  <a:moveTo>
                    <a:pt x="25" y="0"/>
                  </a:moveTo>
                  <a:lnTo>
                    <a:pt x="0" y="145"/>
                  </a:lnTo>
                  <a:lnTo>
                    <a:pt x="47" y="207"/>
                  </a:lnTo>
                  <a:lnTo>
                    <a:pt x="93" y="143"/>
                  </a:lnTo>
                  <a:lnTo>
                    <a:pt x="68" y="0"/>
                  </a:lnTo>
                  <a:lnTo>
                    <a:pt x="25" y="0"/>
                  </a:ln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1" name="Freeform 32"/>
            <p:cNvSpPr/>
            <p:nvPr/>
          </p:nvSpPr>
          <p:spPr bwMode="auto">
            <a:xfrm>
              <a:off x="3471863" y="3433763"/>
              <a:ext cx="166688" cy="115888"/>
            </a:xfrm>
            <a:custGeom>
              <a:gdLst>
                <a:gd fmla="*/ 21 w 57" name="T0"/>
                <a:gd fmla="*/ 7 h 40" name="T1"/>
                <a:gd fmla="*/ 0 w 57" name="T2"/>
                <a:gd fmla="*/ 5 h 40" name="T3"/>
                <a:gd fmla="*/ 0 w 57" name="T4"/>
                <a:gd fmla="*/ 14 h 40" name="T5"/>
                <a:gd fmla="*/ 1 w 57" name="T6"/>
                <a:gd fmla="*/ 13 h 40" name="T7"/>
                <a:gd fmla="*/ 18 w 57" name="T8"/>
                <a:gd fmla="*/ 40 h 40" name="T9"/>
                <a:gd fmla="*/ 40 w 57" name="T10"/>
                <a:gd fmla="*/ 40 h 40" name="T11"/>
                <a:gd fmla="*/ 56 w 57" name="T12"/>
                <a:gd fmla="*/ 15 h 40" name="T13"/>
                <a:gd fmla="*/ 57 w 57" name="T14"/>
                <a:gd fmla="*/ 0 h 40" name="T15"/>
                <a:gd fmla="*/ 21 w 57" name="T16"/>
                <a:gd fmla="*/ 7 h 40"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40" w="57">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2" name="Freeform 33"/>
            <p:cNvSpPr>
              <a:spLocks noEditPoints="1"/>
            </p:cNvSpPr>
            <p:nvPr/>
          </p:nvSpPr>
          <p:spPr bwMode="auto">
            <a:xfrm>
              <a:off x="3140075" y="2582863"/>
              <a:ext cx="827088" cy="827088"/>
            </a:xfrm>
            <a:custGeom>
              <a:gdLst>
                <a:gd fmla="*/ 0 w 284" name="T0"/>
                <a:gd fmla="*/ 142 h 284" name="T1"/>
                <a:gd fmla="*/ 142 w 284" name="T2"/>
                <a:gd fmla="*/ 0 h 284" name="T3"/>
                <a:gd fmla="*/ 142 w 284" name="T4"/>
                <a:gd fmla="*/ 0 h 284" name="T5"/>
                <a:gd fmla="*/ 284 w 284" name="T6"/>
                <a:gd fmla="*/ 142 h 284" name="T7"/>
                <a:gd fmla="*/ 284 w 284" name="T8"/>
                <a:gd fmla="*/ 142 h 284" name="T9"/>
                <a:gd fmla="*/ 142 w 284" name="T10"/>
                <a:gd fmla="*/ 284 h 284" name="T11"/>
                <a:gd fmla="*/ 142 w 284" name="T12"/>
                <a:gd fmla="*/ 284 h 284" name="T13"/>
                <a:gd fmla="*/ 0 w 284" name="T14"/>
                <a:gd fmla="*/ 142 h 284" name="T15"/>
                <a:gd fmla="*/ 25 w 284" name="T16"/>
                <a:gd fmla="*/ 142 h 284" name="T17"/>
                <a:gd fmla="*/ 142 w 284" name="T18"/>
                <a:gd fmla="*/ 260 h 284" name="T19"/>
                <a:gd fmla="*/ 142 w 284" name="T20"/>
                <a:gd fmla="*/ 260 h 284" name="T21"/>
                <a:gd fmla="*/ 260 w 284" name="T22"/>
                <a:gd fmla="*/ 142 h 284" name="T23"/>
                <a:gd fmla="*/ 260 w 284" name="T24"/>
                <a:gd fmla="*/ 142 h 284" name="T25"/>
                <a:gd fmla="*/ 142 w 284" name="T26"/>
                <a:gd fmla="*/ 24 h 284" name="T27"/>
                <a:gd fmla="*/ 142 w 284" name="T28"/>
                <a:gd fmla="*/ 24 h 284" name="T29"/>
                <a:gd fmla="*/ 25 w 284" name="T30"/>
                <a:gd fmla="*/ 142 h 284" name="T31"/>
                <a:gd fmla="*/ 25 w 284" name="T32"/>
                <a:gd fmla="*/ 142 h 284"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284" w="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3" name="Freeform 34"/>
            <p:cNvSpPr/>
            <p:nvPr/>
          </p:nvSpPr>
          <p:spPr bwMode="auto">
            <a:xfrm>
              <a:off x="3068638" y="2495550"/>
              <a:ext cx="971550" cy="454025"/>
            </a:xfrm>
            <a:custGeom>
              <a:gdLst>
                <a:gd fmla="*/ 0 w 334" name="T0"/>
                <a:gd fmla="*/ 155 h 156" name="T1"/>
                <a:gd fmla="*/ 167 w 334" name="T2"/>
                <a:gd fmla="*/ 0 h 156" name="T3"/>
                <a:gd fmla="*/ 167 w 334" name="T4"/>
                <a:gd fmla="*/ 0 h 156" name="T5"/>
                <a:gd fmla="*/ 334 w 334" name="T6"/>
                <a:gd fmla="*/ 155 h 156" name="T7"/>
                <a:gd fmla="*/ 334 w 334" name="T8"/>
                <a:gd fmla="*/ 155 h 156" name="T9"/>
                <a:gd fmla="*/ 322 w 334" name="T10"/>
                <a:gd fmla="*/ 155 h 156" name="T11"/>
                <a:gd fmla="*/ 167 w 334" name="T12"/>
                <a:gd fmla="*/ 12 h 156" name="T13"/>
                <a:gd fmla="*/ 167 w 334" name="T14"/>
                <a:gd fmla="*/ 12 h 156" name="T15"/>
                <a:gd fmla="*/ 12 w 334" name="T16"/>
                <a:gd fmla="*/ 156 h 156" name="T17"/>
                <a:gd fmla="*/ 12 w 334" name="T18"/>
                <a:gd fmla="*/ 156 h 156" name="T19"/>
                <a:gd fmla="*/ 0 w 334" name="T20"/>
                <a:gd fmla="*/ 155 h 156"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56" w="334">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4" name="Freeform 35"/>
            <p:cNvSpPr/>
            <p:nvPr/>
          </p:nvSpPr>
          <p:spPr bwMode="auto">
            <a:xfrm>
              <a:off x="2951163" y="3378200"/>
              <a:ext cx="1208088" cy="698500"/>
            </a:xfrm>
            <a:custGeom>
              <a:gdLst>
                <a:gd fmla="*/ 382 w 415" name="T0"/>
                <a:gd fmla="*/ 223 h 240" name="T1"/>
                <a:gd fmla="*/ 326 w 415" name="T2"/>
                <a:gd fmla="*/ 80 h 240" name="T3"/>
                <a:gd fmla="*/ 326 w 415" name="T4"/>
                <a:gd fmla="*/ 80 h 240" name="T5"/>
                <a:gd fmla="*/ 207 w 415" name="T6"/>
                <a:gd fmla="*/ 33 h 240" name="T7"/>
                <a:gd fmla="*/ 207 w 415" name="T8"/>
                <a:gd fmla="*/ 33 h 240" name="T9"/>
                <a:gd fmla="*/ 161 w 415" name="T10"/>
                <a:gd fmla="*/ 39 h 240" name="T11"/>
                <a:gd fmla="*/ 161 w 415" name="T12"/>
                <a:gd fmla="*/ 39 h 240" name="T13"/>
                <a:gd fmla="*/ 60 w 415" name="T14"/>
                <a:gd fmla="*/ 114 h 240" name="T15"/>
                <a:gd fmla="*/ 60 w 415" name="T16"/>
                <a:gd fmla="*/ 114 h 240" name="T17"/>
                <a:gd fmla="*/ 33 w 415" name="T18"/>
                <a:gd fmla="*/ 223 h 240" name="T19"/>
                <a:gd fmla="*/ 33 w 415" name="T20"/>
                <a:gd fmla="*/ 223 h 240" name="T21"/>
                <a:gd fmla="*/ 16 w 415" name="T22"/>
                <a:gd fmla="*/ 240 h 240" name="T23"/>
                <a:gd fmla="*/ 16 w 415" name="T24"/>
                <a:gd fmla="*/ 240 h 240" name="T25"/>
                <a:gd fmla="*/ 0 w 415" name="T26"/>
                <a:gd fmla="*/ 223 h 240" name="T27"/>
                <a:gd fmla="*/ 0 w 415" name="T28"/>
                <a:gd fmla="*/ 223 h 240" name="T29"/>
                <a:gd fmla="*/ 32 w 415" name="T30"/>
                <a:gd fmla="*/ 97 h 240" name="T31"/>
                <a:gd fmla="*/ 32 w 415" name="T32"/>
                <a:gd fmla="*/ 97 h 240" name="T33"/>
                <a:gd fmla="*/ 152 w 415" name="T34"/>
                <a:gd fmla="*/ 8 h 240" name="T35"/>
                <a:gd fmla="*/ 152 w 415" name="T36"/>
                <a:gd fmla="*/ 8 h 240" name="T37"/>
                <a:gd fmla="*/ 207 w 415" name="T38"/>
                <a:gd fmla="*/ 0 h 240" name="T39"/>
                <a:gd fmla="*/ 207 w 415" name="T40"/>
                <a:gd fmla="*/ 0 h 240" name="T41"/>
                <a:gd fmla="*/ 349 w 415" name="T42"/>
                <a:gd fmla="*/ 56 h 240" name="T43"/>
                <a:gd fmla="*/ 349 w 415" name="T44"/>
                <a:gd fmla="*/ 56 h 240" name="T45"/>
                <a:gd fmla="*/ 414 w 415" name="T46"/>
                <a:gd fmla="*/ 223 h 240" name="T47"/>
                <a:gd fmla="*/ 414 w 415" name="T48"/>
                <a:gd fmla="*/ 223 h 240" name="T49"/>
                <a:gd fmla="*/ 398 w 415" name="T50"/>
                <a:gd fmla="*/ 240 h 240" name="T51"/>
                <a:gd fmla="*/ 398 w 415" name="T52"/>
                <a:gd fmla="*/ 240 h 240" name="T53"/>
                <a:gd fmla="*/ 382 w 415" name="T54"/>
                <a:gd fmla="*/ 223 h 240"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240" w="415">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5" name="Freeform 36"/>
            <p:cNvSpPr/>
            <p:nvPr/>
          </p:nvSpPr>
          <p:spPr bwMode="auto">
            <a:xfrm>
              <a:off x="3446463" y="3189288"/>
              <a:ext cx="165100" cy="88900"/>
            </a:xfrm>
            <a:custGeom>
              <a:gdLst>
                <a:gd fmla="*/ 57 w 57" name="T0"/>
                <a:gd fmla="*/ 15 h 31" name="T1"/>
                <a:gd fmla="*/ 41 w 57" name="T2"/>
                <a:gd fmla="*/ 31 h 31" name="T3"/>
                <a:gd fmla="*/ 16 w 57" name="T4"/>
                <a:gd fmla="*/ 31 h 31" name="T5"/>
                <a:gd fmla="*/ 0 w 57" name="T6"/>
                <a:gd fmla="*/ 15 h 31" name="T7"/>
                <a:gd fmla="*/ 0 w 57" name="T8"/>
                <a:gd fmla="*/ 15 h 31" name="T9"/>
                <a:gd fmla="*/ 16 w 57" name="T10"/>
                <a:gd fmla="*/ 0 h 31" name="T11"/>
                <a:gd fmla="*/ 41 w 57" name="T12"/>
                <a:gd fmla="*/ 0 h 31" name="T13"/>
                <a:gd fmla="*/ 57 w 57" name="T14"/>
                <a:gd fmla="*/ 15 h 31"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31" w="57">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6" name="Freeform 37"/>
            <p:cNvSpPr/>
            <p:nvPr/>
          </p:nvSpPr>
          <p:spPr bwMode="auto">
            <a:xfrm>
              <a:off x="3117850" y="3168650"/>
              <a:ext cx="349250" cy="92075"/>
            </a:xfrm>
            <a:custGeom>
              <a:gdLst>
                <a:gd fmla="*/ 34 w 120" name="T0"/>
                <a:gd fmla="*/ 32 h 32" name="T1"/>
                <a:gd fmla="*/ 0 w 120" name="T2"/>
                <a:gd fmla="*/ 2 h 32" name="T3"/>
                <a:gd fmla="*/ 0 w 120" name="T4"/>
                <a:gd fmla="*/ 2 h 32" name="T5"/>
                <a:gd fmla="*/ 12 w 120" name="T6"/>
                <a:gd fmla="*/ 0 h 32" name="T7"/>
                <a:gd fmla="*/ 34 w 120" name="T8"/>
                <a:gd fmla="*/ 20 h 32" name="T9"/>
                <a:gd fmla="*/ 34 w 120" name="T10"/>
                <a:gd fmla="*/ 20 h 32" name="T11"/>
                <a:gd fmla="*/ 120 w 120" name="T12"/>
                <a:gd fmla="*/ 20 h 32" name="T13"/>
                <a:gd fmla="*/ 120 w 120" name="T14"/>
                <a:gd fmla="*/ 20 h 32" name="T15"/>
                <a:gd fmla="*/ 120 w 120" name="T16"/>
                <a:gd fmla="*/ 32 h 32" name="T17"/>
                <a:gd fmla="*/ 34 w 120" name="T18"/>
                <a:gd fmla="*/ 32 h 32"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2" w="120">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gdLst>
                <a:gd fmla="*/ 250 w 501" name="T0"/>
                <a:gd fmla="*/ 0 h 501" name="T1"/>
                <a:gd fmla="*/ 0 w 501" name="T2"/>
                <a:gd fmla="*/ 251 h 501" name="T3"/>
                <a:gd fmla="*/ 250 w 501" name="T4"/>
                <a:gd fmla="*/ 501 h 501" name="T5"/>
                <a:gd fmla="*/ 501 w 501" name="T6"/>
                <a:gd fmla="*/ 251 h 501" name="T7"/>
                <a:gd fmla="*/ 250 w 501" name="T8"/>
                <a:gd fmla="*/ 0 h 501" name="T9"/>
                <a:gd fmla="*/ 455 w 501" name="T10"/>
                <a:gd fmla="*/ 267 h 501" name="T11"/>
                <a:gd fmla="*/ 446 w 501" name="T12"/>
                <a:gd fmla="*/ 267 h 501" name="T13"/>
                <a:gd fmla="*/ 389 w 501" name="T14"/>
                <a:gd fmla="*/ 390 h 501" name="T15"/>
                <a:gd fmla="*/ 267 w 501" name="T16"/>
                <a:gd fmla="*/ 447 h 501" name="T17"/>
                <a:gd fmla="*/ 267 w 501" name="T18"/>
                <a:gd fmla="*/ 455 h 501" name="T19"/>
                <a:gd fmla="*/ 250 w 501" name="T20"/>
                <a:gd fmla="*/ 471 h 501" name="T21"/>
                <a:gd fmla="*/ 234 w 501" name="T22"/>
                <a:gd fmla="*/ 455 h 501" name="T23"/>
                <a:gd fmla="*/ 234 w 501" name="T24"/>
                <a:gd fmla="*/ 447 h 501" name="T25"/>
                <a:gd fmla="*/ 111 w 501" name="T26"/>
                <a:gd fmla="*/ 390 h 501" name="T27"/>
                <a:gd fmla="*/ 54 w 501" name="T28"/>
                <a:gd fmla="*/ 267 h 501" name="T29"/>
                <a:gd fmla="*/ 46 w 501" name="T30"/>
                <a:gd fmla="*/ 267 h 501" name="T31"/>
                <a:gd fmla="*/ 30 w 501" name="T32"/>
                <a:gd fmla="*/ 251 h 501" name="T33"/>
                <a:gd fmla="*/ 46 w 501" name="T34"/>
                <a:gd fmla="*/ 234 h 501" name="T35"/>
                <a:gd fmla="*/ 54 w 501" name="T36"/>
                <a:gd fmla="*/ 234 h 501" name="T37"/>
                <a:gd fmla="*/ 111 w 501" name="T38"/>
                <a:gd fmla="*/ 111 h 501" name="T39"/>
                <a:gd fmla="*/ 234 w 501" name="T40"/>
                <a:gd fmla="*/ 54 h 501" name="T41"/>
                <a:gd fmla="*/ 234 w 501" name="T42"/>
                <a:gd fmla="*/ 46 h 501" name="T43"/>
                <a:gd fmla="*/ 250 w 501" name="T44"/>
                <a:gd fmla="*/ 30 h 501" name="T45"/>
                <a:gd fmla="*/ 267 w 501" name="T46"/>
                <a:gd fmla="*/ 46 h 501" name="T47"/>
                <a:gd fmla="*/ 267 w 501" name="T48"/>
                <a:gd fmla="*/ 54 h 501" name="T49"/>
                <a:gd fmla="*/ 389 w 501" name="T50"/>
                <a:gd fmla="*/ 111 h 501" name="T51"/>
                <a:gd fmla="*/ 446 w 501" name="T52"/>
                <a:gd fmla="*/ 234 h 501" name="T53"/>
                <a:gd fmla="*/ 455 w 501" name="T54"/>
                <a:gd fmla="*/ 234 h 501" name="T55"/>
                <a:gd fmla="*/ 471 w 501" name="T56"/>
                <a:gd fmla="*/ 251 h 501" name="T57"/>
                <a:gd fmla="*/ 455 w 501" name="T58"/>
                <a:gd fmla="*/ 267 h 501"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501" w="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69" name="Freeform 46"/>
            <p:cNvSpPr/>
            <p:nvPr/>
          </p:nvSpPr>
          <p:spPr bwMode="auto">
            <a:xfrm>
              <a:off x="966788" y="3043238"/>
              <a:ext cx="96838" cy="117475"/>
            </a:xfrm>
            <a:custGeom>
              <a:gdLst>
                <a:gd fmla="*/ 16 w 33" name="T0"/>
                <a:gd fmla="*/ 40 h 40" name="T1"/>
                <a:gd fmla="*/ 33 w 33" name="T2"/>
                <a:gd fmla="*/ 24 h 40" name="T3"/>
                <a:gd fmla="*/ 33 w 33" name="T4"/>
                <a:gd fmla="*/ 0 h 40" name="T5"/>
                <a:gd fmla="*/ 16 w 33" name="T6"/>
                <a:gd fmla="*/ 0 h 40" name="T7"/>
                <a:gd fmla="*/ 0 w 33" name="T8"/>
                <a:gd fmla="*/ 0 h 40" name="T9"/>
                <a:gd fmla="*/ 0 w 33" name="T10"/>
                <a:gd fmla="*/ 24 h 40" name="T11"/>
                <a:gd fmla="*/ 16 w 33" name="T12"/>
                <a:gd fmla="*/ 40 h 40" name="T13"/>
              </a:gdLst>
              <a:cxnLst>
                <a:cxn ang="0">
                  <a:pos x="T0" y="T1"/>
                </a:cxn>
                <a:cxn ang="0">
                  <a:pos x="T2" y="T3"/>
                </a:cxn>
                <a:cxn ang="0">
                  <a:pos x="T4" y="T5"/>
                </a:cxn>
                <a:cxn ang="0">
                  <a:pos x="T6" y="T7"/>
                </a:cxn>
                <a:cxn ang="0">
                  <a:pos x="T8" y="T9"/>
                </a:cxn>
                <a:cxn ang="0">
                  <a:pos x="T10" y="T11"/>
                </a:cxn>
                <a:cxn ang="0">
                  <a:pos x="T12" y="T13"/>
                </a:cxn>
              </a:cxnLst>
              <a:rect b="b" l="0" r="r" t="0"/>
              <a:pathLst>
                <a:path h="40" w="33">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0" name="Freeform 47"/>
            <p:cNvSpPr/>
            <p:nvPr/>
          </p:nvSpPr>
          <p:spPr bwMode="auto">
            <a:xfrm>
              <a:off x="966788" y="4079875"/>
              <a:ext cx="96838" cy="115888"/>
            </a:xfrm>
            <a:custGeom>
              <a:gdLst>
                <a:gd fmla="*/ 16 w 33" name="T0"/>
                <a:gd fmla="*/ 0 h 40" name="T1"/>
                <a:gd fmla="*/ 0 w 33" name="T2"/>
                <a:gd fmla="*/ 17 h 40" name="T3"/>
                <a:gd fmla="*/ 0 w 33" name="T4"/>
                <a:gd fmla="*/ 40 h 40" name="T5"/>
                <a:gd fmla="*/ 16 w 33" name="T6"/>
                <a:gd fmla="*/ 40 h 40" name="T7"/>
                <a:gd fmla="*/ 33 w 33" name="T8"/>
                <a:gd fmla="*/ 40 h 40" name="T9"/>
                <a:gd fmla="*/ 33 w 33" name="T10"/>
                <a:gd fmla="*/ 17 h 40" name="T11"/>
                <a:gd fmla="*/ 16 w 33" name="T12"/>
                <a:gd fmla="*/ 0 h 40" name="T13"/>
              </a:gdLst>
              <a:cxnLst>
                <a:cxn ang="0">
                  <a:pos x="T0" y="T1"/>
                </a:cxn>
                <a:cxn ang="0">
                  <a:pos x="T2" y="T3"/>
                </a:cxn>
                <a:cxn ang="0">
                  <a:pos x="T4" y="T5"/>
                </a:cxn>
                <a:cxn ang="0">
                  <a:pos x="T6" y="T7"/>
                </a:cxn>
                <a:cxn ang="0">
                  <a:pos x="T8" y="T9"/>
                </a:cxn>
                <a:cxn ang="0">
                  <a:pos x="T10" y="T11"/>
                </a:cxn>
                <a:cxn ang="0">
                  <a:pos x="T12" y="T13"/>
                </a:cxn>
              </a:cxnLst>
              <a:rect b="b" l="0" r="r" t="0"/>
              <a:pathLst>
                <a:path h="40" w="33">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1" name="Freeform 48"/>
            <p:cNvSpPr/>
            <p:nvPr/>
          </p:nvSpPr>
          <p:spPr bwMode="auto">
            <a:xfrm>
              <a:off x="434976" y="3571875"/>
              <a:ext cx="120650" cy="96838"/>
            </a:xfrm>
            <a:custGeom>
              <a:gdLst>
                <a:gd fmla="*/ 41 w 41" name="T0"/>
                <a:gd fmla="*/ 17 h 33" name="T1"/>
                <a:gd fmla="*/ 24 w 41" name="T2"/>
                <a:gd fmla="*/ 0 h 33" name="T3"/>
                <a:gd fmla="*/ 1 w 41" name="T4"/>
                <a:gd fmla="*/ 0 h 33" name="T5"/>
                <a:gd fmla="*/ 0 w 41" name="T6"/>
                <a:gd fmla="*/ 17 h 33" name="T7"/>
                <a:gd fmla="*/ 1 w 41" name="T8"/>
                <a:gd fmla="*/ 33 h 33" name="T9"/>
                <a:gd fmla="*/ 24 w 41" name="T10"/>
                <a:gd fmla="*/ 33 h 33" name="T11"/>
                <a:gd fmla="*/ 41 w 41" name="T12"/>
                <a:gd fmla="*/ 17 h 33" name="T13"/>
              </a:gdLst>
              <a:cxnLst>
                <a:cxn ang="0">
                  <a:pos x="T0" y="T1"/>
                </a:cxn>
                <a:cxn ang="0">
                  <a:pos x="T2" y="T3"/>
                </a:cxn>
                <a:cxn ang="0">
                  <a:pos x="T4" y="T5"/>
                </a:cxn>
                <a:cxn ang="0">
                  <a:pos x="T6" y="T7"/>
                </a:cxn>
                <a:cxn ang="0">
                  <a:pos x="T8" y="T9"/>
                </a:cxn>
                <a:cxn ang="0">
                  <a:pos x="T10" y="T11"/>
                </a:cxn>
                <a:cxn ang="0">
                  <a:pos x="T12" y="T13"/>
                </a:cxn>
              </a:cxnLst>
              <a:rect b="b" l="0" r="r" t="0"/>
              <a:pathLst>
                <a:path h="33" w="41">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2" name="Freeform 49"/>
            <p:cNvSpPr/>
            <p:nvPr/>
          </p:nvSpPr>
          <p:spPr bwMode="auto">
            <a:xfrm>
              <a:off x="1474788" y="3571875"/>
              <a:ext cx="119063" cy="96838"/>
            </a:xfrm>
            <a:custGeom>
              <a:gdLst>
                <a:gd fmla="*/ 39 w 40" name="T0"/>
                <a:gd fmla="*/ 0 h 33" name="T1"/>
                <a:gd fmla="*/ 16 w 40" name="T2"/>
                <a:gd fmla="*/ 0 h 33" name="T3"/>
                <a:gd fmla="*/ 0 w 40" name="T4"/>
                <a:gd fmla="*/ 17 h 33" name="T5"/>
                <a:gd fmla="*/ 16 w 40" name="T6"/>
                <a:gd fmla="*/ 33 h 33" name="T7"/>
                <a:gd fmla="*/ 39 w 40" name="T8"/>
                <a:gd fmla="*/ 33 h 33" name="T9"/>
                <a:gd fmla="*/ 40 w 40" name="T10"/>
                <a:gd fmla="*/ 17 h 33" name="T11"/>
                <a:gd fmla="*/ 39 w 40" name="T12"/>
                <a:gd fmla="*/ 0 h 33" name="T13"/>
              </a:gdLst>
              <a:cxnLst>
                <a:cxn ang="0">
                  <a:pos x="T0" y="T1"/>
                </a:cxn>
                <a:cxn ang="0">
                  <a:pos x="T2" y="T3"/>
                </a:cxn>
                <a:cxn ang="0">
                  <a:pos x="T4" y="T5"/>
                </a:cxn>
                <a:cxn ang="0">
                  <a:pos x="T6" y="T7"/>
                </a:cxn>
                <a:cxn ang="0">
                  <a:pos x="T8" y="T9"/>
                </a:cxn>
                <a:cxn ang="0">
                  <a:pos x="T10" y="T11"/>
                </a:cxn>
                <a:cxn ang="0">
                  <a:pos x="T12" y="T13"/>
                </a:cxn>
              </a:cxnLst>
              <a:rect b="b" l="0" r="r" t="0"/>
              <a:pathLst>
                <a:path h="33" w="40">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4" name="Freeform 51"/>
            <p:cNvSpPr>
              <a:spLocks noEditPoints="1"/>
            </p:cNvSpPr>
            <p:nvPr/>
          </p:nvSpPr>
          <p:spPr bwMode="auto">
            <a:xfrm>
              <a:off x="652463" y="3254375"/>
              <a:ext cx="723900" cy="730250"/>
            </a:xfrm>
            <a:custGeom>
              <a:gdLst>
                <a:gd fmla="*/ 106 w 246" name="T0"/>
                <a:gd fmla="*/ 86 h 249" name="T1"/>
                <a:gd fmla="*/ 109 w 246" name="T2"/>
                <a:gd fmla="*/ 89 h 249" name="T3"/>
                <a:gd fmla="*/ 123 w 246" name="T4"/>
                <a:gd fmla="*/ 86 h 249" name="T5"/>
                <a:gd fmla="*/ 162 w 246" name="T6"/>
                <a:gd fmla="*/ 125 h 249" name="T7"/>
                <a:gd fmla="*/ 159 w 246" name="T8"/>
                <a:gd fmla="*/ 139 h 249" name="T9"/>
                <a:gd fmla="*/ 162 w 246" name="T10"/>
                <a:gd fmla="*/ 142 h 249" name="T11"/>
                <a:gd fmla="*/ 246 w 246" name="T12"/>
                <a:gd fmla="*/ 0 h 249" name="T13"/>
                <a:gd fmla="*/ 106 w 246" name="T14"/>
                <a:gd fmla="*/ 86 h 249" name="T15"/>
                <a:gd fmla="*/ 123 w 246" name="T16"/>
                <a:gd fmla="*/ 163 h 249" name="T17"/>
                <a:gd fmla="*/ 84 w 246" name="T18"/>
                <a:gd fmla="*/ 125 h 249" name="T19"/>
                <a:gd fmla="*/ 87 w 246" name="T20"/>
                <a:gd fmla="*/ 110 h 249" name="T21"/>
                <a:gd fmla="*/ 85 w 246" name="T22"/>
                <a:gd fmla="*/ 107 h 249" name="T23"/>
                <a:gd fmla="*/ 0 w 246" name="T24"/>
                <a:gd fmla="*/ 249 h 249" name="T25"/>
                <a:gd fmla="*/ 140 w 246" name="T26"/>
                <a:gd fmla="*/ 163 h 249" name="T27"/>
                <a:gd fmla="*/ 138 w 246" name="T28"/>
                <a:gd fmla="*/ 160 h 249" name="T29"/>
                <a:gd fmla="*/ 123 w 246" name="T30"/>
                <a:gd fmla="*/ 163 h 249"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249" w="246">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sp>
          <p:nvSpPr>
            <p:cNvPr id="75" name="Freeform 52"/>
            <p:cNvSpPr/>
            <p:nvPr/>
          </p:nvSpPr>
          <p:spPr bwMode="auto">
            <a:xfrm>
              <a:off x="935038" y="2698750"/>
              <a:ext cx="158750" cy="158750"/>
            </a:xfrm>
            <a:custGeom>
              <a:gdLst>
                <a:gd fmla="*/ 27 w 54" name="T0"/>
                <a:gd fmla="*/ 0 h 54" name="T1"/>
                <a:gd fmla="*/ 0 w 54" name="T2"/>
                <a:gd fmla="*/ 27 h 54" name="T3"/>
                <a:gd fmla="*/ 0 w 54" name="T4"/>
                <a:gd fmla="*/ 54 h 54" name="T5"/>
                <a:gd fmla="*/ 29 w 54" name="T6"/>
                <a:gd fmla="*/ 52 h 54" name="T7"/>
                <a:gd fmla="*/ 29 w 54" name="T8"/>
                <a:gd fmla="*/ 52 h 54" name="T9"/>
                <a:gd fmla="*/ 54 w 54" name="T10"/>
                <a:gd fmla="*/ 53 h 54" name="T11"/>
                <a:gd fmla="*/ 54 w 54" name="T12"/>
                <a:gd fmla="*/ 27 h 54" name="T13"/>
                <a:gd fmla="*/ 27 w 54" name="T14"/>
                <a:gd fmla="*/ 0 h 54"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54" w="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w="9525">
                  <a:solidFill>
                    <a:srgbClr val="000000"/>
                  </a:solidFill>
                  <a:round/>
                </a14:hiddenLine>
              </a:ext>
            </a:extLst>
          </p:spPr>
          <p:txBody>
            <a:bodyPr anchor="t" anchorCtr="0" bIns="60944" compatLnSpc="1" lIns="121888" numCol="1" rIns="121888" tIns="60944" vert="horz" wrap="square"/>
            <a:lstStyle/>
            <a:p>
              <a:endParaRPr altLang="en-US" lang="zh-CN"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solidFill>
                  <a:latin charset="-122" panose="020b0503020204020204" pitchFamily="34" typeface="微软雅黑"/>
                  <a:ea charset="-122" panose="020b0503020204020204" pitchFamily="34" typeface="微软雅黑"/>
                </a:rPr>
                <a:t>1</a:t>
              </a:r>
            </a:p>
          </p:txBody>
        </p:sp>
        <p:sp>
          <p:nvSpPr>
            <p:cNvPr id="78" name="文本框 11"/>
            <p:cNvSpPr txBox="1"/>
            <p:nvPr/>
          </p:nvSpPr>
          <p:spPr>
            <a:xfrm>
              <a:off x="536812"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79" name="矩形 9"/>
            <p:cNvSpPr/>
            <p:nvPr/>
          </p:nvSpPr>
          <p:spPr>
            <a:xfrm>
              <a:off x="484796" y="3271158"/>
              <a:ext cx="1475041" cy="1157368"/>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solidFill>
                  <a:latin charset="-122" panose="020b0503020204020204" pitchFamily="34" typeface="微软雅黑"/>
                  <a:ea charset="-122" panose="020b0503020204020204" pitchFamily="34" typeface="微软雅黑"/>
                </a:rPr>
                <a:t>2</a:t>
              </a:r>
            </a:p>
          </p:txBody>
        </p:sp>
        <p:sp>
          <p:nvSpPr>
            <p:cNvPr id="82" name="文本框 11"/>
            <p:cNvSpPr txBox="1"/>
            <p:nvPr/>
          </p:nvSpPr>
          <p:spPr>
            <a:xfrm>
              <a:off x="536812"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83" name="矩形 9"/>
            <p:cNvSpPr/>
            <p:nvPr/>
          </p:nvSpPr>
          <p:spPr>
            <a:xfrm>
              <a:off x="484796" y="3271158"/>
              <a:ext cx="1475041" cy="1157368"/>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solidFill>
                  <a:latin charset="-122" panose="020b0503020204020204" pitchFamily="34" typeface="微软雅黑"/>
                  <a:ea charset="-122" panose="020b0503020204020204" pitchFamily="34" typeface="微软雅黑"/>
                </a:rPr>
                <a:t>3</a:t>
              </a:r>
            </a:p>
          </p:txBody>
        </p:sp>
        <p:sp>
          <p:nvSpPr>
            <p:cNvPr id="86" name="文本框 11"/>
            <p:cNvSpPr txBox="1"/>
            <p:nvPr/>
          </p:nvSpPr>
          <p:spPr>
            <a:xfrm>
              <a:off x="536812"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87" name="矩形 9"/>
            <p:cNvSpPr/>
            <p:nvPr/>
          </p:nvSpPr>
          <p:spPr>
            <a:xfrm>
              <a:off x="484796" y="3271158"/>
              <a:ext cx="1475041" cy="1157368"/>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sz="1600">
                  <a:solidFill>
                    <a:schemeClr val="bg1"/>
                  </a:solidFill>
                  <a:latin charset="-122" panose="020b0503020204020204" pitchFamily="34" typeface="微软雅黑"/>
                  <a:ea charset="-122" panose="020b0503020204020204" pitchFamily="34" typeface="微软雅黑"/>
                </a:rPr>
                <a:t>4</a:t>
              </a:r>
            </a:p>
          </p:txBody>
        </p:sp>
        <p:sp>
          <p:nvSpPr>
            <p:cNvPr id="90" name="文本框 11"/>
            <p:cNvSpPr txBox="1"/>
            <p:nvPr/>
          </p:nvSpPr>
          <p:spPr>
            <a:xfrm>
              <a:off x="536813" y="3002145"/>
              <a:ext cx="1269847" cy="311121"/>
            </a:xfrm>
            <a:prstGeom prst="rect">
              <a:avLst/>
            </a:prstGeom>
            <a:noFill/>
          </p:spPr>
          <p:txBody>
            <a:bodyPr rtlCol="0" wrap="none">
              <a:spAutoFit/>
            </a:bodyPr>
            <a:lstStyle/>
            <a:p>
              <a:pPr algn="l"/>
              <a:r>
                <a:rPr altLang="en-US" lang="zh-CN" sz="1400">
                  <a:solidFill>
                    <a:srgbClr val="00A4E3"/>
                  </a:solidFill>
                  <a:latin charset="-122" panose="020b0503020204020204" pitchFamily="34" typeface="微软雅黑"/>
                  <a:ea charset="-122" panose="020b0503020204020204" pitchFamily="34" typeface="微软雅黑"/>
                </a:rPr>
                <a:t>点击添加标题</a:t>
              </a:r>
            </a:p>
          </p:txBody>
        </p:sp>
        <p:sp>
          <p:nvSpPr>
            <p:cNvPr id="91" name="矩形 9"/>
            <p:cNvSpPr/>
            <p:nvPr/>
          </p:nvSpPr>
          <p:spPr>
            <a:xfrm>
              <a:off x="484796" y="3271158"/>
              <a:ext cx="1475041" cy="1157368"/>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a:t>
              </a:r>
            </a:p>
          </p:txBody>
        </p:sp>
      </p:grpSp>
      <p:sp>
        <p:nvSpPr>
          <p:cNvPr id="92" name="平行四边形 91"/>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3" name="平行四边形 92"/>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4" name="平行四边形 93"/>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5" name="平行四边形 94"/>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98" name="Group 7"/>
          <p:cNvGrpSpPr/>
          <p:nvPr/>
        </p:nvGrpSpPr>
        <p:grpSpPr>
          <a:xfrm>
            <a:off x="180202" y="181952"/>
            <a:ext cx="216018" cy="113981"/>
            <a:chExt cx="1041399" cy="549275"/>
          </a:xfrm>
          <a:solidFill>
            <a:srgbClr val="133E73"/>
          </a:solidFill>
        </p:grpSpPr>
        <p:sp>
          <p:nvSpPr>
            <p:cNvPr id="99"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00"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01"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pic>
        <p:nvPicPr>
          <p:cNvPr id="3" name="6112">
            <a:hlinkClick action="ppaction://media"/>
          </p:cNvPr>
          <p:cNvPicPr>
            <a:picLocks noChangeAspect="1"/>
          </p:cNvPicPr>
          <p:nvPr>
            <a:audioFile r:link="rId4"/>
            <p:extLst>
              <p:ext uri="{DAA4B4D4-6D71-4841-9C94-3DE7FCFB9230}">
                <p14:media r:embed="rId5"/>
              </p:ext>
            </p:extLst>
          </p:nvPr>
        </p:nvPicPr>
        <p:blipFill>
          <a:blip r:embed="rId3"/>
          <a:stretch>
            <a:fillRect/>
          </a:stretch>
        </p:blipFill>
        <p:spPr>
          <a:xfrm>
            <a:off x="2268377" y="-1568065"/>
            <a:ext cx="1008084" cy="1008084"/>
          </a:xfrm>
          <a:prstGeom prst="rect">
            <a:avLst/>
          </a:prstGeom>
        </p:spPr>
      </p:pic>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98"/>
                                        </p:tgtEl>
                                        <p:attrNameLst>
                                          <p:attrName>style.visibility</p:attrName>
                                        </p:attrNameLst>
                                      </p:cBhvr>
                                      <p:to>
                                        <p:strVal val="visible"/>
                                      </p:to>
                                    </p:set>
                                    <p:anim calcmode="lin" valueType="num">
                                      <p:cBhvr additive="base">
                                        <p:cTn dur="500" fill="hold" id="7"/>
                                        <p:tgtEl>
                                          <p:spTgt spid="98"/>
                                        </p:tgtEl>
                                        <p:attrNameLst>
                                          <p:attrName>ppt_x</p:attrName>
                                        </p:attrNameLst>
                                      </p:cBhvr>
                                      <p:tavLst>
                                        <p:tav tm="0">
                                          <p:val>
                                            <p:strVal val="0-#ppt_w/2"/>
                                          </p:val>
                                        </p:tav>
                                        <p:tav tm="100000">
                                          <p:val>
                                            <p:strVal val="#ppt_x"/>
                                          </p:val>
                                        </p:tav>
                                      </p:tavLst>
                                    </p:anim>
                                    <p:anim calcmode="lin" valueType="num">
                                      <p:cBhvr additive="base">
                                        <p:cTn dur="500" fill="hold" id="8"/>
                                        <p:tgtEl>
                                          <p:spTgt spid="98"/>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97"/>
                                        </p:tgtEl>
                                        <p:attrNameLst>
                                          <p:attrName>style.visibility</p:attrName>
                                        </p:attrNameLst>
                                      </p:cBhvr>
                                      <p:to>
                                        <p:strVal val="visible"/>
                                      </p:to>
                                    </p:set>
                                    <p:anim calcmode="lin" valueType="num">
                                      <p:cBhvr>
                                        <p:cTn dur="500" fill="hold" id="12"/>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97"/>
                                        </p:tgtEl>
                                        <p:attrNameLst>
                                          <p:attrName>ppt_y</p:attrName>
                                        </p:attrNameLst>
                                      </p:cBhvr>
                                      <p:tavLst>
                                        <p:tav tm="0">
                                          <p:val>
                                            <p:strVal val="#ppt_y"/>
                                          </p:val>
                                        </p:tav>
                                        <p:tav tm="100000">
                                          <p:val>
                                            <p:strVal val="#ppt_y"/>
                                          </p:val>
                                        </p:tav>
                                      </p:tavLst>
                                    </p:anim>
                                    <p:anim calcmode="lin" valueType="num">
                                      <p:cBhvr>
                                        <p:cTn dur="500" fill="hold" id="14"/>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97"/>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97"/>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94"/>
                                        </p:tgtEl>
                                        <p:attrNameLst>
                                          <p:attrName>fillcolor</p:attrName>
                                        </p:attrNameLst>
                                      </p:cBhvr>
                                      <p:to>
                                        <a:srgbClr val="00AEEF"/>
                                      </p:to>
                                    </p:animClr>
                                    <p:set>
                                      <p:cBhvr>
                                        <p:cTn dur="300" fill="hold" id="20"/>
                                        <p:tgtEl>
                                          <p:spTgt spid="94"/>
                                        </p:tgtEl>
                                        <p:attrNameLst>
                                          <p:attrName>fill.type</p:attrName>
                                        </p:attrNameLst>
                                      </p:cBhvr>
                                      <p:to>
                                        <p:strVal val="solid"/>
                                      </p:to>
                                    </p:set>
                                    <p:set>
                                      <p:cBhvr>
                                        <p:cTn dur="300" fill="hold" id="21"/>
                                        <p:tgtEl>
                                          <p:spTgt spid="94"/>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29" presetSubtype="0">
                                  <p:stCondLst>
                                    <p:cond delay="0"/>
                                  </p:stCondLst>
                                  <p:childTnLst>
                                    <p:set>
                                      <p:cBhvr>
                                        <p:cTn dur="1" fill="hold" id="24">
                                          <p:stCondLst>
                                            <p:cond delay="0"/>
                                          </p:stCondLst>
                                        </p:cTn>
                                        <p:tgtEl>
                                          <p:spTgt spid="22"/>
                                        </p:tgtEl>
                                        <p:attrNameLst>
                                          <p:attrName>style.visibility</p:attrName>
                                        </p:attrNameLst>
                                      </p:cBhvr>
                                      <p:to>
                                        <p:strVal val="visible"/>
                                      </p:to>
                                    </p:set>
                                    <p:anim calcmode="lin" valueType="num">
                                      <p:cBhvr>
                                        <p:cTn dur="1000" fill="hold" id="25"/>
                                        <p:tgtEl>
                                          <p:spTgt spid="22"/>
                                        </p:tgtEl>
                                        <p:attrNameLst>
                                          <p:attrName>ppt_x</p:attrName>
                                        </p:attrNameLst>
                                      </p:cBhvr>
                                      <p:tavLst>
                                        <p:tav tm="0">
                                          <p:val>
                                            <p:strVal val="#ppt_x-.2"/>
                                          </p:val>
                                        </p:tav>
                                        <p:tav tm="100000">
                                          <p:val>
                                            <p:strVal val="#ppt_x"/>
                                          </p:val>
                                        </p:tav>
                                      </p:tavLst>
                                    </p:anim>
                                    <p:anim calcmode="lin" valueType="num">
                                      <p:cBhvr>
                                        <p:cTn dur="1000" fill="hold" id="26"/>
                                        <p:tgtEl>
                                          <p:spTgt spid="22"/>
                                        </p:tgtEl>
                                        <p:attrNameLst>
                                          <p:attrName>ppt_y</p:attrName>
                                        </p:attrNameLst>
                                      </p:cBhvr>
                                      <p:tavLst>
                                        <p:tav tm="0">
                                          <p:val>
                                            <p:strVal val="#ppt_y"/>
                                          </p:val>
                                        </p:tav>
                                        <p:tav tm="100000">
                                          <p:val>
                                            <p:strVal val="#ppt_y"/>
                                          </p:val>
                                        </p:tav>
                                      </p:tavLst>
                                    </p:anim>
                                    <p:animEffect filter="wipe(right)" prLst="gradientSize: 0.1" transition="in">
                                      <p:cBhvr>
                                        <p:cTn dur="1000" id="27"/>
                                        <p:tgtEl>
                                          <p:spTgt spid="22"/>
                                        </p:tgtEl>
                                      </p:cBhvr>
                                    </p:animEffect>
                                  </p:childTnLst>
                                </p:cTn>
                              </p:par>
                            </p:childTnLst>
                          </p:cTn>
                        </p:par>
                        <p:par>
                          <p:cTn fill="hold" id="28" nodeType="afterGroup">
                            <p:stCondLst>
                              <p:cond delay="2300"/>
                            </p:stCondLst>
                            <p:childTnLst>
                              <p:par>
                                <p:cTn fill="hold" id="29" nodeType="afterEffect" presetClass="entr" presetID="29" presetSubtype="0">
                                  <p:stCondLst>
                                    <p:cond delay="0"/>
                                  </p:stCondLst>
                                  <p:childTnLst>
                                    <p:set>
                                      <p:cBhvr>
                                        <p:cTn dur="1" fill="hold" id="30">
                                          <p:stCondLst>
                                            <p:cond delay="0"/>
                                          </p:stCondLst>
                                        </p:cTn>
                                        <p:tgtEl>
                                          <p:spTgt spid="19"/>
                                        </p:tgtEl>
                                        <p:attrNameLst>
                                          <p:attrName>style.visibility</p:attrName>
                                        </p:attrNameLst>
                                      </p:cBhvr>
                                      <p:to>
                                        <p:strVal val="visible"/>
                                      </p:to>
                                    </p:set>
                                    <p:anim calcmode="lin" valueType="num">
                                      <p:cBhvr>
                                        <p:cTn dur="1000" fill="hold" id="31"/>
                                        <p:tgtEl>
                                          <p:spTgt spid="19"/>
                                        </p:tgtEl>
                                        <p:attrNameLst>
                                          <p:attrName>ppt_x</p:attrName>
                                        </p:attrNameLst>
                                      </p:cBhvr>
                                      <p:tavLst>
                                        <p:tav tm="0">
                                          <p:val>
                                            <p:strVal val="#ppt_x-.2"/>
                                          </p:val>
                                        </p:tav>
                                        <p:tav tm="100000">
                                          <p:val>
                                            <p:strVal val="#ppt_x"/>
                                          </p:val>
                                        </p:tav>
                                      </p:tavLst>
                                    </p:anim>
                                    <p:anim calcmode="lin" valueType="num">
                                      <p:cBhvr>
                                        <p:cTn dur="1000" fill="hold" id="32"/>
                                        <p:tgtEl>
                                          <p:spTgt spid="19"/>
                                        </p:tgtEl>
                                        <p:attrNameLst>
                                          <p:attrName>ppt_y</p:attrName>
                                        </p:attrNameLst>
                                      </p:cBhvr>
                                      <p:tavLst>
                                        <p:tav tm="0">
                                          <p:val>
                                            <p:strVal val="#ppt_y"/>
                                          </p:val>
                                        </p:tav>
                                        <p:tav tm="100000">
                                          <p:val>
                                            <p:strVal val="#ppt_y"/>
                                          </p:val>
                                        </p:tav>
                                      </p:tavLst>
                                    </p:anim>
                                    <p:animEffect filter="wipe(right)" prLst="gradientSize: 0.1" transition="in">
                                      <p:cBhvr>
                                        <p:cTn dur="1000" id="33"/>
                                        <p:tgtEl>
                                          <p:spTgt spid="19"/>
                                        </p:tgtEl>
                                      </p:cBhvr>
                                    </p:animEffect>
                                  </p:childTnLst>
                                </p:cTn>
                              </p:par>
                            </p:childTnLst>
                          </p:cTn>
                        </p:par>
                        <p:par>
                          <p:cTn fill="hold" id="34" nodeType="afterGroup">
                            <p:stCondLst>
                              <p:cond delay="3300"/>
                            </p:stCondLst>
                            <p:childTnLst>
                              <p:par>
                                <p:cTn fill="hold" id="35" nodeType="afterEffect" presetClass="entr" presetID="29" presetSubtype="0">
                                  <p:stCondLst>
                                    <p:cond delay="0"/>
                                  </p:stCondLst>
                                  <p:childTnLst>
                                    <p:set>
                                      <p:cBhvr>
                                        <p:cTn dur="1" fill="hold" id="36">
                                          <p:stCondLst>
                                            <p:cond delay="0"/>
                                          </p:stCondLst>
                                        </p:cTn>
                                        <p:tgtEl>
                                          <p:spTgt spid="26"/>
                                        </p:tgtEl>
                                        <p:attrNameLst>
                                          <p:attrName>style.visibility</p:attrName>
                                        </p:attrNameLst>
                                      </p:cBhvr>
                                      <p:to>
                                        <p:strVal val="visible"/>
                                      </p:to>
                                    </p:set>
                                    <p:anim calcmode="lin" valueType="num">
                                      <p:cBhvr>
                                        <p:cTn dur="1000" fill="hold" id="37"/>
                                        <p:tgtEl>
                                          <p:spTgt spid="26"/>
                                        </p:tgtEl>
                                        <p:attrNameLst>
                                          <p:attrName>ppt_x</p:attrName>
                                        </p:attrNameLst>
                                      </p:cBhvr>
                                      <p:tavLst>
                                        <p:tav tm="0">
                                          <p:val>
                                            <p:strVal val="#ppt_x-.2"/>
                                          </p:val>
                                        </p:tav>
                                        <p:tav tm="100000">
                                          <p:val>
                                            <p:strVal val="#ppt_x"/>
                                          </p:val>
                                        </p:tav>
                                      </p:tavLst>
                                    </p:anim>
                                    <p:anim calcmode="lin" valueType="num">
                                      <p:cBhvr>
                                        <p:cTn dur="1000" fill="hold" id="38"/>
                                        <p:tgtEl>
                                          <p:spTgt spid="26"/>
                                        </p:tgtEl>
                                        <p:attrNameLst>
                                          <p:attrName>ppt_y</p:attrName>
                                        </p:attrNameLst>
                                      </p:cBhvr>
                                      <p:tavLst>
                                        <p:tav tm="0">
                                          <p:val>
                                            <p:strVal val="#ppt_y"/>
                                          </p:val>
                                        </p:tav>
                                        <p:tav tm="100000">
                                          <p:val>
                                            <p:strVal val="#ppt_y"/>
                                          </p:val>
                                        </p:tav>
                                      </p:tavLst>
                                    </p:anim>
                                    <p:animEffect filter="wipe(right)" prLst="gradientSize: 0.1" transition="in">
                                      <p:cBhvr>
                                        <p:cTn dur="1000" id="39"/>
                                        <p:tgtEl>
                                          <p:spTgt spid="26"/>
                                        </p:tgtEl>
                                      </p:cBhvr>
                                    </p:animEffect>
                                  </p:childTnLst>
                                </p:cTn>
                              </p:par>
                              <p:par>
                                <p:cTn fill="hold" id="40" nodeType="withEffect" presetClass="entr" presetID="29" presetSubtype="0">
                                  <p:stCondLst>
                                    <p:cond delay="0"/>
                                  </p:stCondLst>
                                  <p:childTnLst>
                                    <p:set>
                                      <p:cBhvr>
                                        <p:cTn dur="1" fill="hold" id="41">
                                          <p:stCondLst>
                                            <p:cond delay="0"/>
                                          </p:stCondLst>
                                        </p:cTn>
                                        <p:tgtEl>
                                          <p:spTgt spid="20"/>
                                        </p:tgtEl>
                                        <p:attrNameLst>
                                          <p:attrName>style.visibility</p:attrName>
                                        </p:attrNameLst>
                                      </p:cBhvr>
                                      <p:to>
                                        <p:strVal val="visible"/>
                                      </p:to>
                                    </p:set>
                                    <p:anim calcmode="lin" valueType="num">
                                      <p:cBhvr>
                                        <p:cTn dur="1000" fill="hold" id="42"/>
                                        <p:tgtEl>
                                          <p:spTgt spid="20"/>
                                        </p:tgtEl>
                                        <p:attrNameLst>
                                          <p:attrName>ppt_x</p:attrName>
                                        </p:attrNameLst>
                                      </p:cBhvr>
                                      <p:tavLst>
                                        <p:tav tm="0">
                                          <p:val>
                                            <p:strVal val="#ppt_x-.2"/>
                                          </p:val>
                                        </p:tav>
                                        <p:tav tm="100000">
                                          <p:val>
                                            <p:strVal val="#ppt_x"/>
                                          </p:val>
                                        </p:tav>
                                      </p:tavLst>
                                    </p:anim>
                                    <p:anim calcmode="lin" valueType="num">
                                      <p:cBhvr>
                                        <p:cTn dur="1000" fill="hold" id="43"/>
                                        <p:tgtEl>
                                          <p:spTgt spid="20"/>
                                        </p:tgtEl>
                                        <p:attrNameLst>
                                          <p:attrName>ppt_y</p:attrName>
                                        </p:attrNameLst>
                                      </p:cBhvr>
                                      <p:tavLst>
                                        <p:tav tm="0">
                                          <p:val>
                                            <p:strVal val="#ppt_y"/>
                                          </p:val>
                                        </p:tav>
                                        <p:tav tm="100000">
                                          <p:val>
                                            <p:strVal val="#ppt_y"/>
                                          </p:val>
                                        </p:tav>
                                      </p:tavLst>
                                    </p:anim>
                                    <p:animEffect filter="wipe(right)" prLst="gradientSize: 0.1" transition="in">
                                      <p:cBhvr>
                                        <p:cTn dur="1000" id="44"/>
                                        <p:tgtEl>
                                          <p:spTgt spid="20"/>
                                        </p:tgtEl>
                                      </p:cBhvr>
                                    </p:animEffect>
                                  </p:childTnLst>
                                </p:cTn>
                              </p:par>
                            </p:childTnLst>
                          </p:cTn>
                        </p:par>
                        <p:par>
                          <p:cTn fill="hold" id="45" nodeType="afterGroup">
                            <p:stCondLst>
                              <p:cond delay="4300"/>
                            </p:stCondLst>
                            <p:childTnLst>
                              <p:par>
                                <p:cTn fill="hold" id="46" nodeType="afterEffect" presetClass="entr" presetID="29" presetSubtype="0">
                                  <p:stCondLst>
                                    <p:cond delay="0"/>
                                  </p:stCondLst>
                                  <p:childTnLst>
                                    <p:set>
                                      <p:cBhvr>
                                        <p:cTn dur="1" fill="hold" id="47">
                                          <p:stCondLst>
                                            <p:cond delay="0"/>
                                          </p:stCondLst>
                                        </p:cTn>
                                        <p:tgtEl>
                                          <p:spTgt spid="31"/>
                                        </p:tgtEl>
                                        <p:attrNameLst>
                                          <p:attrName>style.visibility</p:attrName>
                                        </p:attrNameLst>
                                      </p:cBhvr>
                                      <p:to>
                                        <p:strVal val="visible"/>
                                      </p:to>
                                    </p:set>
                                    <p:anim calcmode="lin" valueType="num">
                                      <p:cBhvr>
                                        <p:cTn dur="1000" fill="hold" id="48"/>
                                        <p:tgtEl>
                                          <p:spTgt spid="31"/>
                                        </p:tgtEl>
                                        <p:attrNameLst>
                                          <p:attrName>ppt_x</p:attrName>
                                        </p:attrNameLst>
                                      </p:cBhvr>
                                      <p:tavLst>
                                        <p:tav tm="0">
                                          <p:val>
                                            <p:strVal val="#ppt_x-.2"/>
                                          </p:val>
                                        </p:tav>
                                        <p:tav tm="100000">
                                          <p:val>
                                            <p:strVal val="#ppt_x"/>
                                          </p:val>
                                        </p:tav>
                                      </p:tavLst>
                                    </p:anim>
                                    <p:anim calcmode="lin" valueType="num">
                                      <p:cBhvr>
                                        <p:cTn dur="1000" fill="hold" id="49"/>
                                        <p:tgtEl>
                                          <p:spTgt spid="31"/>
                                        </p:tgtEl>
                                        <p:attrNameLst>
                                          <p:attrName>ppt_y</p:attrName>
                                        </p:attrNameLst>
                                      </p:cBhvr>
                                      <p:tavLst>
                                        <p:tav tm="0">
                                          <p:val>
                                            <p:strVal val="#ppt_y"/>
                                          </p:val>
                                        </p:tav>
                                        <p:tav tm="100000">
                                          <p:val>
                                            <p:strVal val="#ppt_y"/>
                                          </p:val>
                                        </p:tav>
                                      </p:tavLst>
                                    </p:anim>
                                    <p:animEffect filter="wipe(right)" prLst="gradientSize: 0.1" transition="in">
                                      <p:cBhvr>
                                        <p:cTn dur="1000" id="50"/>
                                        <p:tgtEl>
                                          <p:spTgt spid="31"/>
                                        </p:tgtEl>
                                      </p:cBhvr>
                                    </p:animEffect>
                                  </p:childTnLst>
                                </p:cTn>
                              </p:par>
                              <p:par>
                                <p:cTn fill="hold" id="51" nodeType="withEffect" presetClass="entr" presetID="29" presetSubtype="0">
                                  <p:stCondLst>
                                    <p:cond delay="0"/>
                                  </p:stCondLst>
                                  <p:childTnLst>
                                    <p:set>
                                      <p:cBhvr>
                                        <p:cTn dur="1" fill="hold" id="52">
                                          <p:stCondLst>
                                            <p:cond delay="0"/>
                                          </p:stCondLst>
                                        </p:cTn>
                                        <p:tgtEl>
                                          <p:spTgt spid="21"/>
                                        </p:tgtEl>
                                        <p:attrNameLst>
                                          <p:attrName>style.visibility</p:attrName>
                                        </p:attrNameLst>
                                      </p:cBhvr>
                                      <p:to>
                                        <p:strVal val="visible"/>
                                      </p:to>
                                    </p:set>
                                    <p:anim calcmode="lin" valueType="num">
                                      <p:cBhvr>
                                        <p:cTn dur="1000" fill="hold" id="53"/>
                                        <p:tgtEl>
                                          <p:spTgt spid="21"/>
                                        </p:tgtEl>
                                        <p:attrNameLst>
                                          <p:attrName>ppt_x</p:attrName>
                                        </p:attrNameLst>
                                      </p:cBhvr>
                                      <p:tavLst>
                                        <p:tav tm="0">
                                          <p:val>
                                            <p:strVal val="#ppt_x-.2"/>
                                          </p:val>
                                        </p:tav>
                                        <p:tav tm="100000">
                                          <p:val>
                                            <p:strVal val="#ppt_x"/>
                                          </p:val>
                                        </p:tav>
                                      </p:tavLst>
                                    </p:anim>
                                    <p:anim calcmode="lin" valueType="num">
                                      <p:cBhvr>
                                        <p:cTn dur="1000" fill="hold" id="54"/>
                                        <p:tgtEl>
                                          <p:spTgt spid="21"/>
                                        </p:tgtEl>
                                        <p:attrNameLst>
                                          <p:attrName>ppt_y</p:attrName>
                                        </p:attrNameLst>
                                      </p:cBhvr>
                                      <p:tavLst>
                                        <p:tav tm="0">
                                          <p:val>
                                            <p:strVal val="#ppt_y"/>
                                          </p:val>
                                        </p:tav>
                                        <p:tav tm="100000">
                                          <p:val>
                                            <p:strVal val="#ppt_y"/>
                                          </p:val>
                                        </p:tav>
                                      </p:tavLst>
                                    </p:anim>
                                    <p:animEffect filter="wipe(right)" prLst="gradientSize: 0.1" transition="in">
                                      <p:cBhvr>
                                        <p:cTn dur="1000" id="55"/>
                                        <p:tgtEl>
                                          <p:spTgt spid="21"/>
                                        </p:tgtEl>
                                      </p:cBhvr>
                                    </p:animEffect>
                                  </p:childTnLst>
                                </p:cTn>
                              </p:par>
                            </p:childTnLst>
                          </p:cTn>
                        </p:par>
                        <p:par>
                          <p:cTn fill="hold" id="56" nodeType="afterGroup">
                            <p:stCondLst>
                              <p:cond delay="5300"/>
                            </p:stCondLst>
                            <p:childTnLst>
                              <p:par>
                                <p:cTn fill="hold" id="57" nodeType="afterEffect" presetClass="entr" presetID="29" presetSubtype="0">
                                  <p:stCondLst>
                                    <p:cond delay="0"/>
                                  </p:stCondLst>
                                  <p:childTnLst>
                                    <p:set>
                                      <p:cBhvr>
                                        <p:cTn dur="1" fill="hold" id="58">
                                          <p:stCondLst>
                                            <p:cond delay="0"/>
                                          </p:stCondLst>
                                        </p:cTn>
                                        <p:tgtEl>
                                          <p:spTgt spid="35"/>
                                        </p:tgtEl>
                                        <p:attrNameLst>
                                          <p:attrName>style.visibility</p:attrName>
                                        </p:attrNameLst>
                                      </p:cBhvr>
                                      <p:to>
                                        <p:strVal val="visible"/>
                                      </p:to>
                                    </p:set>
                                    <p:anim calcmode="lin" valueType="num">
                                      <p:cBhvr>
                                        <p:cTn dur="1000" fill="hold" id="59"/>
                                        <p:tgtEl>
                                          <p:spTgt spid="35"/>
                                        </p:tgtEl>
                                        <p:attrNameLst>
                                          <p:attrName>ppt_x</p:attrName>
                                        </p:attrNameLst>
                                      </p:cBhvr>
                                      <p:tavLst>
                                        <p:tav tm="0">
                                          <p:val>
                                            <p:strVal val="#ppt_x-.2"/>
                                          </p:val>
                                        </p:tav>
                                        <p:tav tm="100000">
                                          <p:val>
                                            <p:strVal val="#ppt_x"/>
                                          </p:val>
                                        </p:tav>
                                      </p:tavLst>
                                    </p:anim>
                                    <p:anim calcmode="lin" valueType="num">
                                      <p:cBhvr>
                                        <p:cTn dur="1000" fill="hold" id="60"/>
                                        <p:tgtEl>
                                          <p:spTgt spid="35"/>
                                        </p:tgtEl>
                                        <p:attrNameLst>
                                          <p:attrName>ppt_y</p:attrName>
                                        </p:attrNameLst>
                                      </p:cBhvr>
                                      <p:tavLst>
                                        <p:tav tm="0">
                                          <p:val>
                                            <p:strVal val="#ppt_y"/>
                                          </p:val>
                                        </p:tav>
                                        <p:tav tm="100000">
                                          <p:val>
                                            <p:strVal val="#ppt_y"/>
                                          </p:val>
                                        </p:tav>
                                      </p:tavLst>
                                    </p:anim>
                                    <p:animEffect filter="wipe(right)" prLst="gradientSize: 0.1" transition="in">
                                      <p:cBhvr>
                                        <p:cTn dur="1000" id="61"/>
                                        <p:tgtEl>
                                          <p:spTgt spid="35"/>
                                        </p:tgtEl>
                                      </p:cBhvr>
                                    </p:animEffect>
                                  </p:childTnLst>
                                </p:cTn>
                              </p:par>
                            </p:childTnLst>
                          </p:cTn>
                        </p:par>
                        <p:par>
                          <p:cTn fill="hold" id="62" nodeType="afterGroup">
                            <p:stCondLst>
                              <p:cond delay="6300"/>
                            </p:stCondLst>
                            <p:childTnLst>
                              <p:par>
                                <p:cTn fill="hold" id="63" nodeType="afterEffect" presetClass="entr" presetID="23" presetSubtype="16">
                                  <p:stCondLst>
                                    <p:cond delay="0"/>
                                  </p:stCondLst>
                                  <p:childTnLst>
                                    <p:set>
                                      <p:cBhvr>
                                        <p:cTn dur="1" fill="hold" id="64">
                                          <p:stCondLst>
                                            <p:cond delay="0"/>
                                          </p:stCondLst>
                                        </p:cTn>
                                        <p:tgtEl>
                                          <p:spTgt spid="39"/>
                                        </p:tgtEl>
                                        <p:attrNameLst>
                                          <p:attrName>style.visibility</p:attrName>
                                        </p:attrNameLst>
                                      </p:cBhvr>
                                      <p:to>
                                        <p:strVal val="visible"/>
                                      </p:to>
                                    </p:set>
                                    <p:anim calcmode="lin" valueType="num">
                                      <p:cBhvr>
                                        <p:cTn dur="500" fill="hold" id="65"/>
                                        <p:tgtEl>
                                          <p:spTgt spid="39"/>
                                        </p:tgtEl>
                                        <p:attrNameLst>
                                          <p:attrName>ppt_w</p:attrName>
                                        </p:attrNameLst>
                                      </p:cBhvr>
                                      <p:tavLst>
                                        <p:tav tm="0">
                                          <p:val>
                                            <p:fltVal val="0"/>
                                          </p:val>
                                        </p:tav>
                                        <p:tav tm="100000">
                                          <p:val>
                                            <p:strVal val="#ppt_w"/>
                                          </p:val>
                                        </p:tav>
                                      </p:tavLst>
                                    </p:anim>
                                    <p:anim calcmode="lin" valueType="num">
                                      <p:cBhvr>
                                        <p:cTn dur="500" fill="hold" id="66"/>
                                        <p:tgtEl>
                                          <p:spTgt spid="39"/>
                                        </p:tgtEl>
                                        <p:attrNameLst>
                                          <p:attrName>ppt_h</p:attrName>
                                        </p:attrNameLst>
                                      </p:cBhvr>
                                      <p:tavLst>
                                        <p:tav tm="0">
                                          <p:val>
                                            <p:fltVal val="0"/>
                                          </p:val>
                                        </p:tav>
                                        <p:tav tm="100000">
                                          <p:val>
                                            <p:strVal val="#ppt_h"/>
                                          </p:val>
                                        </p:tav>
                                      </p:tavLst>
                                    </p:anim>
                                  </p:childTnLst>
                                </p:cTn>
                              </p:par>
                            </p:childTnLst>
                          </p:cTn>
                        </p:par>
                        <p:par>
                          <p:cTn fill="hold" id="67" nodeType="afterGroup">
                            <p:stCondLst>
                              <p:cond delay="6800"/>
                            </p:stCondLst>
                            <p:childTnLst>
                              <p:par>
                                <p:cTn fill="hold" id="68" nodeType="afterEffect" presetClass="entr" presetID="23" presetSubtype="16">
                                  <p:stCondLst>
                                    <p:cond delay="0"/>
                                  </p:stCondLst>
                                  <p:childTnLst>
                                    <p:set>
                                      <p:cBhvr>
                                        <p:cTn dur="1" fill="hold" id="69">
                                          <p:stCondLst>
                                            <p:cond delay="0"/>
                                          </p:stCondLst>
                                        </p:cTn>
                                        <p:tgtEl>
                                          <p:spTgt spid="57"/>
                                        </p:tgtEl>
                                        <p:attrNameLst>
                                          <p:attrName>style.visibility</p:attrName>
                                        </p:attrNameLst>
                                      </p:cBhvr>
                                      <p:to>
                                        <p:strVal val="visible"/>
                                      </p:to>
                                    </p:set>
                                    <p:anim calcmode="lin" valueType="num">
                                      <p:cBhvr>
                                        <p:cTn dur="500" fill="hold" id="70"/>
                                        <p:tgtEl>
                                          <p:spTgt spid="57"/>
                                        </p:tgtEl>
                                        <p:attrNameLst>
                                          <p:attrName>ppt_w</p:attrName>
                                        </p:attrNameLst>
                                      </p:cBhvr>
                                      <p:tavLst>
                                        <p:tav tm="0">
                                          <p:val>
                                            <p:fltVal val="0"/>
                                          </p:val>
                                        </p:tav>
                                        <p:tav tm="100000">
                                          <p:val>
                                            <p:strVal val="#ppt_w"/>
                                          </p:val>
                                        </p:tav>
                                      </p:tavLst>
                                    </p:anim>
                                    <p:anim calcmode="lin" valueType="num">
                                      <p:cBhvr>
                                        <p:cTn dur="500" fill="hold" id="71"/>
                                        <p:tgtEl>
                                          <p:spTgt spid="57"/>
                                        </p:tgtEl>
                                        <p:attrNameLst>
                                          <p:attrName>ppt_h</p:attrName>
                                        </p:attrNameLst>
                                      </p:cBhvr>
                                      <p:tavLst>
                                        <p:tav tm="0">
                                          <p:val>
                                            <p:fltVal val="0"/>
                                          </p:val>
                                        </p:tav>
                                        <p:tav tm="100000">
                                          <p:val>
                                            <p:strVal val="#ppt_h"/>
                                          </p:val>
                                        </p:tav>
                                      </p:tavLst>
                                    </p:anim>
                                  </p:childTnLst>
                                </p:cTn>
                              </p:par>
                            </p:childTnLst>
                          </p:cTn>
                        </p:par>
                        <p:par>
                          <p:cTn fill="hold" id="72" nodeType="afterGroup">
                            <p:stCondLst>
                              <p:cond delay="7300"/>
                            </p:stCondLst>
                            <p:childTnLst>
                              <p:par>
                                <p:cTn fill="hold" id="73" nodeType="afterEffect" presetClass="entr" presetID="23" presetSubtype="16">
                                  <p:stCondLst>
                                    <p:cond delay="0"/>
                                  </p:stCondLst>
                                  <p:childTnLst>
                                    <p:set>
                                      <p:cBhvr>
                                        <p:cTn dur="1" fill="hold" id="74">
                                          <p:stCondLst>
                                            <p:cond delay="0"/>
                                          </p:stCondLst>
                                        </p:cTn>
                                        <p:tgtEl>
                                          <p:spTgt spid="67"/>
                                        </p:tgtEl>
                                        <p:attrNameLst>
                                          <p:attrName>style.visibility</p:attrName>
                                        </p:attrNameLst>
                                      </p:cBhvr>
                                      <p:to>
                                        <p:strVal val="visible"/>
                                      </p:to>
                                    </p:set>
                                    <p:anim calcmode="lin" valueType="num">
                                      <p:cBhvr>
                                        <p:cTn dur="500" fill="hold" id="75"/>
                                        <p:tgtEl>
                                          <p:spTgt spid="67"/>
                                        </p:tgtEl>
                                        <p:attrNameLst>
                                          <p:attrName>ppt_w</p:attrName>
                                        </p:attrNameLst>
                                      </p:cBhvr>
                                      <p:tavLst>
                                        <p:tav tm="0">
                                          <p:val>
                                            <p:fltVal val="0"/>
                                          </p:val>
                                        </p:tav>
                                        <p:tav tm="100000">
                                          <p:val>
                                            <p:strVal val="#ppt_w"/>
                                          </p:val>
                                        </p:tav>
                                      </p:tavLst>
                                    </p:anim>
                                    <p:anim calcmode="lin" valueType="num">
                                      <p:cBhvr>
                                        <p:cTn dur="500" fill="hold" id="76"/>
                                        <p:tgtEl>
                                          <p:spTgt spid="67"/>
                                        </p:tgtEl>
                                        <p:attrNameLst>
                                          <p:attrName>ppt_h</p:attrName>
                                        </p:attrNameLst>
                                      </p:cBhvr>
                                      <p:tavLst>
                                        <p:tav tm="0">
                                          <p:val>
                                            <p:fltVal val="0"/>
                                          </p:val>
                                        </p:tav>
                                        <p:tav tm="100000">
                                          <p:val>
                                            <p:strVal val="#ppt_h"/>
                                          </p:val>
                                        </p:tav>
                                      </p:tavLst>
                                    </p:anim>
                                  </p:childTnLst>
                                </p:cTn>
                              </p:par>
                            </p:childTnLst>
                          </p:cTn>
                        </p:par>
                        <p:par>
                          <p:cTn fill="hold" id="77" nodeType="afterGroup">
                            <p:stCondLst>
                              <p:cond delay="7800"/>
                            </p:stCondLst>
                            <p:childTnLst>
                              <p:par>
                                <p:cTn fill="hold" id="78" nodeType="afterEffect" presetClass="mediacall" presetID="1" presetSubtype="0">
                                  <p:stCondLst>
                                    <p:cond delay="0"/>
                                  </p:stCondLst>
                                  <p:childTnLst>
                                    <p:cmd cmd="playFrom(0.0)" type="call">
                                      <p:cBhvr>
                                        <p:cTn dur="1" fill="hold" id="79"/>
                                        <p:tgtEl>
                                          <p:spTgt spid="3"/>
                                        </p:tgtEl>
                                      </p:cBhvr>
                                    </p:cmd>
                                  </p:childTnLst>
                                </p:cTn>
                              </p:par>
                            </p:childTnLst>
                          </p:cTn>
                        </p:par>
                        <p:par>
                          <p:cTn fill="hold" id="81" nodeType="afterGroup">
                            <p:stCondLst>
                              <p:cond delay="7801"/>
                            </p:stCondLst>
                            <p:childTnLst>
                              <p:par>
                                <p:cTn fill="hold" id="82" nodeType="afterEffect" presetClass="entr" presetID="23" presetSubtype="16">
                                  <p:stCondLst>
                                    <p:cond delay="0"/>
                                  </p:stCondLst>
                                  <p:childTnLst>
                                    <p:set>
                                      <p:cBhvr>
                                        <p:cTn dur="1" fill="hold" id="83">
                                          <p:stCondLst>
                                            <p:cond delay="0"/>
                                          </p:stCondLst>
                                        </p:cTn>
                                        <p:tgtEl>
                                          <p:spTgt spid="52"/>
                                        </p:tgtEl>
                                        <p:attrNameLst>
                                          <p:attrName>style.visibility</p:attrName>
                                        </p:attrNameLst>
                                      </p:cBhvr>
                                      <p:to>
                                        <p:strVal val="visible"/>
                                      </p:to>
                                    </p:set>
                                    <p:anim calcmode="lin" valueType="num">
                                      <p:cBhvr>
                                        <p:cTn dur="500" fill="hold" id="84"/>
                                        <p:tgtEl>
                                          <p:spTgt spid="52"/>
                                        </p:tgtEl>
                                        <p:attrNameLst>
                                          <p:attrName>ppt_w</p:attrName>
                                        </p:attrNameLst>
                                      </p:cBhvr>
                                      <p:tavLst>
                                        <p:tav tm="0">
                                          <p:val>
                                            <p:fltVal val="0"/>
                                          </p:val>
                                        </p:tav>
                                        <p:tav tm="100000">
                                          <p:val>
                                            <p:strVal val="#ppt_w"/>
                                          </p:val>
                                        </p:tav>
                                      </p:tavLst>
                                    </p:anim>
                                    <p:anim calcmode="lin" valueType="num">
                                      <p:cBhvr>
                                        <p:cTn dur="500" fill="hold" id="85"/>
                                        <p:tgtEl>
                                          <p:spTgt spid="52"/>
                                        </p:tgtEl>
                                        <p:attrNameLst>
                                          <p:attrName>ppt_h</p:attrName>
                                        </p:attrNameLst>
                                      </p:cBhvr>
                                      <p:tavLst>
                                        <p:tav tm="0">
                                          <p:val>
                                            <p:fltVal val="0"/>
                                          </p:val>
                                        </p:tav>
                                        <p:tav tm="100000">
                                          <p:val>
                                            <p:strVal val="#ppt_h"/>
                                          </p:val>
                                        </p:tav>
                                      </p:tavLst>
                                    </p:anim>
                                  </p:childTnLst>
                                </p:cTn>
                              </p:par>
                            </p:childTnLst>
                          </p:cTn>
                        </p:par>
                        <p:par>
                          <p:cTn fill="hold" id="86" nodeType="afterGroup">
                            <p:stCondLst>
                              <p:cond delay="8301"/>
                            </p:stCondLst>
                            <p:childTnLst>
                              <p:par>
                                <p:cTn fill="hold" id="87" nodeType="afterEffect" presetClass="entr" presetID="12" presetSubtype="1">
                                  <p:stCondLst>
                                    <p:cond delay="0"/>
                                  </p:stCondLst>
                                  <p:childTnLst>
                                    <p:set>
                                      <p:cBhvr>
                                        <p:cTn dur="1" fill="hold" id="88">
                                          <p:stCondLst>
                                            <p:cond delay="0"/>
                                          </p:stCondLst>
                                        </p:cTn>
                                        <p:tgtEl>
                                          <p:spTgt spid="76"/>
                                        </p:tgtEl>
                                        <p:attrNameLst>
                                          <p:attrName>style.visibility</p:attrName>
                                        </p:attrNameLst>
                                      </p:cBhvr>
                                      <p:to>
                                        <p:strVal val="visible"/>
                                      </p:to>
                                    </p:set>
                                    <p:animEffect filter="slide(fromTop)" transition="in">
                                      <p:cBhvr>
                                        <p:cTn dur="500" id="89"/>
                                        <p:tgtEl>
                                          <p:spTgt spid="76"/>
                                        </p:tgtEl>
                                      </p:cBhvr>
                                    </p:animEffect>
                                  </p:childTnLst>
                                </p:cTn>
                              </p:par>
                            </p:childTnLst>
                          </p:cTn>
                        </p:par>
                        <p:par>
                          <p:cTn fill="hold" id="90" nodeType="afterGroup">
                            <p:stCondLst>
                              <p:cond delay="8801"/>
                            </p:stCondLst>
                            <p:childTnLst>
                              <p:par>
                                <p:cTn fill="hold" id="91" nodeType="afterEffect" presetClass="entr" presetID="12" presetSubtype="1">
                                  <p:stCondLst>
                                    <p:cond delay="0"/>
                                  </p:stCondLst>
                                  <p:childTnLst>
                                    <p:set>
                                      <p:cBhvr>
                                        <p:cTn dur="1" fill="hold" id="92">
                                          <p:stCondLst>
                                            <p:cond delay="0"/>
                                          </p:stCondLst>
                                        </p:cTn>
                                        <p:tgtEl>
                                          <p:spTgt spid="80"/>
                                        </p:tgtEl>
                                        <p:attrNameLst>
                                          <p:attrName>style.visibility</p:attrName>
                                        </p:attrNameLst>
                                      </p:cBhvr>
                                      <p:to>
                                        <p:strVal val="visible"/>
                                      </p:to>
                                    </p:set>
                                    <p:animEffect filter="slide(fromTop)" transition="in">
                                      <p:cBhvr>
                                        <p:cTn dur="500" id="93"/>
                                        <p:tgtEl>
                                          <p:spTgt spid="80"/>
                                        </p:tgtEl>
                                      </p:cBhvr>
                                    </p:animEffect>
                                  </p:childTnLst>
                                </p:cTn>
                              </p:par>
                            </p:childTnLst>
                          </p:cTn>
                        </p:par>
                        <p:par>
                          <p:cTn fill="hold" id="94" nodeType="afterGroup">
                            <p:stCondLst>
                              <p:cond delay="9301"/>
                            </p:stCondLst>
                            <p:childTnLst>
                              <p:par>
                                <p:cTn fill="hold" id="95" nodeType="afterEffect" presetClass="entr" presetID="12" presetSubtype="1">
                                  <p:stCondLst>
                                    <p:cond delay="0"/>
                                  </p:stCondLst>
                                  <p:childTnLst>
                                    <p:set>
                                      <p:cBhvr>
                                        <p:cTn dur="1" fill="hold" id="96">
                                          <p:stCondLst>
                                            <p:cond delay="0"/>
                                          </p:stCondLst>
                                        </p:cTn>
                                        <p:tgtEl>
                                          <p:spTgt spid="84"/>
                                        </p:tgtEl>
                                        <p:attrNameLst>
                                          <p:attrName>style.visibility</p:attrName>
                                        </p:attrNameLst>
                                      </p:cBhvr>
                                      <p:to>
                                        <p:strVal val="visible"/>
                                      </p:to>
                                    </p:set>
                                    <p:animEffect filter="slide(fromTop)" transition="in">
                                      <p:cBhvr>
                                        <p:cTn dur="500" id="97"/>
                                        <p:tgtEl>
                                          <p:spTgt spid="84"/>
                                        </p:tgtEl>
                                      </p:cBhvr>
                                    </p:animEffect>
                                  </p:childTnLst>
                                </p:cTn>
                              </p:par>
                            </p:childTnLst>
                          </p:cTn>
                        </p:par>
                        <p:par>
                          <p:cTn fill="hold" id="98" nodeType="afterGroup">
                            <p:stCondLst>
                              <p:cond delay="9801"/>
                            </p:stCondLst>
                            <p:childTnLst>
                              <p:par>
                                <p:cTn fill="hold" id="99" nodeType="afterEffect" presetClass="entr" presetID="12" presetSubtype="1">
                                  <p:stCondLst>
                                    <p:cond delay="0"/>
                                  </p:stCondLst>
                                  <p:childTnLst>
                                    <p:set>
                                      <p:cBhvr>
                                        <p:cTn dur="1" fill="hold" id="100">
                                          <p:stCondLst>
                                            <p:cond delay="0"/>
                                          </p:stCondLst>
                                        </p:cTn>
                                        <p:tgtEl>
                                          <p:spTgt spid="88"/>
                                        </p:tgtEl>
                                        <p:attrNameLst>
                                          <p:attrName>style.visibility</p:attrName>
                                        </p:attrNameLst>
                                      </p:cBhvr>
                                      <p:to>
                                        <p:strVal val="visible"/>
                                      </p:to>
                                    </p:set>
                                    <p:animEffect filter="slide(fromTop)" transition="in">
                                      <p:cBhvr>
                                        <p:cTn dur="500" id="101"/>
                                        <p:tgtEl>
                                          <p:spTgt spid="88"/>
                                        </p:tgtEl>
                                      </p:cBhvr>
                                    </p:animEffect>
                                  </p:childTnLst>
                                </p:cTn>
                              </p:par>
                            </p:childTnLst>
                          </p:cTn>
                        </p:par>
                      </p:childTnLst>
                    </p:cTn>
                  </p:par>
                </p:childTnLst>
              </p:cTn>
              <p:prevCondLst>
                <p:cond delay="0" evt="onPrev">
                  <p:tgtEl>
                    <p:sldTgt/>
                  </p:tgtEl>
                </p:cond>
              </p:prevCondLst>
              <p:nextCondLst>
                <p:cond delay="0" evt="onNext">
                  <p:tgtEl>
                    <p:sldTgt/>
                  </p:tgtEl>
                </p:cond>
              </p:nextCondLst>
            </p:seq>
            <p:audio>
              <p:cMediaNode numSld="999" showWhenStopped="0" vol="80000">
                <p:cTn display="0" fill="hold" id="80">
                  <p:stCondLst>
                    <p:cond delay="indefinite"/>
                  </p:stCondLst>
                  <p:endCondLst>
                    <p:cond delay="0" evt="onPrev">
                      <p:tgtEl>
                        <p:sldTgt/>
                      </p:tgtEl>
                    </p:cond>
                    <p:cond delay="0" evt="onStopAudio">
                      <p:tgtEl>
                        <p:sldTgt/>
                      </p:tgtEl>
                    </p:cond>
                  </p:endCondLst>
                </p:cTn>
                <p:tgtEl>
                  <p:spTgt spid="3"/>
                </p:tgtEl>
              </p:cMediaNode>
            </p:audio>
          </p:childTnLst>
        </p:cTn>
      </p:par>
    </p:tnLst>
    <p:bldLst>
      <p:bldP grpId="0" spid="94"/>
      <p:bldP grpId="0" spid="97"/>
    </p:bldLst>
  </p:timing>
  <p:extLst mod="1">
    <p:ext uri="{E180D4A7-C9FB-4DFB-919C-405C955672EB}">
      <p14:showEvtLst>
        <p14:playEvt objId="3" time="1315"/>
        <p14:stopEvt objId="3" time="2082"/>
      </p14:showEvtLst>
    </p:ext>
  </p:extLst>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gdLst>
                <a:gd fmla="*/ 145448192 w 21600" name="T0"/>
                <a:gd fmla="*/ 0 h 21600" name="T1"/>
                <a:gd fmla="*/ 290896268 w 21600" name="T2"/>
                <a:gd fmla="*/ 323057896 h 21600" name="T3"/>
                <a:gd fmla="*/ 0 w 21600" name="T4"/>
                <a:gd fmla="*/ 323057896 h 21600" name="T5"/>
                <a:gd fmla="*/ 145448192 w 21600" name="T6"/>
                <a:gd fmla="*/ 0 h 21600" name="T7"/>
                <a:gd fmla="*/ 145448192 w 21600" name="T8"/>
                <a:gd fmla="*/ 0 h 21600"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21600" w="21600">
                  <a:moveTo>
                    <a:pt x="10800" y="0"/>
                  </a:moveTo>
                  <a:lnTo>
                    <a:pt x="21600" y="21600"/>
                  </a:lnTo>
                  <a:lnTo>
                    <a:pt x="0" y="21600"/>
                  </a:lnTo>
                  <a:lnTo>
                    <a:pt x="10800" y="0"/>
                  </a:lnTo>
                  <a:close/>
                  <a:moveTo>
                    <a:pt x="10800" y="0"/>
                  </a:moveTo>
                </a:path>
              </a:pathLst>
            </a:custGeom>
            <a:solidFill>
              <a:srgbClr val="00AEEF"/>
            </a:solidFill>
            <a:ln>
              <a:no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35" name="AutoShape 7"/>
            <p:cNvSpPr/>
            <p:nvPr/>
          </p:nvSpPr>
          <p:spPr bwMode="auto">
            <a:xfrm>
              <a:off x="1917506" y="2385208"/>
              <a:ext cx="279478" cy="276567"/>
            </a:xfrm>
            <a:custGeom>
              <a:gdLst>
                <a:gd fmla="*/ 0 w 21600" name="T0"/>
                <a:gd fmla="*/ 13162309 h 21600" name="T1"/>
                <a:gd fmla="*/ 26881667 w 21600" name="T2"/>
                <a:gd fmla="*/ 13162309 h 21600" name="T3"/>
                <a:gd fmla="*/ 18593153 w 21600" name="T4"/>
                <a:gd fmla="*/ 5264931 h 21600" name="T5"/>
                <a:gd fmla="*/ 19265194 w 21600" name="T6"/>
                <a:gd fmla="*/ 3071201 h 21600" name="T7"/>
                <a:gd fmla="*/ 19265194 w 21600" name="T8"/>
                <a:gd fmla="*/ 6142402 h 21600" name="T9"/>
                <a:gd fmla="*/ 10528653 w 21600" name="T10"/>
                <a:gd fmla="*/ 16891605 h 21600" name="T11"/>
                <a:gd fmla="*/ 9184569 w 21600" name="T12"/>
                <a:gd fmla="*/ 19304711 h 21600" name="T13"/>
                <a:gd fmla="*/ 8512528 w 21600" name="T14"/>
                <a:gd fmla="*/ 20840311 h 21600" name="T15"/>
                <a:gd fmla="*/ 8288514 w 21600" name="T16"/>
                <a:gd fmla="*/ 24130854 h 21600" name="T17"/>
                <a:gd fmla="*/ 6944431 w 21600" name="T18"/>
                <a:gd fmla="*/ 21717782 h 21600" name="T19"/>
                <a:gd fmla="*/ 5824361 w 21600" name="T20"/>
                <a:gd fmla="*/ 19524053 h 21600" name="T21"/>
                <a:gd fmla="*/ 3808236 w 21600" name="T22"/>
                <a:gd fmla="*/ 17988452 h 21600" name="T23"/>
                <a:gd fmla="*/ 3584222 w 21600" name="T24"/>
                <a:gd fmla="*/ 14917251 h 21600" name="T25"/>
                <a:gd fmla="*/ 3360208 w 21600" name="T26"/>
                <a:gd fmla="*/ 13162309 h 21600" name="T27"/>
                <a:gd fmla="*/ 2240139 w 21600" name="T28"/>
                <a:gd fmla="*/ 11846050 h 21600" name="T29"/>
                <a:gd fmla="*/ 2240139 w 21600" name="T30"/>
                <a:gd fmla="*/ 9871732 h 21600" name="T31"/>
                <a:gd fmla="*/ 8512528 w 21600" name="T32"/>
                <a:gd fmla="*/ 4387425 h 21600" name="T33"/>
                <a:gd fmla="*/ 6944431 w 21600" name="T34"/>
                <a:gd fmla="*/ 4387425 h 21600" name="T35"/>
                <a:gd fmla="*/ 6272389 w 21600" name="T36"/>
                <a:gd fmla="*/ 5703649 h 21600" name="T37"/>
                <a:gd fmla="*/ 7168444 w 21600" name="T38"/>
                <a:gd fmla="*/ 6142402 h 21600" name="T39"/>
                <a:gd fmla="*/ 6944431 w 21600" name="T40"/>
                <a:gd fmla="*/ 5264931 h 21600" name="T41"/>
                <a:gd fmla="*/ 10528653 w 21600" name="T42"/>
                <a:gd fmla="*/ 6581155 h 21600" name="T43"/>
                <a:gd fmla="*/ 9184569 w 21600" name="T44"/>
                <a:gd fmla="*/ 7458626 h 21600" name="T45"/>
                <a:gd fmla="*/ 8288514 w 21600" name="T46"/>
                <a:gd fmla="*/ 7897379 h 21600" name="T47"/>
                <a:gd fmla="*/ 8512528 w 21600" name="T48"/>
                <a:gd fmla="*/ 9432979 h 21600" name="T49"/>
                <a:gd fmla="*/ 7392458 w 21600" name="T50"/>
                <a:gd fmla="*/ 10749203 h 21600" name="T51"/>
                <a:gd fmla="*/ 6496403 w 21600" name="T52"/>
                <a:gd fmla="*/ 11187956 h 21600" name="T53"/>
                <a:gd fmla="*/ 4704292 w 21600" name="T54"/>
                <a:gd fmla="*/ 10749203 h 21600" name="T55"/>
                <a:gd fmla="*/ 3360208 w 21600" name="T56"/>
                <a:gd fmla="*/ 11846050 h 21600" name="T57"/>
                <a:gd fmla="*/ 3584222 w 21600" name="T58"/>
                <a:gd fmla="*/ 12723556 h 21600" name="T59"/>
                <a:gd fmla="*/ 6048375 w 21600" name="T60"/>
                <a:gd fmla="*/ 13601027 h 21600" name="T61"/>
                <a:gd fmla="*/ 9184569 w 21600" name="T62"/>
                <a:gd fmla="*/ 14478533 h 21600" name="T63"/>
                <a:gd fmla="*/ 10528653 w 21600" name="T64"/>
                <a:gd fmla="*/ 16891605 h 21600" name="T65"/>
                <a:gd fmla="*/ 12320764 w 21600" name="T66"/>
                <a:gd fmla="*/ 4606801 h 21600" name="T67"/>
                <a:gd fmla="*/ 9856611 w 21600" name="T68"/>
                <a:gd fmla="*/ 3290577 h 21600" name="T69"/>
                <a:gd fmla="*/ 14112875 w 21600" name="T70"/>
                <a:gd fmla="*/ 2193730 h 21600" name="T71"/>
                <a:gd fmla="*/ 23969486 w 21600" name="T72"/>
                <a:gd fmla="*/ 13601027 h 21600" name="T73"/>
                <a:gd fmla="*/ 20609278 w 21600" name="T74"/>
                <a:gd fmla="*/ 22375912 h 21600" name="T75"/>
                <a:gd fmla="*/ 20385264 w 21600" name="T76"/>
                <a:gd fmla="*/ 20182182 h 21600" name="T77"/>
                <a:gd fmla="*/ 18817167 w 21600" name="T78"/>
                <a:gd fmla="*/ 17769111 h 21600" name="T79"/>
                <a:gd fmla="*/ 14784917 w 21600" name="T80"/>
                <a:gd fmla="*/ 14697910 h 21600" name="T81"/>
                <a:gd fmla="*/ 21729347 w 21600" name="T82"/>
                <a:gd fmla="*/ 12284803 h 21600" name="T83"/>
                <a:gd fmla="*/ 23521458 w 21600" name="T84"/>
                <a:gd fmla="*/ 10749203 h 21600" name="T85"/>
                <a:gd fmla="*/ 20833292 w 21600" name="T86"/>
                <a:gd fmla="*/ 8555473 h 21600" name="T87"/>
                <a:gd fmla="*/ 20385264 w 21600" name="T88"/>
                <a:gd fmla="*/ 11407332 h 21600" name="T89"/>
                <a:gd fmla="*/ 17697097 w 21600" name="T90"/>
                <a:gd fmla="*/ 10749203 h 21600" name="T91"/>
                <a:gd fmla="*/ 16353014 w 21600" name="T92"/>
                <a:gd fmla="*/ 9652356 h 21600" name="T93"/>
                <a:gd fmla="*/ 17025056 w 21600" name="T94"/>
                <a:gd fmla="*/ 7678002 h 21600" name="T95"/>
                <a:gd fmla="*/ 20161250 w 21600" name="T96"/>
                <a:gd fmla="*/ 7897379 h 21600" name="T97"/>
                <a:gd fmla="*/ 22401389 w 21600" name="T98"/>
                <a:gd fmla="*/ 7897379 h 21600" name="T99"/>
                <a:gd fmla="*/ 23521458 w 21600" name="T100"/>
                <a:gd fmla="*/ 7019873 h 21600" name="T101"/>
                <a:gd fmla="*/ 24641528 w 21600" name="T102"/>
                <a:gd fmla="*/ 12504180 h 21600" name="T103"/>
                <a:gd fmla="*/ 23969486 w 21600" name="T104"/>
                <a:gd fmla="*/ 13601027 h 21600"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b="b" l="0" r="r" t="0"/>
              <a:pathLst>
                <a:path h="21600" w="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w="12700">
                  <a:solidFill>
                    <a:schemeClr val="tx1"/>
                  </a:solidFill>
                  <a:miter lim="800000"/>
                  <a:headEnd len="med" type="none" w="med"/>
                  <a:tailEnd len="med" type="none" w="med"/>
                </a14:hiddenLine>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gdLst>
                <a:gd fmla="*/ 1552418536 w 21600" name="T0"/>
                <a:gd fmla="*/ 0 h 21600" name="T1"/>
                <a:gd fmla="*/ 1724909579 w 21600" name="T2"/>
                <a:gd fmla="*/ 80764474 h 21600" name="T3"/>
                <a:gd fmla="*/ 0 w 21600" name="T4"/>
                <a:gd fmla="*/ 80764474 h 21600" name="T5"/>
                <a:gd fmla="*/ 172491043 w 21600" name="T6"/>
                <a:gd fmla="*/ 0 h 21600" name="T7"/>
                <a:gd fmla="*/ 1552418536 w 21600" name="T8"/>
                <a:gd fmla="*/ 0 h 21600" name="T9"/>
                <a:gd fmla="*/ 1552418536 w 21600" name="T10"/>
                <a:gd fmla="*/ 0 h 21600"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21600" w="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grpSp>
          <p:nvGrpSpPr>
            <p:cNvPr id="38" name="Group 16"/>
            <p:cNvGrpSpPr/>
            <p:nvPr/>
          </p:nvGrpSpPr>
          <p:grpSpPr>
            <a:xfrm>
              <a:off x="1919253" y="4007926"/>
              <a:ext cx="279478" cy="270162"/>
              <a:chExt cx="480" cy="463"/>
            </a:xfrm>
          </p:grpSpPr>
          <p:sp>
            <p:nvSpPr>
              <p:cNvPr id="39" name="AutoShape 9"/>
              <p:cNvSpPr/>
              <p:nvPr/>
            </p:nvSpPr>
            <p:spPr bwMode="auto">
              <a:xfrm>
                <a:off x="0" y="0"/>
                <a:ext cx="480" cy="463"/>
              </a:xfrm>
              <a:custGeom>
                <a:gdLst>
                  <a:gd fmla="*/ 10 w 21600" name="T0"/>
                  <a:gd fmla="*/ 0 h 21600" name="T1"/>
                  <a:gd fmla="*/ 1 w 21600" name="T2"/>
                  <a:gd fmla="*/ 0 h 21600" name="T3"/>
                  <a:gd fmla="*/ 0 w 21600" name="T4"/>
                  <a:gd fmla="*/ 1 h 21600" name="T5"/>
                  <a:gd fmla="*/ 0 w 21600" name="T6"/>
                  <a:gd fmla="*/ 7 h 21600" name="T7"/>
                  <a:gd fmla="*/ 1 w 21600" name="T8"/>
                  <a:gd fmla="*/ 8 h 21600" name="T9"/>
                  <a:gd fmla="*/ 4 w 21600" name="T10"/>
                  <a:gd fmla="*/ 8 h 21600" name="T11"/>
                  <a:gd fmla="*/ 3 w 21600" name="T12"/>
                  <a:gd fmla="*/ 9 h 21600" name="T13"/>
                  <a:gd fmla="*/ 3 w 21600" name="T14"/>
                  <a:gd fmla="*/ 10 h 21600" name="T15"/>
                  <a:gd fmla="*/ 4 w 21600" name="T16"/>
                  <a:gd fmla="*/ 10 h 21600" name="T17"/>
                  <a:gd fmla="*/ 6 w 21600" name="T18"/>
                  <a:gd fmla="*/ 10 h 21600" name="T19"/>
                  <a:gd fmla="*/ 7 w 21600" name="T20"/>
                  <a:gd fmla="*/ 10 h 21600" name="T21"/>
                  <a:gd fmla="*/ 7 w 21600" name="T22"/>
                  <a:gd fmla="*/ 9 h 21600" name="T23"/>
                  <a:gd fmla="*/ 6 w 21600" name="T24"/>
                  <a:gd fmla="*/ 8 h 21600" name="T25"/>
                  <a:gd fmla="*/ 10 w 21600" name="T26"/>
                  <a:gd fmla="*/ 8 h 21600" name="T27"/>
                  <a:gd fmla="*/ 11 w 21600" name="T28"/>
                  <a:gd fmla="*/ 7 h 21600" name="T29"/>
                  <a:gd fmla="*/ 11 w 21600" name="T30"/>
                  <a:gd fmla="*/ 1 h 21600" name="T31"/>
                  <a:gd fmla="*/ 10 w 21600" name="T32"/>
                  <a:gd fmla="*/ 0 h 21600" name="T33"/>
                  <a:gd fmla="*/ 5 w 21600" name="T34"/>
                  <a:gd fmla="*/ 7 h 21600" name="T35"/>
                  <a:gd fmla="*/ 5 w 21600" name="T36"/>
                  <a:gd fmla="*/ 6 h 21600" name="T37"/>
                  <a:gd fmla="*/ 6 w 21600" name="T38"/>
                  <a:gd fmla="*/ 7 h 21600" name="T39"/>
                  <a:gd fmla="*/ 5 w 21600" name="T40"/>
                  <a:gd fmla="*/ 8 h 21600" name="T41"/>
                  <a:gd fmla="*/ 5 w 21600" name="T42"/>
                  <a:gd fmla="*/ 7 h 21600" name="T43"/>
                  <a:gd fmla="*/ 10 w 21600" name="T44"/>
                  <a:gd fmla="*/ 6 h 21600" name="T45"/>
                  <a:gd fmla="*/ 1 w 21600" name="T46"/>
                  <a:gd fmla="*/ 6 h 21600" name="T47"/>
                  <a:gd fmla="*/ 1 w 21600" name="T48"/>
                  <a:gd fmla="*/ 1 h 21600" name="T49"/>
                  <a:gd fmla="*/ 10 w 21600" name="T50"/>
                  <a:gd fmla="*/ 1 h 21600" name="T51"/>
                  <a:gd fmla="*/ 10 w 21600" name="T52"/>
                  <a:gd fmla="*/ 6 h 21600" name="T53"/>
                  <a:gd fmla="*/ 10 w 21600" name="T54"/>
                  <a:gd fmla="*/ 6 h 21600"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b="b" l="0" r="r" t="0"/>
                <a:pathLst>
                  <a:path h="21600" w="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w="12700">
                    <a:solidFill>
                      <a:schemeClr val="tx1"/>
                    </a:solidFill>
                    <a:miter lim="800000"/>
                    <a:headEnd len="med" type="none" w="med"/>
                    <a:tailEnd len="med" type="none" w="med"/>
                  </a14:hiddenLine>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40" name="AutoShape 10"/>
              <p:cNvSpPr/>
              <p:nvPr/>
            </p:nvSpPr>
            <p:spPr bwMode="auto">
              <a:xfrm>
                <a:off x="225" y="304"/>
                <a:ext cx="36" cy="39"/>
              </a:xfrm>
              <a:custGeom>
                <a:gdLst>
                  <a:gd fmla="*/ 0 w 19679" name="T0"/>
                  <a:gd fmla="*/ 0 h 19679" name="T1"/>
                  <a:gd fmla="*/ 0 w 19679" name="T2"/>
                  <a:gd fmla="*/ 0 h 19679" name="T3"/>
                  <a:gd fmla="*/ 0 w 19679" name="T4"/>
                  <a:gd fmla="*/ 0 h 19679" name="T5"/>
                  <a:gd fmla="*/ 0 w 19679" name="T6"/>
                  <a:gd fmla="*/ 0 h 19679" name="T7"/>
                  <a:gd fmla="*/ 0 w 19679" name="T8"/>
                  <a:gd fmla="*/ 0 h 19679" name="T9"/>
                  <a:gd fmla="*/ 0 w 19679" name="T10"/>
                  <a:gd fmla="*/ 0 h 19679"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19679" w="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w="12700">
                    <a:solidFill>
                      <a:schemeClr val="tx1"/>
                    </a:solidFill>
                    <a:miter lim="800000"/>
                    <a:headEnd len="med" type="none" w="med"/>
                    <a:tailEnd len="med" type="none" w="med"/>
                  </a14:hiddenLine>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gdLst>
                <a:gd fmla="*/ 527842477 w 21600" name="T0"/>
                <a:gd fmla="*/ 0 h 21600" name="T1"/>
                <a:gd fmla="*/ 633410938 w 21600" name="T2"/>
                <a:gd fmla="*/ 80764474 h 21600" name="T3"/>
                <a:gd fmla="*/ 0 w 21600" name="T4"/>
                <a:gd fmla="*/ 80764474 h 21600" name="T5"/>
                <a:gd fmla="*/ 105568461 w 21600" name="T6"/>
                <a:gd fmla="*/ 0 h 21600" name="T7"/>
                <a:gd fmla="*/ 527842477 w 21600" name="T8"/>
                <a:gd fmla="*/ 0 h 21600" name="T9"/>
                <a:gd fmla="*/ 527842477 w 21600" name="T10"/>
                <a:gd fmla="*/ 0 h 21600"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21600" w="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43" name="AutoShape 11"/>
            <p:cNvSpPr/>
            <p:nvPr/>
          </p:nvSpPr>
          <p:spPr bwMode="auto">
            <a:xfrm>
              <a:off x="1915177" y="3010539"/>
              <a:ext cx="279478" cy="190394"/>
            </a:xfrm>
            <a:custGeom>
              <a:gdLst>
                <a:gd fmla="*/ 23114494 w 21600" name="T0"/>
                <a:gd fmla="*/ 5480127 h 21600" name="T1"/>
                <a:gd fmla="*/ 23456759 w 21600" name="T2"/>
                <a:gd fmla="*/ 4313997 h 21600" name="T3"/>
                <a:gd fmla="*/ 17122140 w 21600" name="T4"/>
                <a:gd fmla="*/ 0 h 21600" name="T5"/>
                <a:gd fmla="*/ 12498740 w 21600" name="T6"/>
                <a:gd fmla="*/ 2098947 h 21600" name="T7"/>
                <a:gd fmla="*/ 7876575 w 21600" name="T8"/>
                <a:gd fmla="*/ 932793 h 21600" name="T9"/>
                <a:gd fmla="*/ 3424908 w 21600" name="T10"/>
                <a:gd fmla="*/ 4664014 h 21600" name="T11"/>
                <a:gd fmla="*/ 3595441 w 21600" name="T12"/>
                <a:gd fmla="*/ 5480127 h 21600" name="T13"/>
                <a:gd fmla="*/ 0 w 21600" name="T14"/>
                <a:gd fmla="*/ 8861307 h 21600" name="T15"/>
                <a:gd fmla="*/ 5307894 w 21600" name="T16"/>
                <a:gd fmla="*/ 12475848 h 21600" name="T17"/>
                <a:gd fmla="*/ 21573772 w 21600" name="T18"/>
                <a:gd fmla="*/ 12475848 h 21600" name="T19"/>
                <a:gd fmla="*/ 26881667 w 21600" name="T20"/>
                <a:gd fmla="*/ 8861307 h 21600" name="T21"/>
                <a:gd fmla="*/ 23114494 w 21600" name="T22"/>
                <a:gd fmla="*/ 5480127 h 21600" name="T23"/>
                <a:gd fmla="*/ 20547048 w 21600" name="T24"/>
                <a:gd fmla="*/ 11776391 h 21600" name="T25"/>
                <a:gd fmla="*/ 13526699 w 21600" name="T26"/>
                <a:gd fmla="*/ 11776391 h 21600" name="T27"/>
                <a:gd fmla="*/ 17806599 w 21600" name="T28"/>
                <a:gd fmla="*/ 8861307 h 21600" name="T29"/>
                <a:gd fmla="*/ 17636102 w 21600" name="T30"/>
                <a:gd fmla="*/ 8511290 h 21600" name="T31"/>
                <a:gd fmla="*/ 15751916 w 21600" name="T32"/>
                <a:gd fmla="*/ 8511290 h 21600" name="T33"/>
                <a:gd fmla="*/ 15751916 w 21600" name="T34"/>
                <a:gd fmla="*/ 7928514 h 21600" name="T35"/>
                <a:gd fmla="*/ 15751916 w 21600" name="T36"/>
                <a:gd fmla="*/ 4313997 h 21600" name="T37"/>
                <a:gd fmla="*/ 15409651 w 21600" name="T38"/>
                <a:gd fmla="*/ 4197317 h 21600" name="T39"/>
                <a:gd fmla="*/ 10958019 w 21600" name="T40"/>
                <a:gd fmla="*/ 4197317 h 21600" name="T41"/>
                <a:gd fmla="*/ 10615754 w 21600" name="T42"/>
                <a:gd fmla="*/ 4430653 h 21600" name="T43"/>
                <a:gd fmla="*/ 10615754 w 21600" name="T44"/>
                <a:gd fmla="*/ 7928514 h 21600" name="T45"/>
                <a:gd fmla="*/ 10615754 w 21600" name="T46"/>
                <a:gd fmla="*/ 8511290 h 21600" name="T47"/>
                <a:gd fmla="*/ 8732802 w 21600" name="T48"/>
                <a:gd fmla="*/ 8511290 h 21600" name="T49"/>
                <a:gd fmla="*/ 8732802 w 21600" name="T50"/>
                <a:gd fmla="*/ 8861307 h 21600" name="T51"/>
                <a:gd fmla="*/ 13012702 w 21600" name="T52"/>
                <a:gd fmla="*/ 11776391 h 21600" name="T53"/>
                <a:gd fmla="*/ 6506351 w 21600" name="T54"/>
                <a:gd fmla="*/ 11776391 h 21600" name="T55"/>
                <a:gd fmla="*/ 1882951 w 21600" name="T56"/>
                <a:gd fmla="*/ 8744651 h 21600" name="T57"/>
                <a:gd fmla="*/ 4965629 w 21600" name="T58"/>
                <a:gd fmla="*/ 5829567 h 21600" name="T59"/>
                <a:gd fmla="*/ 4793897 w 21600" name="T60"/>
                <a:gd fmla="*/ 5130110 h 21600" name="T61"/>
                <a:gd fmla="*/ 8732802 w 21600" name="T62"/>
                <a:gd fmla="*/ 1982267 h 21600" name="T63"/>
                <a:gd fmla="*/ 12840970 w 21600" name="T64"/>
                <a:gd fmla="*/ 3497860 h 21600" name="T65"/>
                <a:gd fmla="*/ 16779875 w 21600" name="T66"/>
                <a:gd fmla="*/ 1282810 h 21600" name="T67"/>
                <a:gd fmla="*/ 21916037 w 21600" name="T68"/>
                <a:gd fmla="*/ 4896774 h 21600" name="T69"/>
                <a:gd fmla="*/ 21745540 w 21600" name="T70"/>
                <a:gd fmla="*/ 5829567 h 21600" name="T71"/>
                <a:gd fmla="*/ 25169213 w 21600" name="T72"/>
                <a:gd fmla="*/ 8744651 h 21600" name="T73"/>
                <a:gd fmla="*/ 20547048 w 21600" name="T74"/>
                <a:gd fmla="*/ 11776391 h 21600" name="T75"/>
                <a:gd fmla="*/ 20547048 w 21600" name="T76"/>
                <a:gd fmla="*/ 11776391 h 21600"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b="b" l="0" r="r" t="0"/>
              <a:pathLst>
                <a:path h="21600" w="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w="12700">
                  <a:solidFill>
                    <a:schemeClr val="tx1"/>
                  </a:solidFill>
                  <a:miter lim="800000"/>
                  <a:headEnd len="med" type="none" w="med"/>
                  <a:tailEnd len="med" type="none" w="med"/>
                </a14:hiddenLine>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gdLst>
                <a:gd fmla="*/ 963438933 w 21600" name="T0"/>
                <a:gd fmla="*/ 0 h 21600" name="T1"/>
                <a:gd fmla="*/ 1101073067 w 21600" name="T2"/>
                <a:gd fmla="*/ 80764474 h 21600" name="T3"/>
                <a:gd fmla="*/ 0 w 21600" name="T4"/>
                <a:gd fmla="*/ 80764474 h 21600" name="T5"/>
                <a:gd fmla="*/ 137634133 w 21600" name="T6"/>
                <a:gd fmla="*/ 0 h 21600" name="T7"/>
                <a:gd fmla="*/ 963438933 w 21600" name="T8"/>
                <a:gd fmla="*/ 0 h 21600" name="T9"/>
                <a:gd fmla="*/ 963438933 w 21600" name="T10"/>
                <a:gd fmla="*/ 0 h 21600"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21600" w="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46" name="AutoShape 12"/>
            <p:cNvSpPr/>
            <p:nvPr/>
          </p:nvSpPr>
          <p:spPr bwMode="auto">
            <a:xfrm>
              <a:off x="1919253" y="3506612"/>
              <a:ext cx="279478" cy="246872"/>
            </a:xfrm>
            <a:custGeom>
              <a:gdLst>
                <a:gd fmla="*/ 26881667 w 21600" name="T0"/>
                <a:gd fmla="*/ 8390067 h 21600" name="T1"/>
                <a:gd fmla="*/ 13440833 w 21600" name="T2"/>
                <a:gd fmla="*/ 0 h 21600" name="T3"/>
                <a:gd fmla="*/ 0 w 21600" name="T4"/>
                <a:gd fmla="*/ 8390067 h 21600" name="T5"/>
                <a:gd fmla="*/ 7312801 w 21600" name="T6"/>
                <a:gd fmla="*/ 15906163 h 21600" name="T7"/>
                <a:gd fmla="*/ 4150466 w 21600" name="T8"/>
                <a:gd fmla="*/ 20975167 h 21600" name="T9"/>
                <a:gd fmla="*/ 14231091 w 21600" name="T10"/>
                <a:gd fmla="*/ 16780134 h 21600" name="T11"/>
                <a:gd fmla="*/ 26881667 w 21600" name="T12"/>
                <a:gd fmla="*/ 8390067 h 21600" name="T13"/>
                <a:gd fmla="*/ 26881667 w 21600" name="T14"/>
                <a:gd fmla="*/ 8390067 h 21600" name="T15"/>
                <a:gd fmla="*/ 0 60000 65536" name="T16"/>
                <a:gd fmla="*/ 0 60000 65536" name="T17"/>
                <a:gd fmla="*/ 0 60000 65536" name="T18"/>
                <a:gd fmla="*/ 0 60000 65536" name="T19"/>
                <a:gd fmla="*/ 0 60000 65536" name="T20"/>
                <a:gd fmla="*/ 0 60000 65536" name="T21"/>
                <a:gd fmla="*/ 0 60000 65536" name="T22"/>
                <a:gd fmla="*/ 0 60000 65536" name="T23"/>
              </a:gdLst>
              <a:cxnLst>
                <a:cxn ang="T16">
                  <a:pos x="T0" y="T1"/>
                </a:cxn>
                <a:cxn ang="T17">
                  <a:pos x="T2" y="T3"/>
                </a:cxn>
                <a:cxn ang="T18">
                  <a:pos x="T4" y="T5"/>
                </a:cxn>
                <a:cxn ang="T19">
                  <a:pos x="T6" y="T7"/>
                </a:cxn>
                <a:cxn ang="T20">
                  <a:pos x="T8" y="T9"/>
                </a:cxn>
                <a:cxn ang="T21">
                  <a:pos x="T10" y="T11"/>
                </a:cxn>
                <a:cxn ang="T22">
                  <a:pos x="T12" y="T13"/>
                </a:cxn>
                <a:cxn ang="T23">
                  <a:pos x="T14" y="T15"/>
                </a:cxn>
              </a:cxnLst>
              <a:rect b="b" l="0" r="r" t="0"/>
              <a:pathLst>
                <a:path h="21600" w="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w="12700">
                  <a:solidFill>
                    <a:schemeClr val="tx1"/>
                  </a:solidFill>
                  <a:miter lim="800000"/>
                  <a:headEnd len="med" type="none" w="med"/>
                  <a:tailEnd len="med" type="none" w="med"/>
                </a14:hiddenLine>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gdLst>
                <a:gd fmla="*/ 2147483647 w 21600" name="T0"/>
                <a:gd fmla="*/ 0 h 21600" name="T1"/>
                <a:gd fmla="*/ 2147483647 w 21600" name="T2"/>
                <a:gd fmla="*/ 80764474 h 21600" name="T3"/>
                <a:gd fmla="*/ 0 w 21600" name="T4"/>
                <a:gd fmla="*/ 80764474 h 21600" name="T5"/>
                <a:gd fmla="*/ 207283900 w 21600" name="T6"/>
                <a:gd fmla="*/ 0 h 21600" name="T7"/>
                <a:gd fmla="*/ 2147483647 w 21600" name="T8"/>
                <a:gd fmla="*/ 0 h 21600" name="T9"/>
                <a:gd fmla="*/ 2147483647 w 21600" name="T10"/>
                <a:gd fmla="*/ 0 h 21600" name="T11"/>
                <a:gd fmla="*/ 0 60000 65536" name="T12"/>
                <a:gd fmla="*/ 0 60000 65536" name="T13"/>
                <a:gd fmla="*/ 0 60000 65536" name="T14"/>
                <a:gd fmla="*/ 0 60000 65536" name="T15"/>
                <a:gd fmla="*/ 0 60000 65536" name="T16"/>
                <a:gd fmla="*/ 0 60000 65536" name="T17"/>
              </a:gdLst>
              <a:cxnLst>
                <a:cxn ang="T12">
                  <a:pos x="T0" y="T1"/>
                </a:cxn>
                <a:cxn ang="T13">
                  <a:pos x="T2" y="T3"/>
                </a:cxn>
                <a:cxn ang="T14">
                  <a:pos x="T4" y="T5"/>
                </a:cxn>
                <a:cxn ang="T15">
                  <a:pos x="T6" y="T7"/>
                </a:cxn>
                <a:cxn ang="T16">
                  <a:pos x="T8" y="T9"/>
                </a:cxn>
                <a:cxn ang="T17">
                  <a:pos x="T10" y="T11"/>
                </a:cxn>
              </a:cxnLst>
              <a:rect b="b" l="0" r="r" t="0"/>
              <a:pathLst>
                <a:path h="21600" w="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49" name="AutoShape 13"/>
            <p:cNvSpPr/>
            <p:nvPr/>
          </p:nvSpPr>
          <p:spPr bwMode="auto">
            <a:xfrm>
              <a:off x="1904696" y="4488278"/>
              <a:ext cx="330715" cy="275984"/>
            </a:xfrm>
            <a:custGeom>
              <a:gdLst>
                <a:gd fmla="*/ 37641800 w 21600" name="T0"/>
                <a:gd fmla="*/ 11419145 h 21579" name="T1"/>
                <a:gd fmla="*/ 36976087 w 21600" name="T2"/>
                <a:gd fmla="*/ 13007192 h 21579" name="T3"/>
                <a:gd fmla="*/ 35311824 w 21600" name="T4"/>
                <a:gd fmla="*/ 13896047 h 21579" name="T5"/>
                <a:gd fmla="*/ 35311824 w 21600" name="T6"/>
                <a:gd fmla="*/ 20198404 h 21579" name="T7"/>
                <a:gd fmla="*/ 34382990 w 21600" name="T8"/>
                <a:gd fmla="*/ 22043030 h 21579" name="T9"/>
                <a:gd fmla="*/ 32168064 w 21600" name="T10"/>
                <a:gd fmla="*/ 22810325 h 21579" name="T11"/>
                <a:gd fmla="*/ 28818624 w 21600" name="T12"/>
                <a:gd fmla="*/ 20554678 h 21579" name="T13"/>
                <a:gd fmla="*/ 24599628 w 21600" name="T14"/>
                <a:gd fmla="*/ 18549578 h 21579" name="T15"/>
                <a:gd fmla="*/ 19953619 w 21600" name="T16"/>
                <a:gd fmla="*/ 16985836 h 21579" name="T17"/>
                <a:gd fmla="*/ 15316376 w 21600" name="T18"/>
                <a:gd fmla="*/ 16133456 h 21579" name="T19"/>
                <a:gd fmla="*/ 13887391 w 21600" name="T20"/>
                <a:gd fmla="*/ 16815597 h 21579" name="T21"/>
                <a:gd fmla="*/ 13131048 w 21600" name="T22"/>
                <a:gd fmla="*/ 17882013 h 21579" name="T23"/>
                <a:gd fmla="*/ 13089219 w 21600" name="T24"/>
                <a:gd fmla="*/ 19088225 h 21579" name="T25"/>
                <a:gd fmla="*/ 13849027 w 21600" name="T26"/>
                <a:gd fmla="*/ 20198404 h 21579" name="T27"/>
                <a:gd fmla="*/ 13378515 w 21600" name="T28"/>
                <a:gd fmla="*/ 21489771 h 21579" name="T29"/>
                <a:gd fmla="*/ 13796761 w 21600" name="T30"/>
                <a:gd fmla="*/ 22624255 h 21579" name="T31"/>
                <a:gd fmla="*/ 14809254 w 21600" name="T32"/>
                <a:gd fmla="*/ 23673654 h 21579" name="T33"/>
                <a:gd fmla="*/ 16156335 w 21600" name="T34"/>
                <a:gd fmla="*/ 24673188 h 21579" name="T35"/>
                <a:gd fmla="*/ 14736074 w 21600" name="T36"/>
                <a:gd fmla="*/ 25794281 h 21579" name="T37"/>
                <a:gd fmla="*/ 12568195 w 21600" name="T38"/>
                <a:gd fmla="*/ 26229607 h 21579" name="T39"/>
                <a:gd fmla="*/ 10311399 w 21600" name="T40"/>
                <a:gd fmla="*/ 26050860 h 21579" name="T41"/>
                <a:gd fmla="*/ 8579175 w 21600" name="T42"/>
                <a:gd fmla="*/ 25305463 h 21579" name="T43"/>
                <a:gd fmla="*/ 7760130 w 21600" name="T44"/>
                <a:gd fmla="*/ 23171446 h 21579" name="T45"/>
                <a:gd fmla="*/ 7026456 w 21600" name="T46"/>
                <a:gd fmla="*/ 20943800 h 21579" name="T47"/>
                <a:gd fmla="*/ 6740667 w 21600" name="T48"/>
                <a:gd fmla="*/ 18581170 h 21579" name="T49"/>
                <a:gd fmla="*/ 7232093 w 21600" name="T50"/>
                <a:gd fmla="*/ 15994810 h 21579" name="T51"/>
                <a:gd fmla="*/ 3143802 w 21600" name="T52"/>
                <a:gd fmla="*/ 15994810 h 21579" name="T53"/>
                <a:gd fmla="*/ 930588 w 21600" name="T54"/>
                <a:gd fmla="*/ 15227550 h 21579" name="T55"/>
                <a:gd fmla="*/ 0 w 21600" name="T56"/>
                <a:gd fmla="*/ 13364687 h 21579" name="T57"/>
                <a:gd fmla="*/ 0 w 21600" name="T58"/>
                <a:gd fmla="*/ 9452926 h 21579" name="T59"/>
                <a:gd fmla="*/ 916645 w 21600" name="T60"/>
                <a:gd fmla="*/ 7593724 h 21579" name="T61"/>
                <a:gd fmla="*/ 3143802 w 21600" name="T62"/>
                <a:gd fmla="*/ 6815480 h 21579" name="T63"/>
                <a:gd fmla="*/ 13336686 w 21600" name="T64"/>
                <a:gd fmla="*/ 6815480 h 21579" name="T65"/>
                <a:gd fmla="*/ 18341663 w 21600" name="T66"/>
                <a:gd fmla="*/ 6245204 h 21579" name="T67"/>
                <a:gd fmla="*/ 23545307 w 21600" name="T68"/>
                <a:gd fmla="*/ 4710649 h 21579" name="T69"/>
                <a:gd fmla="*/ 28358548 w 21600" name="T70"/>
                <a:gd fmla="*/ 2519478 h 21579" name="T71"/>
                <a:gd fmla="*/ 32168064 w 21600" name="T72"/>
                <a:gd fmla="*/ 0 h 21579" name="T73"/>
                <a:gd fmla="*/ 34382990 w 21600" name="T74"/>
                <a:gd fmla="*/ 770922 h 21579" name="T75"/>
                <a:gd fmla="*/ 35311824 w 21600" name="T76"/>
                <a:gd fmla="*/ 2633785 h 21579" name="T77"/>
                <a:gd fmla="*/ 35311824 w 21600" name="T78"/>
                <a:gd fmla="*/ 8917905 h 21579" name="T79"/>
                <a:gd fmla="*/ 36976087 w 21600" name="T80"/>
                <a:gd fmla="*/ 9814047 h 21579" name="T81"/>
                <a:gd fmla="*/ 37641800 w 21600" name="T82"/>
                <a:gd fmla="*/ 11419145 h 21579" name="T83"/>
                <a:gd fmla="*/ 32168064 w 21600" name="T84"/>
                <a:gd fmla="*/ 3471588 h 21579" name="T85"/>
                <a:gd fmla="*/ 28776795 w 21600" name="T86"/>
                <a:gd fmla="*/ 5413468 h 21579" name="T87"/>
                <a:gd fmla="*/ 24885417 w 21600" name="T88"/>
                <a:gd fmla="*/ 7093957 h 21579" name="T89"/>
                <a:gd fmla="*/ 20699525 w 21600" name="T90"/>
                <a:gd fmla="*/ 8418138 h 21579" name="T91"/>
                <a:gd fmla="*/ 16480488 w 21600" name="T92"/>
                <a:gd fmla="*/ 9246212 h 21579" name="T93"/>
                <a:gd fmla="*/ 16480488 w 21600" name="T94"/>
                <a:gd fmla="*/ 13585976 h 21579" name="T95"/>
                <a:gd fmla="*/ 20699525 w 21600" name="T96"/>
                <a:gd fmla="*/ 14423780 h 21579" name="T97"/>
                <a:gd fmla="*/ 24885417 w 21600" name="T98"/>
                <a:gd fmla="*/ 15755283 h 21579" name="T99"/>
                <a:gd fmla="*/ 28797710 w 21600" name="T100"/>
                <a:gd fmla="*/ 17446687 h 21579" name="T101"/>
                <a:gd fmla="*/ 32168064 w 21600" name="T102"/>
                <a:gd fmla="*/ 19359415 h 21579" name="T103"/>
                <a:gd fmla="*/ 32168064 w 21600" name="T104"/>
                <a:gd fmla="*/ 3471588 h 21579" name="T105"/>
                <a:gd fmla="*/ 32168064 w 21600" name="T106"/>
                <a:gd fmla="*/ 3471588 h 21579"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b="b" l="0" r="r" t="0"/>
              <a:pathLst>
                <a:path h="21579" w="21600">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w="12700">
                  <a:solidFill>
                    <a:schemeClr val="tx1"/>
                  </a:solidFill>
                  <a:miter lim="800000"/>
                  <a:headEnd len="med" type="none" w="med"/>
                  <a:tailEnd len="med" type="none" w="med"/>
                </a14:hiddenLine>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gdLst>
                <a:gd fmla="*/ 0 w 21600" name="T0"/>
                <a:gd fmla="*/ 2147483647 h 9600" name="T1"/>
                <a:gd fmla="*/ 2147483647 w 21600" name="T2"/>
                <a:gd fmla="*/ 2147483647 h 9600" name="T3"/>
                <a:gd fmla="*/ 0 60000 65536" name="T4"/>
                <a:gd fmla="*/ 0 60000 65536" name="T5"/>
              </a:gdLst>
              <a:cxnLst>
                <a:cxn ang="T4">
                  <a:pos x="T0" y="T1"/>
                </a:cxn>
                <a:cxn ang="T5">
                  <a:pos x="T2" y="T3"/>
                </a:cxn>
              </a:cxnLst>
              <a:rect b="b" l="0" r="r" t="0"/>
              <a:pathLst>
                <a:path h="9600" w="21600">
                  <a:moveTo>
                    <a:pt x="0" y="9600"/>
                  </a:moveTo>
                  <a:cubicBezTo>
                    <a:pt x="0" y="9600"/>
                    <a:pt x="9029" y="-12000"/>
                    <a:pt x="21600" y="9600"/>
                  </a:cubicBezTo>
                </a:path>
              </a:pathLst>
            </a:custGeom>
            <a:noFill/>
            <a:ln cap="flat" w="38100">
              <a:solidFill>
                <a:schemeClr val="bg2">
                  <a:lumMod val="90000"/>
                </a:schemeClr>
              </a:solidFill>
              <a:prstDash val="solid"/>
              <a:miter lim="800000"/>
              <a:headEnd len="med" type="none" w="med"/>
              <a:tailEnd len="med" type="none" w="med"/>
            </a:ln>
            <a:extLst>
              <a:ext uri="{909E8E84-426E-40DD-AFC4-6F175D3DCCD1}">
                <a14:hiddenFill>
                  <a:solidFill>
                    <a:srgbClr val="FFFFFF"/>
                  </a:solidFill>
                </a14:hiddenFill>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gdLst>
                  <a:gd fmla="*/ 0 w 21600" name="T0"/>
                  <a:gd fmla="*/ 2147483647 h 10845" name="T1"/>
                  <a:gd fmla="*/ 2147483647 w 21600" name="T2"/>
                  <a:gd fmla="*/ 2147483647 h 10845" name="T3"/>
                  <a:gd fmla="*/ 0 60000 65536" name="T4"/>
                  <a:gd fmla="*/ 0 60000 65536" name="T5"/>
                </a:gdLst>
                <a:cxnLst>
                  <a:cxn ang="T4">
                    <a:pos x="T0" y="T1"/>
                  </a:cxn>
                  <a:cxn ang="T5">
                    <a:pos x="T2" y="T3"/>
                  </a:cxn>
                </a:cxnLst>
                <a:rect b="b" l="0" r="r" t="0"/>
                <a:pathLst>
                  <a:path h="10845" w="21600">
                    <a:moveTo>
                      <a:pt x="0" y="10845"/>
                    </a:moveTo>
                    <a:cubicBezTo>
                      <a:pt x="0" y="10845"/>
                      <a:pt x="8479" y="-10755"/>
                      <a:pt x="21600" y="7012"/>
                    </a:cubicBezTo>
                  </a:path>
                </a:pathLst>
              </a:custGeom>
              <a:noFill/>
              <a:ln cap="flat" w="38100">
                <a:solidFill>
                  <a:schemeClr val="bg2">
                    <a:lumMod val="90000"/>
                  </a:schemeClr>
                </a:solidFill>
                <a:prstDash val="solid"/>
                <a:miter lim="800000"/>
                <a:headEnd len="med" type="none" w="med"/>
                <a:tailEnd len="med" type="none" w="med"/>
              </a:ln>
              <a:extLst>
                <a:ext uri="{909E8E84-426E-40DD-AFC4-6F175D3DCCD1}">
                  <a14:hiddenFill>
                    <a:solidFill>
                      <a:srgbClr val="FFFFFF"/>
                    </a:solidFill>
                  </a14:hiddenFill>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gdLst>
                <a:gd fmla="*/ 0 w 21600" name="T0"/>
                <a:gd fmla="*/ 2147483647 h 13858" name="T1"/>
                <a:gd fmla="*/ 2147483647 w 21600" name="T2"/>
                <a:gd fmla="*/ 2147483647 h 13858" name="T3"/>
                <a:gd fmla="*/ 0 60000 65536" name="T4"/>
                <a:gd fmla="*/ 0 60000 65536" name="T5"/>
              </a:gdLst>
              <a:cxnLst>
                <a:cxn ang="T4">
                  <a:pos x="T0" y="T1"/>
                </a:cxn>
                <a:cxn ang="T5">
                  <a:pos x="T2" y="T3"/>
                </a:cxn>
              </a:cxnLst>
              <a:rect b="b" l="0" r="r" t="0"/>
              <a:pathLst>
                <a:path h="13858" w="21600">
                  <a:moveTo>
                    <a:pt x="0" y="13858"/>
                  </a:moveTo>
                  <a:cubicBezTo>
                    <a:pt x="0" y="13858"/>
                    <a:pt x="7202" y="-7742"/>
                    <a:pt x="21600" y="2992"/>
                  </a:cubicBezTo>
                </a:path>
              </a:pathLst>
            </a:custGeom>
            <a:noFill/>
            <a:ln cap="flat" w="38100">
              <a:solidFill>
                <a:schemeClr val="bg2">
                  <a:lumMod val="90000"/>
                </a:schemeClr>
              </a:solidFill>
              <a:prstDash val="solid"/>
              <a:miter lim="800000"/>
              <a:headEnd len="med" type="none" w="med"/>
              <a:tailEnd len="med" type="none" w="med"/>
            </a:ln>
            <a:extLst>
              <a:ext uri="{909E8E84-426E-40DD-AFC4-6F175D3DCCD1}">
                <a14:hiddenFill>
                  <a:solidFill>
                    <a:srgbClr val="FFFFFF"/>
                  </a:solidFill>
                </a14:hiddenFill>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gdLst>
                <a:gd fmla="*/ 0 w 21600" name="T0"/>
                <a:gd fmla="*/ 2147483647 h 17258" name="T1"/>
                <a:gd fmla="*/ 2147483647 w 21600" name="T2"/>
                <a:gd fmla="*/ 1459504296 h 17258" name="T3"/>
                <a:gd fmla="*/ 0 60000 65536" name="T4"/>
                <a:gd fmla="*/ 0 60000 65536" name="T5"/>
              </a:gdLst>
              <a:cxnLst>
                <a:cxn ang="T4">
                  <a:pos x="T0" y="T1"/>
                </a:cxn>
                <a:cxn ang="T5">
                  <a:pos x="T2" y="T3"/>
                </a:cxn>
              </a:cxnLst>
              <a:rect b="b" l="0" r="r" t="0"/>
              <a:pathLst>
                <a:path h="17258" w="21600">
                  <a:moveTo>
                    <a:pt x="0" y="17258"/>
                  </a:moveTo>
                  <a:cubicBezTo>
                    <a:pt x="0" y="17258"/>
                    <a:pt x="5818" y="-4342"/>
                    <a:pt x="21600" y="788"/>
                  </a:cubicBezTo>
                </a:path>
              </a:pathLst>
            </a:custGeom>
            <a:noFill/>
            <a:ln cap="flat" w="38100">
              <a:solidFill>
                <a:schemeClr val="bg1">
                  <a:lumMod val="85000"/>
                </a:schemeClr>
              </a:solidFill>
              <a:prstDash val="solid"/>
              <a:miter lim="800000"/>
              <a:headEnd len="med" type="none" w="med"/>
              <a:tailEnd len="med" type="none" w="med"/>
            </a:ln>
            <a:extLst>
              <a:ext uri="{909E8E84-426E-40DD-AFC4-6F175D3DCCD1}">
                <a14:hiddenFill>
                  <a:solidFill>
                    <a:srgbClr val="FFFFFF"/>
                  </a:solidFill>
                </a14:hiddenFill>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gdLst>
                <a:gd fmla="*/ 0 w 21600" name="T0"/>
                <a:gd fmla="*/ 2147483647 h 21600" name="T1"/>
                <a:gd fmla="*/ 2147483647 w 21600" name="T2"/>
                <a:gd fmla="*/ 0 h 21600" name="T3"/>
                <a:gd fmla="*/ 0 60000 65536" name="T4"/>
                <a:gd fmla="*/ 0 60000 65536" name="T5"/>
              </a:gdLst>
              <a:cxnLst>
                <a:cxn ang="T4">
                  <a:pos x="T0" y="T1"/>
                </a:cxn>
                <a:cxn ang="T5">
                  <a:pos x="T2" y="T3"/>
                </a:cxn>
              </a:cxnLst>
              <a:rect b="b" l="0" r="r" t="0"/>
              <a:pathLst>
                <a:path h="21600" w="21600">
                  <a:moveTo>
                    <a:pt x="0" y="21600"/>
                  </a:moveTo>
                  <a:cubicBezTo>
                    <a:pt x="0" y="21600"/>
                    <a:pt x="3117" y="2089"/>
                    <a:pt x="21600" y="0"/>
                  </a:cubicBezTo>
                </a:path>
              </a:pathLst>
            </a:custGeom>
            <a:noFill/>
            <a:ln cap="flat" w="38100">
              <a:solidFill>
                <a:schemeClr val="bg2">
                  <a:lumMod val="90000"/>
                </a:schemeClr>
              </a:solidFill>
              <a:prstDash val="solid"/>
              <a:miter lim="800000"/>
              <a:headEnd len="med" type="none" w="med"/>
              <a:tailEnd len="med" type="none" w="med"/>
            </a:ln>
            <a:extLst>
              <a:ext uri="{909E8E84-426E-40DD-AFC4-6F175D3DCCD1}">
                <a14:hiddenFill>
                  <a:solidFill>
                    <a:srgbClr val="FFFFFF"/>
                  </a:solidFill>
                </a14:hiddenFill>
              </a:ext>
            </a:extLst>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endParaRPr altLang="en-US" lang="zh-CN"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bIns="0" lIns="0" rIns="0" tIns="0"/>
            <a:lstStyle>
              <a:defPPr>
                <a:defRPr lang="en-US"/>
              </a:defPPr>
              <a:lvl1pPr algn="ctr" fontAlgn="base"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1pPr>
              <a:lvl2pPr algn="ctr" fontAlgn="base" marL="4572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2pPr>
              <a:lvl3pPr algn="ctr" fontAlgn="base" marL="9144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3pPr>
              <a:lvl4pPr algn="ctr" fontAlgn="base" marL="13716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4pPr>
              <a:lvl5pPr algn="ctr" fontAlgn="base" marL="1828800" rtl="0">
                <a:spcBef>
                  <a:spcPct val="0"/>
                </a:spcBef>
                <a:spcAft>
                  <a:spcPct val="0"/>
                </a:spcAft>
                <a:defRPr kern="1200" sz="5800">
                  <a:solidFill>
                    <a:srgbClr val="000000"/>
                  </a:solidFill>
                  <a:latin charset="0" pitchFamily="2" typeface="Gill Sans"/>
                  <a:ea charset="-128" pitchFamily="2" typeface="ヒラギノ角ゴ ProN W3"/>
                  <a:cs typeface="+mn-cs"/>
                  <a:sym charset="0" pitchFamily="2" typeface="Gill Sans"/>
                </a:defRPr>
              </a:lvl5pPr>
              <a:lvl6pPr algn="l" defTabSz="914400" eaLnBrk="1" hangingPunct="1" latinLnBrk="0" marL="2286000" rtl="0">
                <a:defRPr kern="1200" sz="5800">
                  <a:solidFill>
                    <a:srgbClr val="000000"/>
                  </a:solidFill>
                  <a:latin charset="0" pitchFamily="2" typeface="Gill Sans"/>
                  <a:ea charset="-128" pitchFamily="2" typeface="ヒラギノ角ゴ ProN W3"/>
                  <a:cs typeface="+mn-cs"/>
                  <a:sym charset="0" pitchFamily="2" typeface="Gill Sans"/>
                </a:defRPr>
              </a:lvl6pPr>
              <a:lvl7pPr algn="l" defTabSz="914400" eaLnBrk="1" hangingPunct="1" latinLnBrk="0" marL="2743200" rtl="0">
                <a:defRPr kern="1200" sz="5800">
                  <a:solidFill>
                    <a:srgbClr val="000000"/>
                  </a:solidFill>
                  <a:latin charset="0" pitchFamily="2" typeface="Gill Sans"/>
                  <a:ea charset="-128" pitchFamily="2" typeface="ヒラギノ角ゴ ProN W3"/>
                  <a:cs typeface="+mn-cs"/>
                  <a:sym charset="0" pitchFamily="2" typeface="Gill Sans"/>
                </a:defRPr>
              </a:lvl7pPr>
              <a:lvl8pPr algn="l" defTabSz="914400" eaLnBrk="1" hangingPunct="1" latinLnBrk="0" marL="3200400" rtl="0">
                <a:defRPr kern="1200" sz="5800">
                  <a:solidFill>
                    <a:srgbClr val="000000"/>
                  </a:solidFill>
                  <a:latin charset="0" pitchFamily="2" typeface="Gill Sans"/>
                  <a:ea charset="-128" pitchFamily="2" typeface="ヒラギノ角ゴ ProN W3"/>
                  <a:cs typeface="+mn-cs"/>
                  <a:sym charset="0" pitchFamily="2" typeface="Gill Sans"/>
                </a:defRPr>
              </a:lvl8pPr>
              <a:lvl9pPr algn="l" defTabSz="914400" eaLnBrk="1" hangingPunct="1" latinLnBrk="0" marL="3657600" rtl="0">
                <a:defRPr kern="1200" sz="5800">
                  <a:solidFill>
                    <a:srgbClr val="000000"/>
                  </a:solidFill>
                  <a:latin charset="0" pitchFamily="2" typeface="Gill Sans"/>
                  <a:ea charset="-128" pitchFamily="2" typeface="ヒラギノ角ゴ ProN W3"/>
                  <a:cs typeface="+mn-cs"/>
                  <a:sym charset="0" pitchFamily="2" typeface="Gill Sans"/>
                </a:defRPr>
              </a:lvl9pPr>
            </a:lstStyle>
            <a:p>
              <a:pPr eaLnBrk="1" hangingPunct="1"/>
              <a:endParaRPr altLang="zh-CN" lang="es-ES" sz="5700">
                <a:solidFill>
                  <a:schemeClr val="tx1">
                    <a:lumMod val="50000"/>
                    <a:lumOff val="50000"/>
                  </a:schemeClr>
                </a:solidFill>
              </a:endParaRPr>
            </a:p>
          </p:txBody>
        </p:sp>
      </p:grpSp>
      <p:graphicFrame>
        <p:nvGraphicFramePr>
          <p:cNvPr id="71" name="图表 43"/>
          <p:cNvGraphicFramePr/>
          <p:nvPr>
            <p:extLst>
              <p:ext uri="{D42A27DB-BD31-4B8C-83A1-F6EECF244321}">
                <p14:modId val="2256859723"/>
              </p:ext>
            </p:extLst>
          </p:nvPr>
        </p:nvGraphicFramePr>
        <p:xfrm>
          <a:off x="4091978" y="1906172"/>
          <a:ext cx="4263920" cy="2577140"/>
        </p:xfrm>
        <a:graphic>
          <a:graphicData uri="http://schemas.openxmlformats.org/drawingml/2006/chart">
            <c:chart xmlns:c="http://schemas.openxmlformats.org/drawingml/2006/chart" r:id="rId3"/>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37402" cy="311121"/>
            </a:xfrm>
            <a:prstGeom prst="rect">
              <a:avLst/>
            </a:prstGeom>
            <a:noFill/>
          </p:spPr>
          <p:txBody>
            <a:bodyPr rtlCol="0" wrap="none">
              <a:spAutoFit/>
            </a:bodyPr>
            <a:lstStyle>
              <a:defPPr>
                <a:defRPr lang="zh-CN"/>
              </a:defPPr>
              <a:lvl1pPr>
                <a:defRPr sz="1400">
                  <a:solidFill>
                    <a:srgbClr val="0070C0"/>
                  </a:solidFill>
                  <a:latin charset="-122" panose="020b0503020204020204" pitchFamily="34" typeface="微软雅黑"/>
                  <a:ea charset="-122" panose="020b0503020204020204" pitchFamily="34" typeface="微软雅黑"/>
                </a:defRPr>
              </a:lvl1pPr>
            </a:lstStyle>
            <a:p>
              <a:pPr algn="l">
                <a:defRPr/>
              </a:pPr>
              <a:r>
                <a:rPr altLang="en-US" lang="zh-CN">
                  <a:solidFill>
                    <a:srgbClr val="00A4E3"/>
                  </a:solidFill>
                </a:rPr>
                <a:t>点击添加标题</a:t>
              </a:r>
            </a:p>
          </p:txBody>
        </p:sp>
        <p:sp>
          <p:nvSpPr>
            <p:cNvPr id="74" name="矩形 35"/>
            <p:cNvSpPr/>
            <p:nvPr/>
          </p:nvSpPr>
          <p:spPr>
            <a:xfrm>
              <a:off x="5054599" y="1650919"/>
              <a:ext cx="3392426" cy="448014"/>
            </a:xfrm>
            <a:prstGeom prst="rect">
              <a:avLst/>
            </a:prstGeom>
          </p:spPr>
          <p:txBody>
            <a:bodyPr wrap="square">
              <a:spAutoFit/>
            </a:bodyPr>
            <a:lstStyle/>
            <a:p>
              <a:pPr algn="just">
                <a:lnSpc>
                  <a:spcPct val="114000"/>
                </a:lnSpc>
              </a:pPr>
              <a:r>
                <a:rPr altLang="en-US" lang="zh-CN" sz="10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数据图表都可以修改颜色大小形状，轻点此处输入文字内容，PPT模板所有文字图片都可编辑，数据图表都可以修改颜色大小形状</a:t>
              </a:r>
            </a:p>
          </p:txBody>
        </p:sp>
      </p:grpSp>
      <p:sp>
        <p:nvSpPr>
          <p:cNvPr id="75" name="平行四边形 74"/>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6" name="平行四边形 75"/>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7" name="平行四边形 76"/>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8" name="平行四边形 77"/>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81" name="Group 7"/>
          <p:cNvGrpSpPr/>
          <p:nvPr/>
        </p:nvGrpSpPr>
        <p:grpSpPr>
          <a:xfrm>
            <a:off x="180202" y="181952"/>
            <a:ext cx="216018" cy="113981"/>
            <a:chExt cx="1041399" cy="549275"/>
          </a:xfrm>
          <a:solidFill>
            <a:srgbClr val="133E73"/>
          </a:solidFill>
        </p:grpSpPr>
        <p:sp>
          <p:nvSpPr>
            <p:cNvPr id="82"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83"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84"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spTree>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81"/>
                                        </p:tgtEl>
                                        <p:attrNameLst>
                                          <p:attrName>style.visibility</p:attrName>
                                        </p:attrNameLst>
                                      </p:cBhvr>
                                      <p:to>
                                        <p:strVal val="visible"/>
                                      </p:to>
                                    </p:set>
                                    <p:anim calcmode="lin" valueType="num">
                                      <p:cBhvr additive="base">
                                        <p:cTn dur="500" fill="hold" id="7"/>
                                        <p:tgtEl>
                                          <p:spTgt spid="81"/>
                                        </p:tgtEl>
                                        <p:attrNameLst>
                                          <p:attrName>ppt_x</p:attrName>
                                        </p:attrNameLst>
                                      </p:cBhvr>
                                      <p:tavLst>
                                        <p:tav tm="0">
                                          <p:val>
                                            <p:strVal val="0-#ppt_w/2"/>
                                          </p:val>
                                        </p:tav>
                                        <p:tav tm="100000">
                                          <p:val>
                                            <p:strVal val="#ppt_x"/>
                                          </p:val>
                                        </p:tav>
                                      </p:tavLst>
                                    </p:anim>
                                    <p:anim calcmode="lin" valueType="num">
                                      <p:cBhvr additive="base">
                                        <p:cTn dur="500" fill="hold" id="8"/>
                                        <p:tgtEl>
                                          <p:spTgt spid="81"/>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80"/>
                                        </p:tgtEl>
                                        <p:attrNameLst>
                                          <p:attrName>style.visibility</p:attrName>
                                        </p:attrNameLst>
                                      </p:cBhvr>
                                      <p:to>
                                        <p:strVal val="visible"/>
                                      </p:to>
                                    </p:set>
                                    <p:anim calcmode="lin" valueType="num">
                                      <p:cBhvr>
                                        <p:cTn dur="500" fill="hold" id="12"/>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80"/>
                                        </p:tgtEl>
                                        <p:attrNameLst>
                                          <p:attrName>ppt_y</p:attrName>
                                        </p:attrNameLst>
                                      </p:cBhvr>
                                      <p:tavLst>
                                        <p:tav tm="0">
                                          <p:val>
                                            <p:strVal val="#ppt_y"/>
                                          </p:val>
                                        </p:tav>
                                        <p:tav tm="100000">
                                          <p:val>
                                            <p:strVal val="#ppt_y"/>
                                          </p:val>
                                        </p:tav>
                                      </p:tavLst>
                                    </p:anim>
                                    <p:anim calcmode="lin" valueType="num">
                                      <p:cBhvr>
                                        <p:cTn dur="500" fill="hold" id="14"/>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80"/>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80"/>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77"/>
                                        </p:tgtEl>
                                        <p:attrNameLst>
                                          <p:attrName>fillcolor</p:attrName>
                                        </p:attrNameLst>
                                      </p:cBhvr>
                                      <p:to>
                                        <a:srgbClr val="00AEEF"/>
                                      </p:to>
                                    </p:animClr>
                                    <p:set>
                                      <p:cBhvr>
                                        <p:cTn dur="300" fill="hold" id="20"/>
                                        <p:tgtEl>
                                          <p:spTgt spid="77"/>
                                        </p:tgtEl>
                                        <p:attrNameLst>
                                          <p:attrName>fill.type</p:attrName>
                                        </p:attrNameLst>
                                      </p:cBhvr>
                                      <p:to>
                                        <p:strVal val="solid"/>
                                      </p:to>
                                    </p:set>
                                    <p:set>
                                      <p:cBhvr>
                                        <p:cTn dur="300" fill="hold" id="21"/>
                                        <p:tgtEl>
                                          <p:spTgt spid="77"/>
                                        </p:tgtEl>
                                        <p:attrNameLst>
                                          <p:attrName>fill.on</p:attrName>
                                        </p:attrNameLst>
                                      </p:cBhvr>
                                      <p:to>
                                        <p:strVal val="true"/>
                                      </p:to>
                                    </p:set>
                                  </p:childTnLst>
                                </p:cTn>
                              </p:par>
                              <p:par>
                                <p:cTn fill="hold" id="22" nodeType="withEffect" presetClass="entr" presetID="53" presetSubtype="0">
                                  <p:stCondLst>
                                    <p:cond delay="0"/>
                                  </p:stCondLst>
                                  <p:childTnLst>
                                    <p:set>
                                      <p:cBhvr>
                                        <p:cTn dur="1" fill="hold" id="23">
                                          <p:stCondLst>
                                            <p:cond delay="0"/>
                                          </p:stCondLst>
                                        </p:cTn>
                                        <p:tgtEl>
                                          <p:spTgt spid="72"/>
                                        </p:tgtEl>
                                        <p:attrNameLst>
                                          <p:attrName>style.visibility</p:attrName>
                                        </p:attrNameLst>
                                      </p:cBhvr>
                                      <p:to>
                                        <p:strVal val="visible"/>
                                      </p:to>
                                    </p:set>
                                    <p:anim calcmode="lin" valueType="num">
                                      <p:cBhvr>
                                        <p:cTn dur="500" fill="hold" id="24"/>
                                        <p:tgtEl>
                                          <p:spTgt spid="72"/>
                                        </p:tgtEl>
                                        <p:attrNameLst>
                                          <p:attrName>ppt_w</p:attrName>
                                        </p:attrNameLst>
                                      </p:cBhvr>
                                      <p:tavLst>
                                        <p:tav tm="0">
                                          <p:val>
                                            <p:fltVal val="0"/>
                                          </p:val>
                                        </p:tav>
                                        <p:tav tm="100000">
                                          <p:val>
                                            <p:strVal val="#ppt_w"/>
                                          </p:val>
                                        </p:tav>
                                      </p:tavLst>
                                    </p:anim>
                                    <p:anim calcmode="lin" valueType="num">
                                      <p:cBhvr>
                                        <p:cTn dur="500" fill="hold" id="25"/>
                                        <p:tgtEl>
                                          <p:spTgt spid="72"/>
                                        </p:tgtEl>
                                        <p:attrNameLst>
                                          <p:attrName>ppt_h</p:attrName>
                                        </p:attrNameLst>
                                      </p:cBhvr>
                                      <p:tavLst>
                                        <p:tav tm="0">
                                          <p:val>
                                            <p:fltVal val="0"/>
                                          </p:val>
                                        </p:tav>
                                        <p:tav tm="100000">
                                          <p:val>
                                            <p:strVal val="#ppt_h"/>
                                          </p:val>
                                        </p:tav>
                                      </p:tavLst>
                                    </p:anim>
                                    <p:animEffect filter="fade" transition="in">
                                      <p:cBhvr>
                                        <p:cTn dur="500" id="26"/>
                                        <p:tgtEl>
                                          <p:spTgt spid="72"/>
                                        </p:tgtEl>
                                      </p:cBhvr>
                                    </p:animEffect>
                                  </p:childTnLst>
                                </p:cTn>
                              </p:par>
                            </p:childTnLst>
                          </p:cTn>
                        </p:par>
                        <p:par>
                          <p:cTn fill="hold" id="27" nodeType="afterGroup">
                            <p:stCondLst>
                              <p:cond delay="1500"/>
                            </p:stCondLst>
                            <p:childTnLst>
                              <p:par>
                                <p:cTn fill="hold" id="28" nodeType="afterEffect" presetClass="entr" presetID="12" presetSubtype="4">
                                  <p:stCondLst>
                                    <p:cond delay="0"/>
                                  </p:stCondLst>
                                  <p:childTnLst>
                                    <p:set>
                                      <p:cBhvr>
                                        <p:cTn dur="1" fill="hold" id="29">
                                          <p:stCondLst>
                                            <p:cond delay="0"/>
                                          </p:stCondLst>
                                        </p:cTn>
                                        <p:tgtEl>
                                          <p:spTgt spid="47"/>
                                        </p:tgtEl>
                                        <p:attrNameLst>
                                          <p:attrName>style.visibility</p:attrName>
                                        </p:attrNameLst>
                                      </p:cBhvr>
                                      <p:to>
                                        <p:strVal val="visible"/>
                                      </p:to>
                                    </p:set>
                                    <p:animEffect filter="slide(fromBottom)" transition="in">
                                      <p:cBhvr>
                                        <p:cTn dur="500" id="30"/>
                                        <p:tgtEl>
                                          <p:spTgt spid="47"/>
                                        </p:tgtEl>
                                      </p:cBhvr>
                                    </p:animEffect>
                                  </p:childTnLst>
                                </p:cTn>
                              </p:par>
                            </p:childTnLst>
                          </p:cTn>
                        </p:par>
                        <p:par>
                          <p:cTn fill="hold" id="31" nodeType="afterGroup">
                            <p:stCondLst>
                              <p:cond delay="2000"/>
                            </p:stCondLst>
                            <p:childTnLst>
                              <p:par>
                                <p:cTn fill="hold" id="32" nodeType="afterEffect" presetClass="entr" presetID="12" presetSubtype="4">
                                  <p:stCondLst>
                                    <p:cond delay="0"/>
                                  </p:stCondLst>
                                  <p:childTnLst>
                                    <p:set>
                                      <p:cBhvr>
                                        <p:cTn dur="1" fill="hold" id="33">
                                          <p:stCondLst>
                                            <p:cond delay="0"/>
                                          </p:stCondLst>
                                        </p:cTn>
                                        <p:tgtEl>
                                          <p:spTgt spid="36"/>
                                        </p:tgtEl>
                                        <p:attrNameLst>
                                          <p:attrName>style.visibility</p:attrName>
                                        </p:attrNameLst>
                                      </p:cBhvr>
                                      <p:to>
                                        <p:strVal val="visible"/>
                                      </p:to>
                                    </p:set>
                                    <p:animEffect filter="slide(fromBottom)" transition="in">
                                      <p:cBhvr>
                                        <p:cTn dur="500" id="34"/>
                                        <p:tgtEl>
                                          <p:spTgt spid="36"/>
                                        </p:tgtEl>
                                      </p:cBhvr>
                                    </p:animEffect>
                                  </p:childTnLst>
                                </p:cTn>
                              </p:par>
                            </p:childTnLst>
                          </p:cTn>
                        </p:par>
                        <p:par>
                          <p:cTn fill="hold" id="35" nodeType="afterGroup">
                            <p:stCondLst>
                              <p:cond delay="2500"/>
                            </p:stCondLst>
                            <p:childTnLst>
                              <p:par>
                                <p:cTn fill="hold" id="36" nodeType="afterEffect" presetClass="entr" presetID="12" presetSubtype="4">
                                  <p:stCondLst>
                                    <p:cond delay="0"/>
                                  </p:stCondLst>
                                  <p:childTnLst>
                                    <p:set>
                                      <p:cBhvr>
                                        <p:cTn dur="1" fill="hold" id="37">
                                          <p:stCondLst>
                                            <p:cond delay="0"/>
                                          </p:stCondLst>
                                        </p:cTn>
                                        <p:tgtEl>
                                          <p:spTgt spid="44"/>
                                        </p:tgtEl>
                                        <p:attrNameLst>
                                          <p:attrName>style.visibility</p:attrName>
                                        </p:attrNameLst>
                                      </p:cBhvr>
                                      <p:to>
                                        <p:strVal val="visible"/>
                                      </p:to>
                                    </p:set>
                                    <p:animEffect filter="slide(fromBottom)" transition="in">
                                      <p:cBhvr>
                                        <p:cTn dur="500" id="38"/>
                                        <p:tgtEl>
                                          <p:spTgt spid="44"/>
                                        </p:tgtEl>
                                      </p:cBhvr>
                                    </p:animEffect>
                                  </p:childTnLst>
                                </p:cTn>
                              </p:par>
                            </p:childTnLst>
                          </p:cTn>
                        </p:par>
                        <p:par>
                          <p:cTn fill="hold" id="39" nodeType="afterGroup">
                            <p:stCondLst>
                              <p:cond delay="3000"/>
                            </p:stCondLst>
                            <p:childTnLst>
                              <p:par>
                                <p:cTn fill="hold" id="40" nodeType="afterEffect" presetClass="entr" presetID="12" presetSubtype="4">
                                  <p:stCondLst>
                                    <p:cond delay="0"/>
                                  </p:stCondLst>
                                  <p:childTnLst>
                                    <p:set>
                                      <p:cBhvr>
                                        <p:cTn dur="1" fill="hold" id="41">
                                          <p:stCondLst>
                                            <p:cond delay="0"/>
                                          </p:stCondLst>
                                        </p:cTn>
                                        <p:tgtEl>
                                          <p:spTgt spid="41"/>
                                        </p:tgtEl>
                                        <p:attrNameLst>
                                          <p:attrName>style.visibility</p:attrName>
                                        </p:attrNameLst>
                                      </p:cBhvr>
                                      <p:to>
                                        <p:strVal val="visible"/>
                                      </p:to>
                                    </p:set>
                                    <p:animEffect filter="slide(fromBottom)" transition="in">
                                      <p:cBhvr>
                                        <p:cTn dur="500" id="42"/>
                                        <p:tgtEl>
                                          <p:spTgt spid="41"/>
                                        </p:tgtEl>
                                      </p:cBhvr>
                                    </p:animEffect>
                                  </p:childTnLst>
                                </p:cTn>
                              </p:par>
                            </p:childTnLst>
                          </p:cTn>
                        </p:par>
                        <p:par>
                          <p:cTn fill="hold" id="43" nodeType="afterGroup">
                            <p:stCondLst>
                              <p:cond delay="3500"/>
                            </p:stCondLst>
                            <p:childTnLst>
                              <p:par>
                                <p:cTn fill="hold" id="44" nodeType="afterEffect" presetClass="entr" presetID="12" presetSubtype="4">
                                  <p:stCondLst>
                                    <p:cond delay="0"/>
                                  </p:stCondLst>
                                  <p:childTnLst>
                                    <p:set>
                                      <p:cBhvr>
                                        <p:cTn dur="1" fill="hold" id="45">
                                          <p:stCondLst>
                                            <p:cond delay="0"/>
                                          </p:stCondLst>
                                        </p:cTn>
                                        <p:tgtEl>
                                          <p:spTgt spid="33"/>
                                        </p:tgtEl>
                                        <p:attrNameLst>
                                          <p:attrName>style.visibility</p:attrName>
                                        </p:attrNameLst>
                                      </p:cBhvr>
                                      <p:to>
                                        <p:strVal val="visible"/>
                                      </p:to>
                                    </p:set>
                                    <p:animEffect filter="slide(fromBottom)" transition="in">
                                      <p:cBhvr>
                                        <p:cTn dur="500" id="46"/>
                                        <p:tgtEl>
                                          <p:spTgt spid="33"/>
                                        </p:tgtEl>
                                      </p:cBhvr>
                                    </p:animEffect>
                                  </p:childTnLst>
                                </p:cTn>
                              </p:par>
                            </p:childTnLst>
                          </p:cTn>
                        </p:par>
                        <p:par>
                          <p:cTn fill="hold" id="47" nodeType="afterGroup">
                            <p:stCondLst>
                              <p:cond delay="4000"/>
                            </p:stCondLst>
                            <p:childTnLst>
                              <p:par>
                                <p:cTn fill="hold" grpId="0" id="48" nodeType="afterEffect" presetClass="entr" presetID="12" presetSubtype="2">
                                  <p:stCondLst>
                                    <p:cond delay="0"/>
                                  </p:stCondLst>
                                  <p:childTnLst>
                                    <p:set>
                                      <p:cBhvr>
                                        <p:cTn dur="1" fill="hold" id="49">
                                          <p:stCondLst>
                                            <p:cond delay="0"/>
                                          </p:stCondLst>
                                        </p:cTn>
                                        <p:tgtEl>
                                          <p:spTgt spid="71"/>
                                        </p:tgtEl>
                                        <p:attrNameLst>
                                          <p:attrName>style.visibility</p:attrName>
                                        </p:attrNameLst>
                                      </p:cBhvr>
                                      <p:to>
                                        <p:strVal val="visible"/>
                                      </p:to>
                                    </p:set>
                                    <p:animEffect filter="slide(fromRight)" transition="in">
                                      <p:cBhvr>
                                        <p:cTn dur="1000" id="50"/>
                                        <p:tgtEl>
                                          <p:spTgt spid="71"/>
                                        </p:tgtEl>
                                      </p:cBhvr>
                                    </p:animEffect>
                                  </p:childTnLst>
                                </p:cTn>
                              </p:par>
                            </p:childTnLst>
                          </p:cTn>
                        </p:par>
                        <p:par>
                          <p:cTn fill="hold" id="51" nodeType="afterGroup">
                            <p:stCondLst>
                              <p:cond delay="5000"/>
                            </p:stCondLst>
                            <p:childTnLst>
                              <p:par>
                                <p:cTn fill="hold" id="52" nodeType="afterEffect" presetClass="entr" presetID="12" presetSubtype="8">
                                  <p:stCondLst>
                                    <p:cond delay="0"/>
                                  </p:stCondLst>
                                  <p:childTnLst>
                                    <p:set>
                                      <p:cBhvr>
                                        <p:cTn dur="1" fill="hold" id="53">
                                          <p:stCondLst>
                                            <p:cond delay="0"/>
                                          </p:stCondLst>
                                        </p:cTn>
                                        <p:tgtEl>
                                          <p:spTgt spid="67"/>
                                        </p:tgtEl>
                                        <p:attrNameLst>
                                          <p:attrName>style.visibility</p:attrName>
                                        </p:attrNameLst>
                                      </p:cBhvr>
                                      <p:to>
                                        <p:strVal val="visible"/>
                                      </p:to>
                                    </p:set>
                                    <p:animEffect filter="slide(fromLeft)" transition="in">
                                      <p:cBhvr>
                                        <p:cTn dur="500" id="54"/>
                                        <p:tgtEl>
                                          <p:spTgt spid="67"/>
                                        </p:tgtEl>
                                      </p:cBhvr>
                                    </p:animEffect>
                                  </p:childTnLst>
                                </p:cTn>
                              </p:par>
                            </p:childTnLst>
                          </p:cTn>
                        </p:par>
                        <p:par>
                          <p:cTn fill="hold" id="55" nodeType="afterGroup">
                            <p:stCondLst>
                              <p:cond delay="5500"/>
                            </p:stCondLst>
                            <p:childTnLst>
                              <p:par>
                                <p:cTn fill="hold" id="56" nodeType="afterEffect" presetClass="entr" presetID="12" presetSubtype="8">
                                  <p:stCondLst>
                                    <p:cond delay="0"/>
                                  </p:stCondLst>
                                  <p:childTnLst>
                                    <p:set>
                                      <p:cBhvr>
                                        <p:cTn dur="1" fill="hold" id="57">
                                          <p:stCondLst>
                                            <p:cond delay="0"/>
                                          </p:stCondLst>
                                        </p:cTn>
                                        <p:tgtEl>
                                          <p:spTgt spid="63"/>
                                        </p:tgtEl>
                                        <p:attrNameLst>
                                          <p:attrName>style.visibility</p:attrName>
                                        </p:attrNameLst>
                                      </p:cBhvr>
                                      <p:to>
                                        <p:strVal val="visible"/>
                                      </p:to>
                                    </p:set>
                                    <p:animEffect filter="slide(fromLeft)" transition="in">
                                      <p:cBhvr>
                                        <p:cTn dur="500" id="58"/>
                                        <p:tgtEl>
                                          <p:spTgt spid="63"/>
                                        </p:tgtEl>
                                      </p:cBhvr>
                                    </p:animEffect>
                                  </p:childTnLst>
                                </p:cTn>
                              </p:par>
                            </p:childTnLst>
                          </p:cTn>
                        </p:par>
                        <p:par>
                          <p:cTn fill="hold" id="59" nodeType="afterGroup">
                            <p:stCondLst>
                              <p:cond delay="6000"/>
                            </p:stCondLst>
                            <p:childTnLst>
                              <p:par>
                                <p:cTn fill="hold" id="60" nodeType="afterEffect" presetClass="entr" presetID="12" presetSubtype="8">
                                  <p:stCondLst>
                                    <p:cond delay="0"/>
                                  </p:stCondLst>
                                  <p:childTnLst>
                                    <p:set>
                                      <p:cBhvr>
                                        <p:cTn dur="1" fill="hold" id="61">
                                          <p:stCondLst>
                                            <p:cond delay="0"/>
                                          </p:stCondLst>
                                        </p:cTn>
                                        <p:tgtEl>
                                          <p:spTgt spid="59"/>
                                        </p:tgtEl>
                                        <p:attrNameLst>
                                          <p:attrName>style.visibility</p:attrName>
                                        </p:attrNameLst>
                                      </p:cBhvr>
                                      <p:to>
                                        <p:strVal val="visible"/>
                                      </p:to>
                                    </p:set>
                                    <p:animEffect filter="slide(fromLeft)" transition="in">
                                      <p:cBhvr>
                                        <p:cTn dur="500" id="62"/>
                                        <p:tgtEl>
                                          <p:spTgt spid="59"/>
                                        </p:tgtEl>
                                      </p:cBhvr>
                                    </p:animEffect>
                                  </p:childTnLst>
                                </p:cTn>
                              </p:par>
                            </p:childTnLst>
                          </p:cTn>
                        </p:par>
                        <p:par>
                          <p:cTn fill="hold" id="63" nodeType="afterGroup">
                            <p:stCondLst>
                              <p:cond delay="6500"/>
                            </p:stCondLst>
                            <p:childTnLst>
                              <p:par>
                                <p:cTn fill="hold" id="64" nodeType="afterEffect" presetClass="entr" presetID="12" presetSubtype="8">
                                  <p:stCondLst>
                                    <p:cond delay="0"/>
                                  </p:stCondLst>
                                  <p:childTnLst>
                                    <p:set>
                                      <p:cBhvr>
                                        <p:cTn dur="1" fill="hold" id="65">
                                          <p:stCondLst>
                                            <p:cond delay="0"/>
                                          </p:stCondLst>
                                        </p:cTn>
                                        <p:tgtEl>
                                          <p:spTgt spid="54"/>
                                        </p:tgtEl>
                                        <p:attrNameLst>
                                          <p:attrName>style.visibility</p:attrName>
                                        </p:attrNameLst>
                                      </p:cBhvr>
                                      <p:to>
                                        <p:strVal val="visible"/>
                                      </p:to>
                                    </p:set>
                                    <p:animEffect filter="slide(fromLeft)" transition="in">
                                      <p:cBhvr>
                                        <p:cTn dur="500" id="66"/>
                                        <p:tgtEl>
                                          <p:spTgt spid="54"/>
                                        </p:tgtEl>
                                      </p:cBhvr>
                                    </p:animEffect>
                                  </p:childTnLst>
                                </p:cTn>
                              </p:par>
                            </p:childTnLst>
                          </p:cTn>
                        </p:par>
                        <p:par>
                          <p:cTn fill="hold" id="67" nodeType="afterGroup">
                            <p:stCondLst>
                              <p:cond delay="7000"/>
                            </p:stCondLst>
                            <p:childTnLst>
                              <p:par>
                                <p:cTn fill="hold" id="68" nodeType="afterEffect" presetClass="entr" presetID="12" presetSubtype="8">
                                  <p:stCondLst>
                                    <p:cond delay="0"/>
                                  </p:stCondLst>
                                  <p:childTnLst>
                                    <p:set>
                                      <p:cBhvr>
                                        <p:cTn dur="1" fill="hold" id="69">
                                          <p:stCondLst>
                                            <p:cond delay="0"/>
                                          </p:stCondLst>
                                        </p:cTn>
                                        <p:tgtEl>
                                          <p:spTgt spid="50"/>
                                        </p:tgtEl>
                                        <p:attrNameLst>
                                          <p:attrName>style.visibility</p:attrName>
                                        </p:attrNameLst>
                                      </p:cBhvr>
                                      <p:to>
                                        <p:strVal val="visible"/>
                                      </p:to>
                                    </p:set>
                                    <p:animEffect filter="slide(fromLeft)" transition="in">
                                      <p:cBhvr>
                                        <p:cTn dur="500" id="70"/>
                                        <p:tgtEl>
                                          <p:spTgt spid="5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7"/>
      <p:bldP grpId="0" spid="80"/>
      <p:bldGraphic grpId="0" spid="71">
        <p:bldAsOne/>
      </p:bldGraphic>
    </p:bldLst>
  </p:timing>
  <p:extLst mod="1">
    <p:ext uri="{E180D4A7-C9FB-4DFB-919C-405C955672EB}">
      <p14:showEvtLst>
        <p14:playEvt objId="85" time="1315"/>
        <p14:stopEvt objId="85" time="2081"/>
      </p14:showEvtLst>
    </p:ext>
  </p:extLst>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04" name="Group 4"/>
          <p:cNvGrpSpPr>
            <a:grpSpLocks noChangeAspect="1"/>
          </p:cNvGrpSpPr>
          <p:nvPr/>
        </p:nvGrpSpPr>
        <p:grpSpPr>
          <a:xfrm>
            <a:off x="3021489" y="1947092"/>
            <a:ext cx="2974816" cy="2300003"/>
            <a:chOff x="2329" y="786"/>
            <a:chExt cx="3022" cy="2347"/>
          </a:xfrm>
        </p:grpSpPr>
        <p:sp>
          <p:nvSpPr>
            <p:cNvPr id="105" name="Freeform 5"/>
            <p:cNvSpPr/>
            <p:nvPr/>
          </p:nvSpPr>
          <p:spPr bwMode="auto">
            <a:xfrm>
              <a:off x="3462" y="1393"/>
              <a:ext cx="387" cy="1740"/>
            </a:xfrm>
            <a:custGeom>
              <a:gdLst>
                <a:gd fmla="*/ 0 w 164" name="T0"/>
                <a:gd fmla="*/ 1140 h 1222" name="T1"/>
                <a:gd fmla="*/ 0 w 164" name="T2"/>
                <a:gd fmla="*/ 1140 h 1222" name="T3"/>
                <a:gd fmla="*/ 82 w 164" name="T4"/>
                <a:gd fmla="*/ 1222 h 1222" name="T5"/>
                <a:gd fmla="*/ 82 w 164" name="T6"/>
                <a:gd fmla="*/ 1222 h 1222" name="T7"/>
                <a:gd fmla="*/ 164 w 164" name="T8"/>
                <a:gd fmla="*/ 1140 h 1222" name="T9"/>
                <a:gd fmla="*/ 164 w 164" name="T10"/>
                <a:gd fmla="*/ 1140 h 1222" name="T11"/>
                <a:gd fmla="*/ 164 w 164" name="T12"/>
                <a:gd fmla="*/ 0 h 1222" name="T13"/>
                <a:gd fmla="*/ 0 w 10000" name="connsiteX0"/>
                <a:gd fmla="*/ 9830 h 10501" name="connsiteY0"/>
                <a:gd fmla="*/ 0 w 10000" name="connsiteX1"/>
                <a:gd fmla="*/ 9830 h 10501" name="connsiteY1"/>
                <a:gd fmla="*/ 5000 w 10000" name="connsiteX2"/>
                <a:gd fmla="*/ 10501 h 10501" name="connsiteY2"/>
                <a:gd fmla="*/ 5000 w 10000" name="connsiteX3"/>
                <a:gd fmla="*/ 10501 h 10501" name="connsiteY3"/>
                <a:gd fmla="*/ 10000 w 10000" name="connsiteX4"/>
                <a:gd fmla="*/ 9830 h 10501" name="connsiteY4"/>
                <a:gd fmla="*/ 10000 w 10000" name="connsiteX5"/>
                <a:gd fmla="*/ 9830 h 10501" name="connsiteY5"/>
                <a:gd fmla="*/ 10000 w 10000" name="connsiteX6"/>
                <a:gd fmla="*/ 0 h 10501" name="connsiteY6"/>
                <a:gd fmla="*/ 0 w 10000" name="connsiteX0-1"/>
                <a:gd fmla="*/ 5342 h 6013" name="connsiteY0-2"/>
                <a:gd fmla="*/ 0 w 10000" name="connsiteX1-3"/>
                <a:gd fmla="*/ 5342 h 6013" name="connsiteY1-4"/>
                <a:gd fmla="*/ 5000 w 10000" name="connsiteX2-5"/>
                <a:gd fmla="*/ 6013 h 6013" name="connsiteY2-6"/>
                <a:gd fmla="*/ 5000 w 10000" name="connsiteX3-7"/>
                <a:gd fmla="*/ 6013 h 6013" name="connsiteY3-8"/>
                <a:gd fmla="*/ 10000 w 10000" name="connsiteX4-9"/>
                <a:gd fmla="*/ 5342 h 6013" name="connsiteY4-10"/>
                <a:gd fmla="*/ 10000 w 10000" name="connsiteX5-11"/>
                <a:gd fmla="*/ 5342 h 6013" name="connsiteY5-12"/>
                <a:gd fmla="*/ 10000 w 10000" name="connsiteX6-13"/>
                <a:gd fmla="*/ 0 h 6013" name="connsiteY6-14"/>
              </a:gd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b="b" l="l" r="r" t="t"/>
              <a:pathLst>
                <a:path h="6013" w="10000">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cap="rnd" w="101600">
              <a:solidFill>
                <a:srgbClr val="B3B3B3"/>
              </a:solidFill>
              <a:prstDash val="solid"/>
              <a:round/>
            </a:ln>
          </p:spPr>
          <p:txBody>
            <a:bodyPr bIns="18080" lIns="36159" rIns="36159" tIns="18080"/>
            <a:lstStyle/>
            <a:p>
              <a:pPr eaLnBrk="1" hangingPunct="1">
                <a:lnSpc>
                  <a:spcPct val="120000"/>
                </a:lnSpc>
                <a:defRPr/>
              </a:pPr>
              <a:endParaRPr lang="en-US" noProof="1" sz="1100">
                <a:latin charset="0" pitchFamily="34" typeface="Arial"/>
                <a:ea charset="-122" panose="020b0503020204020204" pitchFamily="34" typeface="微软雅黑"/>
                <a:sym charset="0" pitchFamily="34" typeface="Arial"/>
              </a:endParaRPr>
            </a:p>
          </p:txBody>
        </p:sp>
        <p:sp>
          <p:nvSpPr>
            <p:cNvPr id="106" name="Freeform 6"/>
            <p:cNvSpPr/>
            <p:nvPr/>
          </p:nvSpPr>
          <p:spPr bwMode="auto">
            <a:xfrm>
              <a:off x="3841" y="786"/>
              <a:ext cx="1510" cy="1346"/>
            </a:xfrm>
            <a:custGeom>
              <a:gdLst>
                <a:gd fmla="*/ 0 w 638" name="T0"/>
                <a:gd fmla="*/ 0 h 568" name="T1"/>
                <a:gd fmla="*/ 0 w 638" name="T2"/>
                <a:gd fmla="*/ 568 h 568" name="T3"/>
                <a:gd fmla="*/ 159 w 638" name="T4"/>
                <a:gd fmla="*/ 484 h 568" name="T5"/>
                <a:gd fmla="*/ 319 w 638" name="T6"/>
                <a:gd fmla="*/ 568 h 568" name="T7"/>
                <a:gd fmla="*/ 479 w 638" name="T8"/>
                <a:gd fmla="*/ 484 h 568" name="T9"/>
                <a:gd fmla="*/ 638 w 638" name="T10"/>
                <a:gd fmla="*/ 567 h 568" name="T11"/>
                <a:gd fmla="*/ 0 w 638" name="T12"/>
                <a:gd fmla="*/ 0 h 568" name="T13"/>
              </a:gdLst>
              <a:cxnLst>
                <a:cxn ang="0">
                  <a:pos x="T0" y="T1"/>
                </a:cxn>
                <a:cxn ang="0">
                  <a:pos x="T2" y="T3"/>
                </a:cxn>
                <a:cxn ang="0">
                  <a:pos x="T4" y="T5"/>
                </a:cxn>
                <a:cxn ang="0">
                  <a:pos x="T6" y="T7"/>
                </a:cxn>
                <a:cxn ang="0">
                  <a:pos x="T8" y="T9"/>
                </a:cxn>
                <a:cxn ang="0">
                  <a:pos x="T10" y="T11"/>
                </a:cxn>
                <a:cxn ang="0">
                  <a:pos x="T12" y="T13"/>
                </a:cxn>
              </a:cxnLst>
              <a:rect b="b" l="0" r="r" t="0"/>
              <a:pathLst>
                <a:path h="568" w="63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bIns="18080" lIns="36159" rIns="36159" tIns="18080"/>
            <a:lstStyle/>
            <a:p>
              <a:pPr eaLnBrk="1" hangingPunct="1">
                <a:lnSpc>
                  <a:spcPct val="120000"/>
                </a:lnSpc>
                <a:defRPr/>
              </a:pPr>
              <a:endParaRPr lang="en-US" noProof="1" sz="1100">
                <a:latin charset="0" pitchFamily="34" typeface="Arial"/>
                <a:ea charset="-122" panose="020b0503020204020204" pitchFamily="34" typeface="微软雅黑"/>
                <a:sym charset="0" pitchFamily="34" typeface="Arial"/>
              </a:endParaRPr>
            </a:p>
          </p:txBody>
        </p:sp>
        <p:sp>
          <p:nvSpPr>
            <p:cNvPr id="107" name="Freeform 7"/>
            <p:cNvSpPr/>
            <p:nvPr/>
          </p:nvSpPr>
          <p:spPr bwMode="auto">
            <a:xfrm>
              <a:off x="2329" y="786"/>
              <a:ext cx="1512" cy="1346"/>
            </a:xfrm>
            <a:custGeom>
              <a:gdLst>
                <a:gd fmla="*/ 639 w 639" name="T0"/>
                <a:gd fmla="*/ 0 h 568" name="T1"/>
                <a:gd fmla="*/ 639 w 639" name="T2"/>
                <a:gd fmla="*/ 0 h 568" name="T3"/>
                <a:gd fmla="*/ 0 w 639" name="T4"/>
                <a:gd fmla="*/ 568 h 568" name="T5"/>
                <a:gd fmla="*/ 160 w 639" name="T6"/>
                <a:gd fmla="*/ 484 h 568" name="T7"/>
                <a:gd fmla="*/ 320 w 639" name="T8"/>
                <a:gd fmla="*/ 568 h 568" name="T9"/>
                <a:gd fmla="*/ 479 w 639" name="T10"/>
                <a:gd fmla="*/ 484 h 568" name="T11"/>
                <a:gd fmla="*/ 639 w 639" name="T12"/>
                <a:gd fmla="*/ 568 h 568" name="T13"/>
                <a:gd fmla="*/ 639 w 639" name="T14"/>
                <a:gd fmla="*/ 0 h 56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568" w="639">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bIns="18080" lIns="36159" rIns="36159" tIns="18080"/>
            <a:lstStyle/>
            <a:p>
              <a:pPr eaLnBrk="1" hangingPunct="1">
                <a:lnSpc>
                  <a:spcPct val="120000"/>
                </a:lnSpc>
                <a:defRPr/>
              </a:pPr>
              <a:endParaRPr lang="en-US" noProof="1" sz="1100">
                <a:latin charset="0" pitchFamily="34" typeface="Arial"/>
                <a:ea charset="-122" panose="020b0503020204020204" pitchFamily="34" typeface="微软雅黑"/>
                <a:sym charset="0" pitchFamily="34" typeface="Arial"/>
              </a:endParaRPr>
            </a:p>
          </p:txBody>
        </p:sp>
        <p:sp>
          <p:nvSpPr>
            <p:cNvPr id="108" name="Freeform 8"/>
            <p:cNvSpPr/>
            <p:nvPr/>
          </p:nvSpPr>
          <p:spPr bwMode="auto">
            <a:xfrm>
              <a:off x="3083" y="786"/>
              <a:ext cx="755" cy="1341"/>
            </a:xfrm>
            <a:custGeom>
              <a:gdLst>
                <a:gd fmla="*/ 161 w 319" name="T0"/>
                <a:gd fmla="*/ 484 h 566" name="T1"/>
                <a:gd fmla="*/ 319 w 319" name="T2"/>
                <a:gd fmla="*/ 565 h 566" name="T3"/>
                <a:gd fmla="*/ 319 w 319" name="T4"/>
                <a:gd fmla="*/ 0 h 566" name="T5"/>
                <a:gd fmla="*/ 317 w 319" name="T6"/>
                <a:gd fmla="*/ 0 h 566" name="T7"/>
                <a:gd fmla="*/ 0 w 319" name="T8"/>
                <a:gd fmla="*/ 565 h 566" name="T9"/>
                <a:gd fmla="*/ 0 w 319" name="T10"/>
                <a:gd fmla="*/ 566 h 566" name="T11"/>
                <a:gd fmla="*/ 5 w 319" name="T12"/>
                <a:gd fmla="*/ 564 h 566" name="T13"/>
                <a:gd fmla="*/ 161 w 319" name="T14"/>
                <a:gd fmla="*/ 484 h 56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566" w="319">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bIns="18080" lIns="36159" rIns="36159" tIns="18080"/>
            <a:lstStyle/>
            <a:p>
              <a:pPr eaLnBrk="1" hangingPunct="1">
                <a:lnSpc>
                  <a:spcPct val="120000"/>
                </a:lnSpc>
                <a:defRPr/>
              </a:pPr>
              <a:endParaRPr lang="en-US" noProof="1" sz="1100">
                <a:latin charset="0" pitchFamily="34" typeface="Arial"/>
                <a:ea charset="-122" panose="020b0503020204020204" pitchFamily="34" typeface="微软雅黑"/>
                <a:sym charset="0" pitchFamily="34" typeface="Arial"/>
              </a:endParaRPr>
            </a:p>
          </p:txBody>
        </p:sp>
        <p:sp>
          <p:nvSpPr>
            <p:cNvPr id="109" name="Freeform 9"/>
            <p:cNvSpPr/>
            <p:nvPr/>
          </p:nvSpPr>
          <p:spPr bwMode="auto">
            <a:xfrm>
              <a:off x="3838" y="786"/>
              <a:ext cx="755" cy="1346"/>
            </a:xfrm>
            <a:custGeom>
              <a:gdLst>
                <a:gd fmla="*/ 0 w 319" name="T0"/>
                <a:gd fmla="*/ 568 h 568" name="T1"/>
                <a:gd fmla="*/ 5 w 319" name="T2"/>
                <a:gd fmla="*/ 561 h 568" name="T3"/>
                <a:gd fmla="*/ 159 w 319" name="T4"/>
                <a:gd fmla="*/ 484 h 568" name="T5"/>
                <a:gd fmla="*/ 316 w 319" name="T6"/>
                <a:gd fmla="*/ 563 h 568" name="T7"/>
                <a:gd fmla="*/ 319 w 319" name="T8"/>
                <a:gd fmla="*/ 568 h 568" name="T9"/>
                <a:gd fmla="*/ 319 w 319" name="T10"/>
                <a:gd fmla="*/ 568 h 568" name="T11"/>
                <a:gd fmla="*/ 0 w 319" name="T12"/>
                <a:gd fmla="*/ 0 h 568" name="T13"/>
                <a:gd fmla="*/ 0 w 319" name="T14"/>
                <a:gd fmla="*/ 0 h 568" name="T15"/>
                <a:gd fmla="*/ 0 w 319" name="T16"/>
                <a:gd fmla="*/ 568 h 568"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68" w="319">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bIns="18080" lIns="36159" rIns="36159" tIns="18080"/>
            <a:lstStyle/>
            <a:p>
              <a:pPr eaLnBrk="1" hangingPunct="1">
                <a:lnSpc>
                  <a:spcPct val="120000"/>
                </a:lnSpc>
                <a:defRPr/>
              </a:pPr>
              <a:endParaRPr lang="en-US" noProof="1" sz="1100">
                <a:latin charset="0" pitchFamily="34" typeface="Arial"/>
                <a:ea charset="-122" panose="020b0503020204020204" pitchFamily="34" typeface="微软雅黑"/>
                <a:sym charset="0" pitchFamily="34" typeface="Arial"/>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72594" lIns="0" rIns="0" tIns="72594"/>
          <a:lstStyle/>
          <a:p>
            <a:pPr algn="r" eaLnBrk="1" hangingPunct="1">
              <a:lnSpc>
                <a:spcPct val="120000"/>
              </a:lnSpc>
              <a:buFont charset="0" pitchFamily="34" typeface="Arial"/>
              <a:buNone/>
            </a:pPr>
            <a:r>
              <a:rPr altLang="en-US" b="1" lang="zh-CN" sz="1000">
                <a:solidFill>
                  <a:srgbClr val="00A4E3"/>
                </a:solidFill>
                <a:latin charset="0" pitchFamily="34" typeface="Arial"/>
                <a:ea charset="-122" panose="020b0503020204020204" pitchFamily="34" typeface="微软雅黑"/>
                <a:sym charset="0" pitchFamily="34" typeface="Arial"/>
              </a:rPr>
              <a:t>请替换文字内容</a:t>
            </a: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algn="r"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12" name="Rounded Rectangle 11"/>
          <p:cNvSpPr>
            <a:spLocks noChangeAspect="1"/>
          </p:cNvSpPr>
          <p:nvPr/>
        </p:nvSpPr>
        <p:spPr>
          <a:xfrm>
            <a:off x="3072607" y="1497934"/>
            <a:ext cx="531178" cy="529919"/>
          </a:xfrm>
          <a:prstGeom prst="roundRect">
            <a:avLst>
              <a:gd fmla="val 0" name="adj"/>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20000"/>
              </a:lnSpc>
              <a:defRPr/>
            </a:pPr>
            <a:endParaRPr lang="en-US" noProof="1" sz="700">
              <a:solidFill>
                <a:schemeClr val="tx1"/>
              </a:solidFill>
              <a:latin charset="0" pitchFamily="34" typeface="Arial"/>
              <a:ea charset="-122" panose="020b0503020204020204" pitchFamily="34" typeface="微软雅黑"/>
              <a:sym charset="0" pitchFamily="34" typeface="Arial"/>
            </a:endParaRPr>
          </a:p>
        </p:txBody>
      </p:sp>
      <p:sp>
        <p:nvSpPr>
          <p:cNvPr id="113" name="Text Placeholder 7"/>
          <p:cNvSpPr txBox="1"/>
          <p:nvPr/>
        </p:nvSpPr>
        <p:spPr>
          <a:xfrm>
            <a:off x="3114834" y="1565418"/>
            <a:ext cx="430053" cy="352910"/>
          </a:xfrm>
          <a:prstGeom prst="rect">
            <a:avLst/>
          </a:prstGeom>
        </p:spPr>
        <p:txBody>
          <a:bodyPr anchor="ctr" bIns="72594" lIns="0" rIns="0" tIns="72594"/>
          <a:lstStyle>
            <a:lvl1pPr algn="ctr" defTabSz="914400" eaLnBrk="1" hangingPunct="1" indent="0" latinLnBrk="0" marL="0" rtl="0">
              <a:lnSpc>
                <a:spcPct val="100000"/>
              </a:lnSpc>
              <a:spcBef>
                <a:spcPct val="0"/>
              </a:spcBef>
              <a:buFont charset="0" pitchFamily="34" typeface="Arial"/>
              <a:buNone/>
              <a:defRPr b="1" kern="1200" sz="1580">
                <a:solidFill>
                  <a:schemeClr val="bg1"/>
                </a:solidFill>
                <a:latin typeface="FontAwesome"/>
                <a:ea typeface="+mn-ea"/>
                <a:cs typeface="FontAwesome"/>
              </a:defRPr>
            </a:lvl1pPr>
            <a:lvl2pPr algn="l" defTabSz="914400" eaLnBrk="1" hangingPunct="1" indent="-228600" latinLnBrk="0" marL="685800" rtl="0">
              <a:lnSpc>
                <a:spcPct val="90000"/>
              </a:lnSpc>
              <a:spcBef>
                <a:spcPts val="500"/>
              </a:spcBef>
              <a:buFont charset="0"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itchFamily="34" typeface="Arial"/>
              <a:buChar char="•"/>
              <a:defRPr kern="1200" sz="1800">
                <a:solidFill>
                  <a:schemeClr val="tx1"/>
                </a:solidFill>
                <a:latin typeface="+mn-lt"/>
                <a:ea typeface="+mn-ea"/>
                <a:cs typeface="+mn-cs"/>
              </a:defRPr>
            </a:lvl8pPr>
            <a:lvl9pPr algn="l" defTabSz="914400" eaLnBrk="1" hangingPunct="1" indent="-228600" latinLnBrk="0" marL="3886835" rtl="0">
              <a:lnSpc>
                <a:spcPct val="90000"/>
              </a:lnSpc>
              <a:spcBef>
                <a:spcPts val="500"/>
              </a:spcBef>
              <a:buFont charset="0" pitchFamily="34" typeface="Arial"/>
              <a:buChar char="•"/>
              <a:defRPr kern="1200" sz="1800">
                <a:solidFill>
                  <a:schemeClr val="tx1"/>
                </a:solidFill>
                <a:latin typeface="+mn-lt"/>
                <a:ea typeface="+mn-ea"/>
                <a:cs typeface="+mn-cs"/>
              </a:defRPr>
            </a:lvl9pPr>
          </a:lstStyle>
          <a:p>
            <a:pPr fontAlgn="auto">
              <a:lnSpc>
                <a:spcPct val="120000"/>
              </a:lnSpc>
              <a:spcAft>
                <a:spcPct val="0"/>
              </a:spcAft>
              <a:defRPr/>
            </a:pPr>
            <a:r>
              <a:rPr lang="es-ES_tradnl" noProof="1">
                <a:latin charset="0" pitchFamily="34" typeface="Arial"/>
                <a:ea charset="-122" panose="020b0503020204020204" pitchFamily="34" typeface="微软雅黑"/>
                <a:sym charset="0" pitchFamily="34" typeface="Arial"/>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72594" lIns="0" rIns="0" tIns="72594"/>
          <a:lstStyle/>
          <a:p>
            <a:pPr eaLnBrk="1" hangingPunct="1">
              <a:lnSpc>
                <a:spcPct val="120000"/>
              </a:lnSpc>
              <a:buFont charset="0" pitchFamily="34" typeface="Arial"/>
              <a:buNone/>
            </a:pPr>
            <a:r>
              <a:rPr altLang="en-US" lang="zh-CN" sz="1000">
                <a:solidFill>
                  <a:srgbClr val="00A4E3"/>
                </a:solidFill>
                <a:latin charset="0" pitchFamily="34" typeface="Arial"/>
                <a:ea charset="-122" panose="020b0503020204020204" pitchFamily="34" typeface="微软雅黑"/>
                <a:sym charset="0" pitchFamily="34" typeface="Arial"/>
              </a:rPr>
              <a:t>请替换文字内容</a:t>
            </a: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16" name="Rounded Rectangle 23"/>
          <p:cNvSpPr>
            <a:spLocks noChangeAspect="1"/>
          </p:cNvSpPr>
          <p:nvPr/>
        </p:nvSpPr>
        <p:spPr>
          <a:xfrm>
            <a:off x="5581809" y="1497934"/>
            <a:ext cx="531178" cy="529919"/>
          </a:xfrm>
          <a:prstGeom prst="roundRect">
            <a:avLst>
              <a:gd fmla="val 0" name="adj"/>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20000"/>
              </a:lnSpc>
              <a:defRPr/>
            </a:pPr>
            <a:endParaRPr lang="en-US" noProof="1" sz="700">
              <a:solidFill>
                <a:schemeClr val="tx1"/>
              </a:solidFill>
              <a:latin charset="0" pitchFamily="34" typeface="Arial"/>
              <a:ea charset="-122" panose="020b0503020204020204" pitchFamily="34" typeface="微软雅黑"/>
              <a:sym charset="0" pitchFamily="34" typeface="Arial"/>
            </a:endParaRPr>
          </a:p>
        </p:txBody>
      </p:sp>
      <p:sp>
        <p:nvSpPr>
          <p:cNvPr id="117" name="Text Placeholder 7"/>
          <p:cNvSpPr txBox="1"/>
          <p:nvPr/>
        </p:nvSpPr>
        <p:spPr>
          <a:xfrm>
            <a:off x="5624037" y="1565418"/>
            <a:ext cx="430053" cy="352910"/>
          </a:xfrm>
          <a:prstGeom prst="rect">
            <a:avLst/>
          </a:prstGeom>
        </p:spPr>
        <p:txBody>
          <a:bodyPr anchor="ctr" bIns="72594" lIns="0" rIns="0" tIns="72594"/>
          <a:lstStyle>
            <a:lvl1pPr algn="ctr" defTabSz="914400" eaLnBrk="1" hangingPunct="1" indent="0" latinLnBrk="0" marL="0" rtl="0">
              <a:lnSpc>
                <a:spcPct val="100000"/>
              </a:lnSpc>
              <a:spcBef>
                <a:spcPct val="0"/>
              </a:spcBef>
              <a:buFont charset="0" pitchFamily="34" typeface="Arial"/>
              <a:buNone/>
              <a:defRPr b="1" kern="1200" sz="1580">
                <a:solidFill>
                  <a:schemeClr val="bg1"/>
                </a:solidFill>
                <a:latin typeface="FontAwesome"/>
                <a:ea typeface="+mn-ea"/>
                <a:cs typeface="FontAwesome"/>
              </a:defRPr>
            </a:lvl1pPr>
            <a:lvl2pPr algn="l" defTabSz="914400" eaLnBrk="1" hangingPunct="1" indent="-228600" latinLnBrk="0" marL="685800" rtl="0">
              <a:lnSpc>
                <a:spcPct val="90000"/>
              </a:lnSpc>
              <a:spcBef>
                <a:spcPts val="500"/>
              </a:spcBef>
              <a:buFont charset="0"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itchFamily="34" typeface="Arial"/>
              <a:buChar char="•"/>
              <a:defRPr kern="1200" sz="1800">
                <a:solidFill>
                  <a:schemeClr val="tx1"/>
                </a:solidFill>
                <a:latin typeface="+mn-lt"/>
                <a:ea typeface="+mn-ea"/>
                <a:cs typeface="+mn-cs"/>
              </a:defRPr>
            </a:lvl8pPr>
            <a:lvl9pPr algn="l" defTabSz="914400" eaLnBrk="1" hangingPunct="1" indent="-228600" latinLnBrk="0" marL="3886835" rtl="0">
              <a:lnSpc>
                <a:spcPct val="90000"/>
              </a:lnSpc>
              <a:spcBef>
                <a:spcPts val="500"/>
              </a:spcBef>
              <a:buFont charset="0" pitchFamily="34" typeface="Arial"/>
              <a:buChar char="•"/>
              <a:defRPr kern="1200" sz="1800">
                <a:solidFill>
                  <a:schemeClr val="tx1"/>
                </a:solidFill>
                <a:latin typeface="+mn-lt"/>
                <a:ea typeface="+mn-ea"/>
                <a:cs typeface="+mn-cs"/>
              </a:defRPr>
            </a:lvl9pPr>
          </a:lstStyle>
          <a:p>
            <a:pPr fontAlgn="auto">
              <a:lnSpc>
                <a:spcPct val="120000"/>
              </a:lnSpc>
              <a:spcAft>
                <a:spcPct val="0"/>
              </a:spcAft>
              <a:defRPr/>
            </a:pPr>
            <a:r>
              <a:rPr lang="es-ES_tradnl" noProof="1">
                <a:latin charset="0" pitchFamily="34" typeface="Arial"/>
                <a:ea charset="-122" panose="020b0503020204020204" pitchFamily="34" typeface="微软雅黑"/>
                <a:sym charset="0" pitchFamily="34" typeface="Arial"/>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72594" lIns="0" rIns="0" tIns="72594"/>
          <a:lstStyle/>
          <a:p>
            <a:pPr algn="r" eaLnBrk="1" hangingPunct="1">
              <a:lnSpc>
                <a:spcPct val="120000"/>
              </a:lnSpc>
              <a:buFont charset="0" pitchFamily="34" typeface="Arial"/>
              <a:buNone/>
            </a:pPr>
            <a:r>
              <a:rPr altLang="en-US" b="1" lang="zh-CN" sz="1000">
                <a:solidFill>
                  <a:srgbClr val="00A4E3"/>
                </a:solidFill>
                <a:latin charset="0" pitchFamily="34" typeface="Arial"/>
                <a:ea charset="-122" panose="020b0503020204020204" pitchFamily="34" typeface="微软雅黑"/>
                <a:sym charset="0" pitchFamily="34" typeface="Arial"/>
              </a:rPr>
              <a:t>请替换文字内容</a:t>
            </a: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algn="r"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20" name="Rounded Rectangle 27"/>
          <p:cNvSpPr>
            <a:spLocks noChangeAspect="1"/>
          </p:cNvSpPr>
          <p:nvPr/>
        </p:nvSpPr>
        <p:spPr>
          <a:xfrm>
            <a:off x="3035935" y="3554550"/>
            <a:ext cx="531178" cy="529918"/>
          </a:xfrm>
          <a:prstGeom prst="roundRect">
            <a:avLst>
              <a:gd fmla="val 0" name="adj"/>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20000"/>
              </a:lnSpc>
              <a:defRPr/>
            </a:pPr>
            <a:endParaRPr lang="en-US" noProof="1" sz="700">
              <a:solidFill>
                <a:schemeClr val="tx1"/>
              </a:solidFill>
              <a:latin charset="0" pitchFamily="34" typeface="Arial"/>
              <a:ea charset="-122" panose="020b0503020204020204" pitchFamily="34" typeface="微软雅黑"/>
              <a:sym charset="0" pitchFamily="34" typeface="Arial"/>
            </a:endParaRPr>
          </a:p>
        </p:txBody>
      </p:sp>
      <p:sp>
        <p:nvSpPr>
          <p:cNvPr id="121" name="Text Placeholder 7"/>
          <p:cNvSpPr txBox="1"/>
          <p:nvPr/>
        </p:nvSpPr>
        <p:spPr>
          <a:xfrm>
            <a:off x="3079274" y="3622034"/>
            <a:ext cx="430053" cy="352911"/>
          </a:xfrm>
          <a:prstGeom prst="rect">
            <a:avLst/>
          </a:prstGeom>
          <a:solidFill>
            <a:srgbClr val="00AEEF"/>
          </a:solidFill>
        </p:spPr>
        <p:txBody>
          <a:bodyPr anchor="ctr" bIns="72594" lIns="0" rIns="0" tIns="72594"/>
          <a:lstStyle>
            <a:lvl1pPr algn="ctr" defTabSz="914400" eaLnBrk="1" hangingPunct="1" indent="0" latinLnBrk="0" marL="0" rtl="0">
              <a:lnSpc>
                <a:spcPct val="100000"/>
              </a:lnSpc>
              <a:spcBef>
                <a:spcPct val="0"/>
              </a:spcBef>
              <a:buFont charset="0" pitchFamily="34" typeface="Arial"/>
              <a:buNone/>
              <a:defRPr b="1" kern="1200" sz="1580">
                <a:solidFill>
                  <a:schemeClr val="bg1"/>
                </a:solidFill>
                <a:latin typeface="FontAwesome"/>
                <a:ea typeface="+mn-ea"/>
                <a:cs typeface="FontAwesome"/>
              </a:defRPr>
            </a:lvl1pPr>
            <a:lvl2pPr algn="l" defTabSz="914400" eaLnBrk="1" hangingPunct="1" indent="-228600" latinLnBrk="0" marL="685800" rtl="0">
              <a:lnSpc>
                <a:spcPct val="90000"/>
              </a:lnSpc>
              <a:spcBef>
                <a:spcPts val="500"/>
              </a:spcBef>
              <a:buFont charset="0"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itchFamily="34" typeface="Arial"/>
              <a:buChar char="•"/>
              <a:defRPr kern="1200" sz="1800">
                <a:solidFill>
                  <a:schemeClr val="tx1"/>
                </a:solidFill>
                <a:latin typeface="+mn-lt"/>
                <a:ea typeface="+mn-ea"/>
                <a:cs typeface="+mn-cs"/>
              </a:defRPr>
            </a:lvl8pPr>
            <a:lvl9pPr algn="l" defTabSz="914400" eaLnBrk="1" hangingPunct="1" indent="-228600" latinLnBrk="0" marL="3886835" rtl="0">
              <a:lnSpc>
                <a:spcPct val="90000"/>
              </a:lnSpc>
              <a:spcBef>
                <a:spcPts val="500"/>
              </a:spcBef>
              <a:buFont charset="0" pitchFamily="34" typeface="Arial"/>
              <a:buChar char="•"/>
              <a:defRPr kern="1200" sz="1800">
                <a:solidFill>
                  <a:schemeClr val="tx1"/>
                </a:solidFill>
                <a:latin typeface="+mn-lt"/>
                <a:ea typeface="+mn-ea"/>
                <a:cs typeface="+mn-cs"/>
              </a:defRPr>
            </a:lvl9pPr>
          </a:lstStyle>
          <a:p>
            <a:pPr fontAlgn="auto">
              <a:lnSpc>
                <a:spcPct val="120000"/>
              </a:lnSpc>
              <a:spcAft>
                <a:spcPct val="0"/>
              </a:spcAft>
              <a:defRPr/>
            </a:pPr>
            <a:r>
              <a:rPr lang="es-ES_tradnl" noProof="1">
                <a:latin charset="0" pitchFamily="34" typeface="Arial"/>
                <a:ea charset="-122" panose="020b0503020204020204" pitchFamily="34" typeface="微软雅黑"/>
                <a:sym charset="0" pitchFamily="34" typeface="Arial"/>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72594" lIns="0" rIns="0" tIns="72594"/>
          <a:lstStyle/>
          <a:p>
            <a:pPr eaLnBrk="1" hangingPunct="1">
              <a:lnSpc>
                <a:spcPct val="120000"/>
              </a:lnSpc>
              <a:buFont charset="0" pitchFamily="34" typeface="Arial"/>
              <a:buNone/>
            </a:pPr>
            <a:r>
              <a:rPr altLang="en-US" lang="zh-CN" sz="1000">
                <a:solidFill>
                  <a:srgbClr val="00A4E3"/>
                </a:solidFill>
                <a:latin charset="0" pitchFamily="34" typeface="Arial"/>
                <a:ea charset="-122" panose="020b0503020204020204" pitchFamily="34" typeface="微软雅黑"/>
                <a:sym charset="0" pitchFamily="34" typeface="Arial"/>
              </a:rPr>
              <a:t>请替换文字内容</a:t>
            </a: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lstStyle/>
          <a:p>
            <a:pPr eaLnBrk="1" hangingPunct="1">
              <a:lnSpc>
                <a:spcPct val="120000"/>
              </a:lnSpc>
              <a:buFont charset="0" pitchFamily="34" typeface="Arial"/>
              <a:buNone/>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24" name="Rounded Rectangle 16"/>
          <p:cNvSpPr>
            <a:spLocks noChangeAspect="1"/>
          </p:cNvSpPr>
          <p:nvPr/>
        </p:nvSpPr>
        <p:spPr>
          <a:xfrm>
            <a:off x="5581809" y="3554550"/>
            <a:ext cx="531178" cy="529918"/>
          </a:xfrm>
          <a:prstGeom prst="roundRect">
            <a:avLst>
              <a:gd fmla="val 0" name="adj"/>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bIns="31949" lIns="63898" rIns="63898" tIns="31949"/>
          <a:lstStyle/>
          <a:p>
            <a:pPr algn="ctr" eaLnBrk="1" hangingPunct="1">
              <a:lnSpc>
                <a:spcPct val="120000"/>
              </a:lnSpc>
              <a:defRPr/>
            </a:pPr>
            <a:endParaRPr lang="en-US" noProof="1" sz="700">
              <a:solidFill>
                <a:schemeClr val="tx1"/>
              </a:solidFill>
              <a:latin charset="0" pitchFamily="34" typeface="Arial"/>
              <a:ea charset="-122" panose="020b0503020204020204" pitchFamily="34" typeface="微软雅黑"/>
              <a:sym charset="0" pitchFamily="34" typeface="Arial"/>
            </a:endParaRPr>
          </a:p>
        </p:txBody>
      </p:sp>
      <p:sp>
        <p:nvSpPr>
          <p:cNvPr id="125" name="Text Placeholder 7"/>
          <p:cNvSpPr txBox="1"/>
          <p:nvPr/>
        </p:nvSpPr>
        <p:spPr>
          <a:xfrm>
            <a:off x="5624037" y="3622034"/>
            <a:ext cx="430053" cy="352911"/>
          </a:xfrm>
          <a:prstGeom prst="rect">
            <a:avLst/>
          </a:prstGeom>
        </p:spPr>
        <p:txBody>
          <a:bodyPr anchor="ctr" bIns="72594" lIns="0" rIns="0" tIns="72594"/>
          <a:lstStyle>
            <a:lvl1pPr algn="ctr" defTabSz="914400" eaLnBrk="1" hangingPunct="1" indent="0" latinLnBrk="0" marL="0" rtl="0">
              <a:lnSpc>
                <a:spcPct val="100000"/>
              </a:lnSpc>
              <a:spcBef>
                <a:spcPct val="0"/>
              </a:spcBef>
              <a:buFont charset="0" pitchFamily="34" typeface="Arial"/>
              <a:buNone/>
              <a:defRPr b="1" kern="1200" sz="1580">
                <a:solidFill>
                  <a:schemeClr val="bg1"/>
                </a:solidFill>
                <a:latin typeface="FontAwesome"/>
                <a:ea typeface="+mn-ea"/>
                <a:cs typeface="FontAwesome"/>
              </a:defRPr>
            </a:lvl1pPr>
            <a:lvl2pPr algn="l" defTabSz="914400" eaLnBrk="1" hangingPunct="1" indent="-228600" latinLnBrk="0" marL="685800" rtl="0">
              <a:lnSpc>
                <a:spcPct val="90000"/>
              </a:lnSpc>
              <a:spcBef>
                <a:spcPts val="500"/>
              </a:spcBef>
              <a:buFont charset="0" pitchFamily="34" typeface="Arial"/>
              <a:buChar char="•"/>
              <a:defRPr kern="1200" sz="2400">
                <a:solidFill>
                  <a:schemeClr val="tx1"/>
                </a:solidFill>
                <a:latin typeface="+mn-lt"/>
                <a:ea typeface="+mn-ea"/>
                <a:cs typeface="+mn-cs"/>
              </a:defRPr>
            </a:lvl2pPr>
            <a:lvl3pPr algn="l" defTabSz="914400" eaLnBrk="1" hangingPunct="1" indent="-228600" latinLnBrk="0" marL="1143000" rtl="0">
              <a:lnSpc>
                <a:spcPct val="90000"/>
              </a:lnSpc>
              <a:spcBef>
                <a:spcPts val="500"/>
              </a:spcBef>
              <a:buFont charset="0" pitchFamily="34" typeface="Arial"/>
              <a:buChar char="•"/>
              <a:defRPr kern="1200" sz="2000">
                <a:solidFill>
                  <a:schemeClr val="tx1"/>
                </a:solidFill>
                <a:latin typeface="+mn-lt"/>
                <a:ea typeface="+mn-ea"/>
                <a:cs typeface="+mn-cs"/>
              </a:defRPr>
            </a:lvl3pPr>
            <a:lvl4pPr algn="l" defTabSz="914400" eaLnBrk="1" hangingPunct="1" indent="-228600" latinLnBrk="0" marL="1600200" rtl="0">
              <a:lnSpc>
                <a:spcPct val="90000"/>
              </a:lnSpc>
              <a:spcBef>
                <a:spcPts val="500"/>
              </a:spcBef>
              <a:buFont charset="0" pitchFamily="34" typeface="Arial"/>
              <a:buChar char="•"/>
              <a:defRPr kern="1200" sz="1800">
                <a:solidFill>
                  <a:schemeClr val="tx1"/>
                </a:solidFill>
                <a:latin typeface="+mn-lt"/>
                <a:ea typeface="+mn-ea"/>
                <a:cs typeface="+mn-cs"/>
              </a:defRPr>
            </a:lvl4pPr>
            <a:lvl5pPr algn="l" defTabSz="914400" eaLnBrk="1" hangingPunct="1" indent="-228600" latinLnBrk="0" marL="2057400" rtl="0">
              <a:lnSpc>
                <a:spcPct val="90000"/>
              </a:lnSpc>
              <a:spcBef>
                <a:spcPts val="500"/>
              </a:spcBef>
              <a:buFont charset="0" pitchFamily="34" typeface="Arial"/>
              <a:buChar char="•"/>
              <a:defRPr kern="1200" sz="1800">
                <a:solidFill>
                  <a:schemeClr val="tx1"/>
                </a:solidFill>
                <a:latin typeface="+mn-lt"/>
                <a:ea typeface="+mn-ea"/>
                <a:cs typeface="+mn-cs"/>
              </a:defRPr>
            </a:lvl5pPr>
            <a:lvl6pPr algn="l" defTabSz="914400" eaLnBrk="1" hangingPunct="1" indent="-228600" latinLnBrk="0" marL="2514600" rtl="0">
              <a:lnSpc>
                <a:spcPct val="90000"/>
              </a:lnSpc>
              <a:spcBef>
                <a:spcPts val="500"/>
              </a:spcBef>
              <a:buFont charset="0" pitchFamily="34" typeface="Arial"/>
              <a:buChar char="•"/>
              <a:defRPr kern="1200" sz="1800">
                <a:solidFill>
                  <a:schemeClr val="tx1"/>
                </a:solidFill>
                <a:latin typeface="+mn-lt"/>
                <a:ea typeface="+mn-ea"/>
                <a:cs typeface="+mn-cs"/>
              </a:defRPr>
            </a:lvl6pPr>
            <a:lvl7pPr algn="l" defTabSz="914400" eaLnBrk="1" hangingPunct="1" indent="-228600" latinLnBrk="0" marL="2971800" rtl="0">
              <a:lnSpc>
                <a:spcPct val="90000"/>
              </a:lnSpc>
              <a:spcBef>
                <a:spcPts val="500"/>
              </a:spcBef>
              <a:buFont charset="0" pitchFamily="34" typeface="Arial"/>
              <a:buChar char="•"/>
              <a:defRPr kern="1200" sz="1800">
                <a:solidFill>
                  <a:schemeClr val="tx1"/>
                </a:solidFill>
                <a:latin typeface="+mn-lt"/>
                <a:ea typeface="+mn-ea"/>
                <a:cs typeface="+mn-cs"/>
              </a:defRPr>
            </a:lvl7pPr>
            <a:lvl8pPr algn="l" defTabSz="914400" eaLnBrk="1" hangingPunct="1" indent="-228600" latinLnBrk="0" marL="3429000" rtl="0">
              <a:lnSpc>
                <a:spcPct val="90000"/>
              </a:lnSpc>
              <a:spcBef>
                <a:spcPts val="500"/>
              </a:spcBef>
              <a:buFont charset="0" pitchFamily="34" typeface="Arial"/>
              <a:buChar char="•"/>
              <a:defRPr kern="1200" sz="1800">
                <a:solidFill>
                  <a:schemeClr val="tx1"/>
                </a:solidFill>
                <a:latin typeface="+mn-lt"/>
                <a:ea typeface="+mn-ea"/>
                <a:cs typeface="+mn-cs"/>
              </a:defRPr>
            </a:lvl8pPr>
            <a:lvl9pPr algn="l" defTabSz="914400" eaLnBrk="1" hangingPunct="1" indent="-228600" latinLnBrk="0" marL="3886835" rtl="0">
              <a:lnSpc>
                <a:spcPct val="90000"/>
              </a:lnSpc>
              <a:spcBef>
                <a:spcPts val="500"/>
              </a:spcBef>
              <a:buFont charset="0" pitchFamily="34" typeface="Arial"/>
              <a:buChar char="•"/>
              <a:defRPr kern="1200" sz="1800">
                <a:solidFill>
                  <a:schemeClr val="tx1"/>
                </a:solidFill>
                <a:latin typeface="+mn-lt"/>
                <a:ea typeface="+mn-ea"/>
                <a:cs typeface="+mn-cs"/>
              </a:defRPr>
            </a:lvl9pPr>
          </a:lstStyle>
          <a:p>
            <a:pPr fontAlgn="auto">
              <a:lnSpc>
                <a:spcPct val="120000"/>
              </a:lnSpc>
              <a:spcAft>
                <a:spcPct val="0"/>
              </a:spcAft>
              <a:defRPr/>
            </a:pPr>
            <a:r>
              <a:rPr lang="es-ES_tradnl" noProof="1">
                <a:latin charset="0" pitchFamily="34" typeface="Arial"/>
                <a:ea charset="-122" panose="020b0503020204020204" pitchFamily="34" typeface="微软雅黑"/>
                <a:sym charset="0" pitchFamily="34" typeface="Arial"/>
              </a:rPr>
              <a:t>04</a:t>
            </a:r>
          </a:p>
        </p:txBody>
      </p:sp>
      <p:sp>
        <p:nvSpPr>
          <p:cNvPr id="24" name="平行四边形 23"/>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5" name="平行四边形 24"/>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6" name="平行四边形 25"/>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7" name="平行四边形 26"/>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30" name="Group 7"/>
          <p:cNvGrpSpPr/>
          <p:nvPr/>
        </p:nvGrpSpPr>
        <p:grpSpPr>
          <a:xfrm>
            <a:off x="180202" y="181952"/>
            <a:ext cx="216018" cy="113981"/>
            <a:chExt cx="1041399" cy="549275"/>
          </a:xfrm>
          <a:solidFill>
            <a:srgbClr val="133E73"/>
          </a:solidFill>
        </p:grpSpPr>
        <p:sp>
          <p:nvSpPr>
            <p:cNvPr id="31"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32"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33"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spTree>
    <p:custDataLst>
      <p:tags r:id="rId3"/>
    </p:custDataLst>
  </p:cSld>
  <p:clrMapOvr>
    <a:masterClrMapping/>
  </p:clrMapOvr>
  <mc:AlternateContent>
    <mc:Choice Requires="p14">
      <p:transition p14:dur="1600" spd="slow">
        <p14:gallery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30"/>
                                        </p:tgtEl>
                                        <p:attrNameLst>
                                          <p:attrName>style.visibility</p:attrName>
                                        </p:attrNameLst>
                                      </p:cBhvr>
                                      <p:to>
                                        <p:strVal val="visible"/>
                                      </p:to>
                                    </p:set>
                                    <p:anim calcmode="lin" valueType="num">
                                      <p:cBhvr additive="base">
                                        <p:cTn dur="500" fill="hold" id="7"/>
                                        <p:tgtEl>
                                          <p:spTgt spid="30"/>
                                        </p:tgtEl>
                                        <p:attrNameLst>
                                          <p:attrName>ppt_x</p:attrName>
                                        </p:attrNameLst>
                                      </p:cBhvr>
                                      <p:tavLst>
                                        <p:tav tm="0">
                                          <p:val>
                                            <p:strVal val="0-#ppt_w/2"/>
                                          </p:val>
                                        </p:tav>
                                        <p:tav tm="100000">
                                          <p:val>
                                            <p:strVal val="#ppt_x"/>
                                          </p:val>
                                        </p:tav>
                                      </p:tavLst>
                                    </p:anim>
                                    <p:anim calcmode="lin" valueType="num">
                                      <p:cBhvr additive="base">
                                        <p:cTn dur="500" fill="hold" id="8"/>
                                        <p:tgtEl>
                                          <p:spTgt spid="30"/>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29"/>
                                        </p:tgtEl>
                                        <p:attrNameLst>
                                          <p:attrName>style.visibility</p:attrName>
                                        </p:attrNameLst>
                                      </p:cBhvr>
                                      <p:to>
                                        <p:strVal val="visible"/>
                                      </p:to>
                                    </p:set>
                                    <p:anim calcmode="lin" valueType="num">
                                      <p:cBhvr>
                                        <p:cTn dur="500" fill="hold" id="12"/>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29"/>
                                        </p:tgtEl>
                                        <p:attrNameLst>
                                          <p:attrName>ppt_y</p:attrName>
                                        </p:attrNameLst>
                                      </p:cBhvr>
                                      <p:tavLst>
                                        <p:tav tm="0">
                                          <p:val>
                                            <p:strVal val="#ppt_y"/>
                                          </p:val>
                                        </p:tav>
                                        <p:tav tm="100000">
                                          <p:val>
                                            <p:strVal val="#ppt_y"/>
                                          </p:val>
                                        </p:tav>
                                      </p:tavLst>
                                    </p:anim>
                                    <p:anim calcmode="lin" valueType="num">
                                      <p:cBhvr>
                                        <p:cTn dur="500" fill="hold" id="14"/>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29"/>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29"/>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26"/>
                                        </p:tgtEl>
                                        <p:attrNameLst>
                                          <p:attrName>fillcolor</p:attrName>
                                        </p:attrNameLst>
                                      </p:cBhvr>
                                      <p:to>
                                        <a:srgbClr val="00AEEF"/>
                                      </p:to>
                                    </p:animClr>
                                    <p:set>
                                      <p:cBhvr>
                                        <p:cTn dur="300" fill="hold" id="20"/>
                                        <p:tgtEl>
                                          <p:spTgt spid="26"/>
                                        </p:tgtEl>
                                        <p:attrNameLst>
                                          <p:attrName>fill.type</p:attrName>
                                        </p:attrNameLst>
                                      </p:cBhvr>
                                      <p:to>
                                        <p:strVal val="solid"/>
                                      </p:to>
                                    </p:set>
                                    <p:set>
                                      <p:cBhvr>
                                        <p:cTn dur="300" fill="hold" id="21"/>
                                        <p:tgtEl>
                                          <p:spTgt spid="26"/>
                                        </p:tgtEl>
                                        <p:attrNameLst>
                                          <p:attrName>fill.on</p:attrName>
                                        </p:attrNameLst>
                                      </p:cBhvr>
                                      <p:to>
                                        <p:strVal val="true"/>
                                      </p:to>
                                    </p:set>
                                  </p:childTnLst>
                                </p:cTn>
                              </p:par>
                            </p:childTnLst>
                          </p:cTn>
                        </p:par>
                      </p:childTnLst>
                    </p:cTn>
                  </p:par>
                  <p:par>
                    <p:cTn fill="hold" id="22" nodeType="clickPar">
                      <p:stCondLst>
                        <p:cond delay="indefinite"/>
                        <p:cond delay="0" evt="onBegin">
                          <p:tn val="21"/>
                        </p:cond>
                      </p:stCondLst>
                      <p:childTnLst>
                        <p:par>
                          <p:cTn fill="hold" id="23" nodeType="afterGroup">
                            <p:stCondLst>
                              <p:cond delay="0"/>
                            </p:stCondLst>
                            <p:childTnLst>
                              <p:par>
                                <p:cTn fill="hold" id="24" nodeType="clickEffect" presetClass="entr" presetID="22" presetSubtype="4">
                                  <p:stCondLst>
                                    <p:cond delay="0"/>
                                  </p:stCondLst>
                                  <p:childTnLst>
                                    <p:set>
                                      <p:cBhvr>
                                        <p:cTn dur="1" fill="hold" id="25">
                                          <p:stCondLst>
                                            <p:cond delay="0"/>
                                          </p:stCondLst>
                                        </p:cTn>
                                        <p:tgtEl>
                                          <p:spTgt spid="104"/>
                                        </p:tgtEl>
                                        <p:attrNameLst>
                                          <p:attrName>style.visibility</p:attrName>
                                        </p:attrNameLst>
                                      </p:cBhvr>
                                      <p:to>
                                        <p:strVal val="visible"/>
                                      </p:to>
                                    </p:set>
                                    <p:animEffect filter="wipe(down)" transition="in">
                                      <p:cBhvr>
                                        <p:cTn dur="500" id="26"/>
                                        <p:tgtEl>
                                          <p:spTgt spid="104"/>
                                        </p:tgtEl>
                                      </p:cBhvr>
                                    </p:animEffect>
                                  </p:childTnLst>
                                </p:cTn>
                              </p:par>
                              <p:par>
                                <p:cTn fill="hold" grpId="0" id="27" nodeType="withEffect" presetClass="entr" presetID="53" presetSubtype="0">
                                  <p:stCondLst>
                                    <p:cond delay="200"/>
                                  </p:stCondLst>
                                  <p:childTnLst>
                                    <p:set>
                                      <p:cBhvr>
                                        <p:cTn dur="1" fill="hold" id="28">
                                          <p:stCondLst>
                                            <p:cond delay="0"/>
                                          </p:stCondLst>
                                        </p:cTn>
                                        <p:tgtEl>
                                          <p:spTgt spid="110">
                                            <p:txEl>
                                              <p:pRg end="0" st="0"/>
                                            </p:txEl>
                                          </p:spTgt>
                                        </p:tgtEl>
                                        <p:attrNameLst>
                                          <p:attrName>style.visibility</p:attrName>
                                        </p:attrNameLst>
                                      </p:cBhvr>
                                      <p:to>
                                        <p:strVal val="visible"/>
                                      </p:to>
                                    </p:set>
                                    <p:anim calcmode="lin" valueType="num">
                                      <p:cBhvr>
                                        <p:cTn dur="500" fill="hold" id="29"/>
                                        <p:tgtEl>
                                          <p:spTgt spid="110">
                                            <p:txEl>
                                              <p:pRg end="0" st="0"/>
                                            </p:txEl>
                                          </p:spTgt>
                                        </p:tgtEl>
                                        <p:attrNameLst>
                                          <p:attrName>ppt_w</p:attrName>
                                        </p:attrNameLst>
                                      </p:cBhvr>
                                      <p:tavLst>
                                        <p:tav tm="0">
                                          <p:val>
                                            <p:fltVal val="0"/>
                                          </p:val>
                                        </p:tav>
                                        <p:tav tm="100000">
                                          <p:val>
                                            <p:strVal val="#ppt_w"/>
                                          </p:val>
                                        </p:tav>
                                      </p:tavLst>
                                    </p:anim>
                                    <p:anim calcmode="lin" valueType="num">
                                      <p:cBhvr>
                                        <p:cTn dur="500" fill="hold" id="30"/>
                                        <p:tgtEl>
                                          <p:spTgt spid="110">
                                            <p:txEl>
                                              <p:pRg end="0" st="0"/>
                                            </p:txEl>
                                          </p:spTgt>
                                        </p:tgtEl>
                                        <p:attrNameLst>
                                          <p:attrName>ppt_h</p:attrName>
                                        </p:attrNameLst>
                                      </p:cBhvr>
                                      <p:tavLst>
                                        <p:tav tm="0">
                                          <p:val>
                                            <p:fltVal val="0"/>
                                          </p:val>
                                        </p:tav>
                                        <p:tav tm="100000">
                                          <p:val>
                                            <p:strVal val="#ppt_h"/>
                                          </p:val>
                                        </p:tav>
                                      </p:tavLst>
                                    </p:anim>
                                    <p:animEffect filter="fade" transition="in">
                                      <p:cBhvr>
                                        <p:cTn dur="500" id="31"/>
                                        <p:tgtEl>
                                          <p:spTgt spid="110">
                                            <p:txEl>
                                              <p:pRg end="0" st="0"/>
                                            </p:txEl>
                                          </p:spTgt>
                                        </p:tgtEl>
                                      </p:cBhvr>
                                    </p:animEffect>
                                  </p:childTnLst>
                                </p:cTn>
                              </p:par>
                              <p:par>
                                <p:cTn fill="hold" grpId="0" id="32" nodeType="withEffect" presetClass="entr" presetID="23" presetSubtype="16">
                                  <p:stCondLst>
                                    <p:cond delay="200"/>
                                  </p:stCondLst>
                                  <p:childTnLst>
                                    <p:set>
                                      <p:cBhvr>
                                        <p:cTn dur="1" fill="hold" id="33">
                                          <p:stCondLst>
                                            <p:cond delay="0"/>
                                          </p:stCondLst>
                                        </p:cTn>
                                        <p:tgtEl>
                                          <p:spTgt spid="111">
                                            <p:txEl>
                                              <p:pRg end="0" st="0"/>
                                            </p:txEl>
                                          </p:spTgt>
                                        </p:tgtEl>
                                        <p:attrNameLst>
                                          <p:attrName>style.visibility</p:attrName>
                                        </p:attrNameLst>
                                      </p:cBhvr>
                                      <p:to>
                                        <p:strVal val="visible"/>
                                      </p:to>
                                    </p:set>
                                    <p:anim calcmode="lin" valueType="num">
                                      <p:cBhvr>
                                        <p:cTn dur="500" fill="hold" id="34"/>
                                        <p:tgtEl>
                                          <p:spTgt spid="111">
                                            <p:txEl>
                                              <p:pRg end="0" st="0"/>
                                            </p:txEl>
                                          </p:spTgt>
                                        </p:tgtEl>
                                        <p:attrNameLst>
                                          <p:attrName>ppt_w</p:attrName>
                                        </p:attrNameLst>
                                      </p:cBhvr>
                                      <p:tavLst>
                                        <p:tav tm="0">
                                          <p:val>
                                            <p:fltVal val="0"/>
                                          </p:val>
                                        </p:tav>
                                        <p:tav tm="100000">
                                          <p:val>
                                            <p:strVal val="#ppt_w"/>
                                          </p:val>
                                        </p:tav>
                                      </p:tavLst>
                                    </p:anim>
                                    <p:anim calcmode="lin" valueType="num">
                                      <p:cBhvr>
                                        <p:cTn dur="500" fill="hold" id="35"/>
                                        <p:tgtEl>
                                          <p:spTgt spid="111">
                                            <p:txEl>
                                              <p:pRg end="0" st="0"/>
                                            </p:txEl>
                                          </p:spTgt>
                                        </p:tgtEl>
                                        <p:attrNameLst>
                                          <p:attrName>ppt_h</p:attrName>
                                        </p:attrNameLst>
                                      </p:cBhvr>
                                      <p:tavLst>
                                        <p:tav tm="0">
                                          <p:val>
                                            <p:fltVal val="0"/>
                                          </p:val>
                                        </p:tav>
                                        <p:tav tm="100000">
                                          <p:val>
                                            <p:strVal val="#ppt_h"/>
                                          </p:val>
                                        </p:tav>
                                      </p:tavLst>
                                    </p:anim>
                                  </p:childTnLst>
                                </p:cTn>
                              </p:par>
                              <p:par>
                                <p:cTn fill="hold" grpId="0" id="36" nodeType="withEffect" presetClass="entr" presetID="53" presetSubtype="0">
                                  <p:stCondLst>
                                    <p:cond delay="200"/>
                                  </p:stCondLst>
                                  <p:childTnLst>
                                    <p:set>
                                      <p:cBhvr>
                                        <p:cTn dur="1" fill="hold" id="37">
                                          <p:stCondLst>
                                            <p:cond delay="0"/>
                                          </p:stCondLst>
                                        </p:cTn>
                                        <p:tgtEl>
                                          <p:spTgt spid="112"/>
                                        </p:tgtEl>
                                        <p:attrNameLst>
                                          <p:attrName>style.visibility</p:attrName>
                                        </p:attrNameLst>
                                      </p:cBhvr>
                                      <p:to>
                                        <p:strVal val="visible"/>
                                      </p:to>
                                    </p:set>
                                    <p:anim calcmode="lin" valueType="num">
                                      <p:cBhvr>
                                        <p:cTn dur="500" fill="hold" id="38"/>
                                        <p:tgtEl>
                                          <p:spTgt spid="112"/>
                                        </p:tgtEl>
                                        <p:attrNameLst>
                                          <p:attrName>ppt_w</p:attrName>
                                        </p:attrNameLst>
                                      </p:cBhvr>
                                      <p:tavLst>
                                        <p:tav tm="0">
                                          <p:val>
                                            <p:fltVal val="0"/>
                                          </p:val>
                                        </p:tav>
                                        <p:tav tm="100000">
                                          <p:val>
                                            <p:strVal val="#ppt_w"/>
                                          </p:val>
                                        </p:tav>
                                      </p:tavLst>
                                    </p:anim>
                                    <p:anim calcmode="lin" valueType="num">
                                      <p:cBhvr>
                                        <p:cTn dur="500" fill="hold" id="39"/>
                                        <p:tgtEl>
                                          <p:spTgt spid="112"/>
                                        </p:tgtEl>
                                        <p:attrNameLst>
                                          <p:attrName>ppt_h</p:attrName>
                                        </p:attrNameLst>
                                      </p:cBhvr>
                                      <p:tavLst>
                                        <p:tav tm="0">
                                          <p:val>
                                            <p:fltVal val="0"/>
                                          </p:val>
                                        </p:tav>
                                        <p:tav tm="100000">
                                          <p:val>
                                            <p:strVal val="#ppt_h"/>
                                          </p:val>
                                        </p:tav>
                                      </p:tavLst>
                                    </p:anim>
                                    <p:animEffect filter="fade" transition="in">
                                      <p:cBhvr>
                                        <p:cTn dur="500" id="40"/>
                                        <p:tgtEl>
                                          <p:spTgt spid="112"/>
                                        </p:tgtEl>
                                      </p:cBhvr>
                                    </p:animEffect>
                                  </p:childTnLst>
                                </p:cTn>
                              </p:par>
                              <p:par>
                                <p:cTn fill="hold" grpId="0" id="41" nodeType="withEffect" presetClass="entr" presetID="53" presetSubtype="0">
                                  <p:stCondLst>
                                    <p:cond delay="200"/>
                                  </p:stCondLst>
                                  <p:childTnLst>
                                    <p:set>
                                      <p:cBhvr>
                                        <p:cTn dur="1" fill="hold" id="42">
                                          <p:stCondLst>
                                            <p:cond delay="0"/>
                                          </p:stCondLst>
                                        </p:cTn>
                                        <p:tgtEl>
                                          <p:spTgt spid="113">
                                            <p:txEl>
                                              <p:pRg end="0" st="0"/>
                                            </p:txEl>
                                          </p:spTgt>
                                        </p:tgtEl>
                                        <p:attrNameLst>
                                          <p:attrName>style.visibility</p:attrName>
                                        </p:attrNameLst>
                                      </p:cBhvr>
                                      <p:to>
                                        <p:strVal val="visible"/>
                                      </p:to>
                                    </p:set>
                                    <p:anim calcmode="lin" valueType="num">
                                      <p:cBhvr>
                                        <p:cTn dur="500" fill="hold" id="43"/>
                                        <p:tgtEl>
                                          <p:spTgt spid="113">
                                            <p:txEl>
                                              <p:pRg end="0" st="0"/>
                                            </p:txEl>
                                          </p:spTgt>
                                        </p:tgtEl>
                                        <p:attrNameLst>
                                          <p:attrName>ppt_w</p:attrName>
                                        </p:attrNameLst>
                                      </p:cBhvr>
                                      <p:tavLst>
                                        <p:tav tm="0">
                                          <p:val>
                                            <p:fltVal val="0"/>
                                          </p:val>
                                        </p:tav>
                                        <p:tav tm="100000">
                                          <p:val>
                                            <p:strVal val="#ppt_w"/>
                                          </p:val>
                                        </p:tav>
                                      </p:tavLst>
                                    </p:anim>
                                    <p:anim calcmode="lin" valueType="num">
                                      <p:cBhvr>
                                        <p:cTn dur="500" fill="hold" id="44"/>
                                        <p:tgtEl>
                                          <p:spTgt spid="113">
                                            <p:txEl>
                                              <p:pRg end="0" st="0"/>
                                            </p:txEl>
                                          </p:spTgt>
                                        </p:tgtEl>
                                        <p:attrNameLst>
                                          <p:attrName>ppt_h</p:attrName>
                                        </p:attrNameLst>
                                      </p:cBhvr>
                                      <p:tavLst>
                                        <p:tav tm="0">
                                          <p:val>
                                            <p:fltVal val="0"/>
                                          </p:val>
                                        </p:tav>
                                        <p:tav tm="100000">
                                          <p:val>
                                            <p:strVal val="#ppt_h"/>
                                          </p:val>
                                        </p:tav>
                                      </p:tavLst>
                                    </p:anim>
                                    <p:animEffect filter="fade" transition="in">
                                      <p:cBhvr>
                                        <p:cTn dur="500" id="45"/>
                                        <p:tgtEl>
                                          <p:spTgt spid="113">
                                            <p:txEl>
                                              <p:pRg end="0" st="0"/>
                                            </p:txEl>
                                          </p:spTgt>
                                        </p:tgtEl>
                                      </p:cBhvr>
                                    </p:animEffect>
                                  </p:childTnLst>
                                </p:cTn>
                              </p:par>
                              <p:par>
                                <p:cTn fill="hold" grpId="0" id="46" nodeType="withEffect" presetClass="entr" presetID="53" presetSubtype="0">
                                  <p:stCondLst>
                                    <p:cond delay="200"/>
                                  </p:stCondLst>
                                  <p:childTnLst>
                                    <p:set>
                                      <p:cBhvr>
                                        <p:cTn dur="1" fill="hold" id="47">
                                          <p:stCondLst>
                                            <p:cond delay="0"/>
                                          </p:stCondLst>
                                        </p:cTn>
                                        <p:tgtEl>
                                          <p:spTgt spid="114">
                                            <p:txEl>
                                              <p:pRg end="0" st="0"/>
                                            </p:txEl>
                                          </p:spTgt>
                                        </p:tgtEl>
                                        <p:attrNameLst>
                                          <p:attrName>style.visibility</p:attrName>
                                        </p:attrNameLst>
                                      </p:cBhvr>
                                      <p:to>
                                        <p:strVal val="visible"/>
                                      </p:to>
                                    </p:set>
                                    <p:anim calcmode="lin" valueType="num">
                                      <p:cBhvr>
                                        <p:cTn dur="500" fill="hold" id="48"/>
                                        <p:tgtEl>
                                          <p:spTgt spid="114">
                                            <p:txEl>
                                              <p:pRg end="0" st="0"/>
                                            </p:txEl>
                                          </p:spTgt>
                                        </p:tgtEl>
                                        <p:attrNameLst>
                                          <p:attrName>ppt_w</p:attrName>
                                        </p:attrNameLst>
                                      </p:cBhvr>
                                      <p:tavLst>
                                        <p:tav tm="0">
                                          <p:val>
                                            <p:fltVal val="0"/>
                                          </p:val>
                                        </p:tav>
                                        <p:tav tm="100000">
                                          <p:val>
                                            <p:strVal val="#ppt_w"/>
                                          </p:val>
                                        </p:tav>
                                      </p:tavLst>
                                    </p:anim>
                                    <p:anim calcmode="lin" valueType="num">
                                      <p:cBhvr>
                                        <p:cTn dur="500" fill="hold" id="49"/>
                                        <p:tgtEl>
                                          <p:spTgt spid="114">
                                            <p:txEl>
                                              <p:pRg end="0" st="0"/>
                                            </p:txEl>
                                          </p:spTgt>
                                        </p:tgtEl>
                                        <p:attrNameLst>
                                          <p:attrName>ppt_h</p:attrName>
                                        </p:attrNameLst>
                                      </p:cBhvr>
                                      <p:tavLst>
                                        <p:tav tm="0">
                                          <p:val>
                                            <p:fltVal val="0"/>
                                          </p:val>
                                        </p:tav>
                                        <p:tav tm="100000">
                                          <p:val>
                                            <p:strVal val="#ppt_h"/>
                                          </p:val>
                                        </p:tav>
                                      </p:tavLst>
                                    </p:anim>
                                    <p:animEffect filter="fade" transition="in">
                                      <p:cBhvr>
                                        <p:cTn dur="500" id="50"/>
                                        <p:tgtEl>
                                          <p:spTgt spid="114">
                                            <p:txEl>
                                              <p:pRg end="0" st="0"/>
                                            </p:txEl>
                                          </p:spTgt>
                                        </p:tgtEl>
                                      </p:cBhvr>
                                    </p:animEffect>
                                  </p:childTnLst>
                                </p:cTn>
                              </p:par>
                              <p:par>
                                <p:cTn fill="hold" grpId="0" id="51" nodeType="withEffect" presetClass="entr" presetID="23" presetSubtype="16">
                                  <p:stCondLst>
                                    <p:cond delay="200"/>
                                  </p:stCondLst>
                                  <p:childTnLst>
                                    <p:set>
                                      <p:cBhvr>
                                        <p:cTn dur="1" fill="hold" id="52">
                                          <p:stCondLst>
                                            <p:cond delay="0"/>
                                          </p:stCondLst>
                                        </p:cTn>
                                        <p:tgtEl>
                                          <p:spTgt spid="115">
                                            <p:txEl>
                                              <p:pRg end="0" st="0"/>
                                            </p:txEl>
                                          </p:spTgt>
                                        </p:tgtEl>
                                        <p:attrNameLst>
                                          <p:attrName>style.visibility</p:attrName>
                                        </p:attrNameLst>
                                      </p:cBhvr>
                                      <p:to>
                                        <p:strVal val="visible"/>
                                      </p:to>
                                    </p:set>
                                    <p:anim calcmode="lin" valueType="num">
                                      <p:cBhvr>
                                        <p:cTn dur="500" fill="hold" id="53"/>
                                        <p:tgtEl>
                                          <p:spTgt spid="115">
                                            <p:txEl>
                                              <p:pRg end="0" st="0"/>
                                            </p:txEl>
                                          </p:spTgt>
                                        </p:tgtEl>
                                        <p:attrNameLst>
                                          <p:attrName>ppt_w</p:attrName>
                                        </p:attrNameLst>
                                      </p:cBhvr>
                                      <p:tavLst>
                                        <p:tav tm="0">
                                          <p:val>
                                            <p:fltVal val="0"/>
                                          </p:val>
                                        </p:tav>
                                        <p:tav tm="100000">
                                          <p:val>
                                            <p:strVal val="#ppt_w"/>
                                          </p:val>
                                        </p:tav>
                                      </p:tavLst>
                                    </p:anim>
                                    <p:anim calcmode="lin" valueType="num">
                                      <p:cBhvr>
                                        <p:cTn dur="500" fill="hold" id="54"/>
                                        <p:tgtEl>
                                          <p:spTgt spid="115">
                                            <p:txEl>
                                              <p:pRg end="0" st="0"/>
                                            </p:txEl>
                                          </p:spTgt>
                                        </p:tgtEl>
                                        <p:attrNameLst>
                                          <p:attrName>ppt_h</p:attrName>
                                        </p:attrNameLst>
                                      </p:cBhvr>
                                      <p:tavLst>
                                        <p:tav tm="0">
                                          <p:val>
                                            <p:fltVal val="0"/>
                                          </p:val>
                                        </p:tav>
                                        <p:tav tm="100000">
                                          <p:val>
                                            <p:strVal val="#ppt_h"/>
                                          </p:val>
                                        </p:tav>
                                      </p:tavLst>
                                    </p:anim>
                                  </p:childTnLst>
                                </p:cTn>
                              </p:par>
                              <p:par>
                                <p:cTn fill="hold" grpId="0" id="55" nodeType="withEffect" presetClass="entr" presetID="53" presetSubtype="0">
                                  <p:stCondLst>
                                    <p:cond delay="200"/>
                                  </p:stCondLst>
                                  <p:childTnLst>
                                    <p:set>
                                      <p:cBhvr>
                                        <p:cTn dur="1" fill="hold" id="56">
                                          <p:stCondLst>
                                            <p:cond delay="0"/>
                                          </p:stCondLst>
                                        </p:cTn>
                                        <p:tgtEl>
                                          <p:spTgt spid="116"/>
                                        </p:tgtEl>
                                        <p:attrNameLst>
                                          <p:attrName>style.visibility</p:attrName>
                                        </p:attrNameLst>
                                      </p:cBhvr>
                                      <p:to>
                                        <p:strVal val="visible"/>
                                      </p:to>
                                    </p:set>
                                    <p:anim calcmode="lin" valueType="num">
                                      <p:cBhvr>
                                        <p:cTn dur="500" fill="hold" id="57"/>
                                        <p:tgtEl>
                                          <p:spTgt spid="116"/>
                                        </p:tgtEl>
                                        <p:attrNameLst>
                                          <p:attrName>ppt_w</p:attrName>
                                        </p:attrNameLst>
                                      </p:cBhvr>
                                      <p:tavLst>
                                        <p:tav tm="0">
                                          <p:val>
                                            <p:fltVal val="0"/>
                                          </p:val>
                                        </p:tav>
                                        <p:tav tm="100000">
                                          <p:val>
                                            <p:strVal val="#ppt_w"/>
                                          </p:val>
                                        </p:tav>
                                      </p:tavLst>
                                    </p:anim>
                                    <p:anim calcmode="lin" valueType="num">
                                      <p:cBhvr>
                                        <p:cTn dur="500" fill="hold" id="58"/>
                                        <p:tgtEl>
                                          <p:spTgt spid="116"/>
                                        </p:tgtEl>
                                        <p:attrNameLst>
                                          <p:attrName>ppt_h</p:attrName>
                                        </p:attrNameLst>
                                      </p:cBhvr>
                                      <p:tavLst>
                                        <p:tav tm="0">
                                          <p:val>
                                            <p:fltVal val="0"/>
                                          </p:val>
                                        </p:tav>
                                        <p:tav tm="100000">
                                          <p:val>
                                            <p:strVal val="#ppt_h"/>
                                          </p:val>
                                        </p:tav>
                                      </p:tavLst>
                                    </p:anim>
                                    <p:animEffect filter="fade" transition="in">
                                      <p:cBhvr>
                                        <p:cTn dur="500" id="59"/>
                                        <p:tgtEl>
                                          <p:spTgt spid="116"/>
                                        </p:tgtEl>
                                      </p:cBhvr>
                                    </p:animEffect>
                                  </p:childTnLst>
                                </p:cTn>
                              </p:par>
                              <p:par>
                                <p:cTn fill="hold" grpId="0" id="60" nodeType="withEffect" presetClass="entr" presetID="53" presetSubtype="0">
                                  <p:stCondLst>
                                    <p:cond delay="200"/>
                                  </p:stCondLst>
                                  <p:childTnLst>
                                    <p:set>
                                      <p:cBhvr>
                                        <p:cTn dur="1" fill="hold" id="61">
                                          <p:stCondLst>
                                            <p:cond delay="0"/>
                                          </p:stCondLst>
                                        </p:cTn>
                                        <p:tgtEl>
                                          <p:spTgt spid="117">
                                            <p:txEl>
                                              <p:pRg end="0" st="0"/>
                                            </p:txEl>
                                          </p:spTgt>
                                        </p:tgtEl>
                                        <p:attrNameLst>
                                          <p:attrName>style.visibility</p:attrName>
                                        </p:attrNameLst>
                                      </p:cBhvr>
                                      <p:to>
                                        <p:strVal val="visible"/>
                                      </p:to>
                                    </p:set>
                                    <p:anim calcmode="lin" valueType="num">
                                      <p:cBhvr>
                                        <p:cTn dur="500" fill="hold" id="62"/>
                                        <p:tgtEl>
                                          <p:spTgt spid="117">
                                            <p:txEl>
                                              <p:pRg end="0" st="0"/>
                                            </p:txEl>
                                          </p:spTgt>
                                        </p:tgtEl>
                                        <p:attrNameLst>
                                          <p:attrName>ppt_w</p:attrName>
                                        </p:attrNameLst>
                                      </p:cBhvr>
                                      <p:tavLst>
                                        <p:tav tm="0">
                                          <p:val>
                                            <p:fltVal val="0"/>
                                          </p:val>
                                        </p:tav>
                                        <p:tav tm="100000">
                                          <p:val>
                                            <p:strVal val="#ppt_w"/>
                                          </p:val>
                                        </p:tav>
                                      </p:tavLst>
                                    </p:anim>
                                    <p:anim calcmode="lin" valueType="num">
                                      <p:cBhvr>
                                        <p:cTn dur="500" fill="hold" id="63"/>
                                        <p:tgtEl>
                                          <p:spTgt spid="117">
                                            <p:txEl>
                                              <p:pRg end="0" st="0"/>
                                            </p:txEl>
                                          </p:spTgt>
                                        </p:tgtEl>
                                        <p:attrNameLst>
                                          <p:attrName>ppt_h</p:attrName>
                                        </p:attrNameLst>
                                      </p:cBhvr>
                                      <p:tavLst>
                                        <p:tav tm="0">
                                          <p:val>
                                            <p:fltVal val="0"/>
                                          </p:val>
                                        </p:tav>
                                        <p:tav tm="100000">
                                          <p:val>
                                            <p:strVal val="#ppt_h"/>
                                          </p:val>
                                        </p:tav>
                                      </p:tavLst>
                                    </p:anim>
                                    <p:animEffect filter="fade" transition="in">
                                      <p:cBhvr>
                                        <p:cTn dur="500" id="64"/>
                                        <p:tgtEl>
                                          <p:spTgt spid="117">
                                            <p:txEl>
                                              <p:pRg end="0" st="0"/>
                                            </p:txEl>
                                          </p:spTgt>
                                        </p:tgtEl>
                                      </p:cBhvr>
                                    </p:animEffect>
                                  </p:childTnLst>
                                </p:cTn>
                              </p:par>
                              <p:par>
                                <p:cTn fill="hold" grpId="0" id="65" nodeType="withEffect" presetClass="entr" presetID="53" presetSubtype="0">
                                  <p:stCondLst>
                                    <p:cond delay="200"/>
                                  </p:stCondLst>
                                  <p:childTnLst>
                                    <p:set>
                                      <p:cBhvr>
                                        <p:cTn dur="1" fill="hold" id="66">
                                          <p:stCondLst>
                                            <p:cond delay="0"/>
                                          </p:stCondLst>
                                        </p:cTn>
                                        <p:tgtEl>
                                          <p:spTgt spid="118">
                                            <p:txEl>
                                              <p:pRg end="0" st="0"/>
                                            </p:txEl>
                                          </p:spTgt>
                                        </p:tgtEl>
                                        <p:attrNameLst>
                                          <p:attrName>style.visibility</p:attrName>
                                        </p:attrNameLst>
                                      </p:cBhvr>
                                      <p:to>
                                        <p:strVal val="visible"/>
                                      </p:to>
                                    </p:set>
                                    <p:anim calcmode="lin" valueType="num">
                                      <p:cBhvr>
                                        <p:cTn dur="500" fill="hold" id="67"/>
                                        <p:tgtEl>
                                          <p:spTgt spid="118">
                                            <p:txEl>
                                              <p:pRg end="0" st="0"/>
                                            </p:txEl>
                                          </p:spTgt>
                                        </p:tgtEl>
                                        <p:attrNameLst>
                                          <p:attrName>ppt_w</p:attrName>
                                        </p:attrNameLst>
                                      </p:cBhvr>
                                      <p:tavLst>
                                        <p:tav tm="0">
                                          <p:val>
                                            <p:fltVal val="0"/>
                                          </p:val>
                                        </p:tav>
                                        <p:tav tm="100000">
                                          <p:val>
                                            <p:strVal val="#ppt_w"/>
                                          </p:val>
                                        </p:tav>
                                      </p:tavLst>
                                    </p:anim>
                                    <p:anim calcmode="lin" valueType="num">
                                      <p:cBhvr>
                                        <p:cTn dur="500" fill="hold" id="68"/>
                                        <p:tgtEl>
                                          <p:spTgt spid="118">
                                            <p:txEl>
                                              <p:pRg end="0" st="0"/>
                                            </p:txEl>
                                          </p:spTgt>
                                        </p:tgtEl>
                                        <p:attrNameLst>
                                          <p:attrName>ppt_h</p:attrName>
                                        </p:attrNameLst>
                                      </p:cBhvr>
                                      <p:tavLst>
                                        <p:tav tm="0">
                                          <p:val>
                                            <p:fltVal val="0"/>
                                          </p:val>
                                        </p:tav>
                                        <p:tav tm="100000">
                                          <p:val>
                                            <p:strVal val="#ppt_h"/>
                                          </p:val>
                                        </p:tav>
                                      </p:tavLst>
                                    </p:anim>
                                    <p:animEffect filter="fade" transition="in">
                                      <p:cBhvr>
                                        <p:cTn dur="500" id="69"/>
                                        <p:tgtEl>
                                          <p:spTgt spid="118">
                                            <p:txEl>
                                              <p:pRg end="0" st="0"/>
                                            </p:txEl>
                                          </p:spTgt>
                                        </p:tgtEl>
                                      </p:cBhvr>
                                    </p:animEffect>
                                  </p:childTnLst>
                                </p:cTn>
                              </p:par>
                              <p:par>
                                <p:cTn fill="hold" grpId="0" id="70" nodeType="withEffect" presetClass="entr" presetID="23" presetSubtype="16">
                                  <p:stCondLst>
                                    <p:cond delay="200"/>
                                  </p:stCondLst>
                                  <p:childTnLst>
                                    <p:set>
                                      <p:cBhvr>
                                        <p:cTn dur="1" fill="hold" id="71">
                                          <p:stCondLst>
                                            <p:cond delay="0"/>
                                          </p:stCondLst>
                                        </p:cTn>
                                        <p:tgtEl>
                                          <p:spTgt spid="119">
                                            <p:txEl>
                                              <p:pRg end="0" st="0"/>
                                            </p:txEl>
                                          </p:spTgt>
                                        </p:tgtEl>
                                        <p:attrNameLst>
                                          <p:attrName>style.visibility</p:attrName>
                                        </p:attrNameLst>
                                      </p:cBhvr>
                                      <p:to>
                                        <p:strVal val="visible"/>
                                      </p:to>
                                    </p:set>
                                    <p:anim calcmode="lin" valueType="num">
                                      <p:cBhvr>
                                        <p:cTn dur="500" fill="hold" id="72"/>
                                        <p:tgtEl>
                                          <p:spTgt spid="119">
                                            <p:txEl>
                                              <p:pRg end="0" st="0"/>
                                            </p:txEl>
                                          </p:spTgt>
                                        </p:tgtEl>
                                        <p:attrNameLst>
                                          <p:attrName>ppt_w</p:attrName>
                                        </p:attrNameLst>
                                      </p:cBhvr>
                                      <p:tavLst>
                                        <p:tav tm="0">
                                          <p:val>
                                            <p:fltVal val="0"/>
                                          </p:val>
                                        </p:tav>
                                        <p:tav tm="100000">
                                          <p:val>
                                            <p:strVal val="#ppt_w"/>
                                          </p:val>
                                        </p:tav>
                                      </p:tavLst>
                                    </p:anim>
                                    <p:anim calcmode="lin" valueType="num">
                                      <p:cBhvr>
                                        <p:cTn dur="500" fill="hold" id="73"/>
                                        <p:tgtEl>
                                          <p:spTgt spid="119">
                                            <p:txEl>
                                              <p:pRg end="0" st="0"/>
                                            </p:txEl>
                                          </p:spTgt>
                                        </p:tgtEl>
                                        <p:attrNameLst>
                                          <p:attrName>ppt_h</p:attrName>
                                        </p:attrNameLst>
                                      </p:cBhvr>
                                      <p:tavLst>
                                        <p:tav tm="0">
                                          <p:val>
                                            <p:fltVal val="0"/>
                                          </p:val>
                                        </p:tav>
                                        <p:tav tm="100000">
                                          <p:val>
                                            <p:strVal val="#ppt_h"/>
                                          </p:val>
                                        </p:tav>
                                      </p:tavLst>
                                    </p:anim>
                                  </p:childTnLst>
                                </p:cTn>
                              </p:par>
                              <p:par>
                                <p:cTn fill="hold" grpId="0" id="74" nodeType="withEffect" presetClass="entr" presetID="53" presetSubtype="0">
                                  <p:stCondLst>
                                    <p:cond delay="200"/>
                                  </p:stCondLst>
                                  <p:childTnLst>
                                    <p:set>
                                      <p:cBhvr>
                                        <p:cTn dur="1" fill="hold" id="75">
                                          <p:stCondLst>
                                            <p:cond delay="0"/>
                                          </p:stCondLst>
                                        </p:cTn>
                                        <p:tgtEl>
                                          <p:spTgt spid="120"/>
                                        </p:tgtEl>
                                        <p:attrNameLst>
                                          <p:attrName>style.visibility</p:attrName>
                                        </p:attrNameLst>
                                      </p:cBhvr>
                                      <p:to>
                                        <p:strVal val="visible"/>
                                      </p:to>
                                    </p:set>
                                    <p:anim calcmode="lin" valueType="num">
                                      <p:cBhvr>
                                        <p:cTn dur="500" fill="hold" id="76"/>
                                        <p:tgtEl>
                                          <p:spTgt spid="120"/>
                                        </p:tgtEl>
                                        <p:attrNameLst>
                                          <p:attrName>ppt_w</p:attrName>
                                        </p:attrNameLst>
                                      </p:cBhvr>
                                      <p:tavLst>
                                        <p:tav tm="0">
                                          <p:val>
                                            <p:fltVal val="0"/>
                                          </p:val>
                                        </p:tav>
                                        <p:tav tm="100000">
                                          <p:val>
                                            <p:strVal val="#ppt_w"/>
                                          </p:val>
                                        </p:tav>
                                      </p:tavLst>
                                    </p:anim>
                                    <p:anim calcmode="lin" valueType="num">
                                      <p:cBhvr>
                                        <p:cTn dur="500" fill="hold" id="77"/>
                                        <p:tgtEl>
                                          <p:spTgt spid="120"/>
                                        </p:tgtEl>
                                        <p:attrNameLst>
                                          <p:attrName>ppt_h</p:attrName>
                                        </p:attrNameLst>
                                      </p:cBhvr>
                                      <p:tavLst>
                                        <p:tav tm="0">
                                          <p:val>
                                            <p:fltVal val="0"/>
                                          </p:val>
                                        </p:tav>
                                        <p:tav tm="100000">
                                          <p:val>
                                            <p:strVal val="#ppt_h"/>
                                          </p:val>
                                        </p:tav>
                                      </p:tavLst>
                                    </p:anim>
                                    <p:animEffect filter="fade" transition="in">
                                      <p:cBhvr>
                                        <p:cTn dur="500" id="78"/>
                                        <p:tgtEl>
                                          <p:spTgt spid="120"/>
                                        </p:tgtEl>
                                      </p:cBhvr>
                                    </p:animEffect>
                                  </p:childTnLst>
                                </p:cTn>
                              </p:par>
                              <p:par>
                                <p:cTn fill="hold" grpId="0" id="79" nodeType="withEffect" presetClass="entr" presetID="53" presetSubtype="0">
                                  <p:stCondLst>
                                    <p:cond delay="200"/>
                                  </p:stCondLst>
                                  <p:childTnLst>
                                    <p:set>
                                      <p:cBhvr>
                                        <p:cTn dur="1" fill="hold" id="80">
                                          <p:stCondLst>
                                            <p:cond delay="0"/>
                                          </p:stCondLst>
                                        </p:cTn>
                                        <p:tgtEl>
                                          <p:spTgt spid="121">
                                            <p:bg/>
                                          </p:spTgt>
                                        </p:tgtEl>
                                        <p:attrNameLst>
                                          <p:attrName>style.visibility</p:attrName>
                                        </p:attrNameLst>
                                      </p:cBhvr>
                                      <p:to>
                                        <p:strVal val="visible"/>
                                      </p:to>
                                    </p:set>
                                    <p:anim calcmode="lin" valueType="num">
                                      <p:cBhvr>
                                        <p:cTn dur="500" fill="hold" id="81"/>
                                        <p:tgtEl>
                                          <p:spTgt spid="121">
                                            <p:bg/>
                                          </p:spTgt>
                                        </p:tgtEl>
                                        <p:attrNameLst>
                                          <p:attrName>ppt_w</p:attrName>
                                        </p:attrNameLst>
                                      </p:cBhvr>
                                      <p:tavLst>
                                        <p:tav tm="0">
                                          <p:val>
                                            <p:fltVal val="0"/>
                                          </p:val>
                                        </p:tav>
                                        <p:tav tm="100000">
                                          <p:val>
                                            <p:strVal val="#ppt_w"/>
                                          </p:val>
                                        </p:tav>
                                      </p:tavLst>
                                    </p:anim>
                                    <p:anim calcmode="lin" valueType="num">
                                      <p:cBhvr>
                                        <p:cTn dur="500" fill="hold" id="82"/>
                                        <p:tgtEl>
                                          <p:spTgt spid="121">
                                            <p:bg/>
                                          </p:spTgt>
                                        </p:tgtEl>
                                        <p:attrNameLst>
                                          <p:attrName>ppt_h</p:attrName>
                                        </p:attrNameLst>
                                      </p:cBhvr>
                                      <p:tavLst>
                                        <p:tav tm="0">
                                          <p:val>
                                            <p:fltVal val="0"/>
                                          </p:val>
                                        </p:tav>
                                        <p:tav tm="100000">
                                          <p:val>
                                            <p:strVal val="#ppt_h"/>
                                          </p:val>
                                        </p:tav>
                                      </p:tavLst>
                                    </p:anim>
                                    <p:animEffect filter="fade" transition="in">
                                      <p:cBhvr>
                                        <p:cTn dur="500" id="83"/>
                                        <p:tgtEl>
                                          <p:spTgt spid="121">
                                            <p:bg/>
                                          </p:spTgt>
                                        </p:tgtEl>
                                      </p:cBhvr>
                                    </p:animEffect>
                                  </p:childTnLst>
                                </p:cTn>
                              </p:par>
                              <p:par>
                                <p:cTn fill="hold" grpId="0" id="84" nodeType="withEffect" presetClass="entr" presetID="53" presetSubtype="0">
                                  <p:stCondLst>
                                    <p:cond delay="200"/>
                                  </p:stCondLst>
                                  <p:childTnLst>
                                    <p:set>
                                      <p:cBhvr>
                                        <p:cTn dur="1" fill="hold" id="85">
                                          <p:stCondLst>
                                            <p:cond delay="0"/>
                                          </p:stCondLst>
                                        </p:cTn>
                                        <p:tgtEl>
                                          <p:spTgt spid="121">
                                            <p:txEl>
                                              <p:pRg end="0" st="0"/>
                                            </p:txEl>
                                          </p:spTgt>
                                        </p:tgtEl>
                                        <p:attrNameLst>
                                          <p:attrName>style.visibility</p:attrName>
                                        </p:attrNameLst>
                                      </p:cBhvr>
                                      <p:to>
                                        <p:strVal val="visible"/>
                                      </p:to>
                                    </p:set>
                                    <p:anim calcmode="lin" valueType="num">
                                      <p:cBhvr>
                                        <p:cTn dur="500" fill="hold" id="86"/>
                                        <p:tgtEl>
                                          <p:spTgt spid="121">
                                            <p:txEl>
                                              <p:pRg end="0" st="0"/>
                                            </p:txEl>
                                          </p:spTgt>
                                        </p:tgtEl>
                                        <p:attrNameLst>
                                          <p:attrName>ppt_w</p:attrName>
                                        </p:attrNameLst>
                                      </p:cBhvr>
                                      <p:tavLst>
                                        <p:tav tm="0">
                                          <p:val>
                                            <p:fltVal val="0"/>
                                          </p:val>
                                        </p:tav>
                                        <p:tav tm="100000">
                                          <p:val>
                                            <p:strVal val="#ppt_w"/>
                                          </p:val>
                                        </p:tav>
                                      </p:tavLst>
                                    </p:anim>
                                    <p:anim calcmode="lin" valueType="num">
                                      <p:cBhvr>
                                        <p:cTn dur="500" fill="hold" id="87"/>
                                        <p:tgtEl>
                                          <p:spTgt spid="121">
                                            <p:txEl>
                                              <p:pRg end="0" st="0"/>
                                            </p:txEl>
                                          </p:spTgt>
                                        </p:tgtEl>
                                        <p:attrNameLst>
                                          <p:attrName>ppt_h</p:attrName>
                                        </p:attrNameLst>
                                      </p:cBhvr>
                                      <p:tavLst>
                                        <p:tav tm="0">
                                          <p:val>
                                            <p:fltVal val="0"/>
                                          </p:val>
                                        </p:tav>
                                        <p:tav tm="100000">
                                          <p:val>
                                            <p:strVal val="#ppt_h"/>
                                          </p:val>
                                        </p:tav>
                                      </p:tavLst>
                                    </p:anim>
                                    <p:animEffect filter="fade" transition="in">
                                      <p:cBhvr>
                                        <p:cTn dur="500" id="88"/>
                                        <p:tgtEl>
                                          <p:spTgt spid="121">
                                            <p:txEl>
                                              <p:pRg end="0" st="0"/>
                                            </p:txEl>
                                          </p:spTgt>
                                        </p:tgtEl>
                                      </p:cBhvr>
                                    </p:animEffect>
                                  </p:childTnLst>
                                </p:cTn>
                              </p:par>
                              <p:par>
                                <p:cTn fill="hold" grpId="0" id="89" nodeType="withEffect" presetClass="entr" presetID="53" presetSubtype="0">
                                  <p:stCondLst>
                                    <p:cond delay="200"/>
                                  </p:stCondLst>
                                  <p:childTnLst>
                                    <p:set>
                                      <p:cBhvr>
                                        <p:cTn dur="1" fill="hold" id="90">
                                          <p:stCondLst>
                                            <p:cond delay="0"/>
                                          </p:stCondLst>
                                        </p:cTn>
                                        <p:tgtEl>
                                          <p:spTgt spid="122">
                                            <p:txEl>
                                              <p:pRg end="0" st="0"/>
                                            </p:txEl>
                                          </p:spTgt>
                                        </p:tgtEl>
                                        <p:attrNameLst>
                                          <p:attrName>style.visibility</p:attrName>
                                        </p:attrNameLst>
                                      </p:cBhvr>
                                      <p:to>
                                        <p:strVal val="visible"/>
                                      </p:to>
                                    </p:set>
                                    <p:anim calcmode="lin" valueType="num">
                                      <p:cBhvr>
                                        <p:cTn dur="500" fill="hold" id="91"/>
                                        <p:tgtEl>
                                          <p:spTgt spid="122">
                                            <p:txEl>
                                              <p:pRg end="0" st="0"/>
                                            </p:txEl>
                                          </p:spTgt>
                                        </p:tgtEl>
                                        <p:attrNameLst>
                                          <p:attrName>ppt_w</p:attrName>
                                        </p:attrNameLst>
                                      </p:cBhvr>
                                      <p:tavLst>
                                        <p:tav tm="0">
                                          <p:val>
                                            <p:fltVal val="0"/>
                                          </p:val>
                                        </p:tav>
                                        <p:tav tm="100000">
                                          <p:val>
                                            <p:strVal val="#ppt_w"/>
                                          </p:val>
                                        </p:tav>
                                      </p:tavLst>
                                    </p:anim>
                                    <p:anim calcmode="lin" valueType="num">
                                      <p:cBhvr>
                                        <p:cTn dur="500" fill="hold" id="92"/>
                                        <p:tgtEl>
                                          <p:spTgt spid="122">
                                            <p:txEl>
                                              <p:pRg end="0" st="0"/>
                                            </p:txEl>
                                          </p:spTgt>
                                        </p:tgtEl>
                                        <p:attrNameLst>
                                          <p:attrName>ppt_h</p:attrName>
                                        </p:attrNameLst>
                                      </p:cBhvr>
                                      <p:tavLst>
                                        <p:tav tm="0">
                                          <p:val>
                                            <p:fltVal val="0"/>
                                          </p:val>
                                        </p:tav>
                                        <p:tav tm="100000">
                                          <p:val>
                                            <p:strVal val="#ppt_h"/>
                                          </p:val>
                                        </p:tav>
                                      </p:tavLst>
                                    </p:anim>
                                    <p:animEffect filter="fade" transition="in">
                                      <p:cBhvr>
                                        <p:cTn dur="500" id="93"/>
                                        <p:tgtEl>
                                          <p:spTgt spid="122">
                                            <p:txEl>
                                              <p:pRg end="0" st="0"/>
                                            </p:txEl>
                                          </p:spTgt>
                                        </p:tgtEl>
                                      </p:cBhvr>
                                    </p:animEffect>
                                  </p:childTnLst>
                                </p:cTn>
                              </p:par>
                              <p:par>
                                <p:cTn fill="hold" grpId="0" id="94" nodeType="withEffect" presetClass="entr" presetID="23" presetSubtype="16">
                                  <p:stCondLst>
                                    <p:cond delay="200"/>
                                  </p:stCondLst>
                                  <p:childTnLst>
                                    <p:set>
                                      <p:cBhvr>
                                        <p:cTn dur="1" fill="hold" id="95">
                                          <p:stCondLst>
                                            <p:cond delay="0"/>
                                          </p:stCondLst>
                                        </p:cTn>
                                        <p:tgtEl>
                                          <p:spTgt spid="123">
                                            <p:txEl>
                                              <p:pRg end="0" st="0"/>
                                            </p:txEl>
                                          </p:spTgt>
                                        </p:tgtEl>
                                        <p:attrNameLst>
                                          <p:attrName>style.visibility</p:attrName>
                                        </p:attrNameLst>
                                      </p:cBhvr>
                                      <p:to>
                                        <p:strVal val="visible"/>
                                      </p:to>
                                    </p:set>
                                    <p:anim calcmode="lin" valueType="num">
                                      <p:cBhvr>
                                        <p:cTn dur="500" fill="hold" id="96"/>
                                        <p:tgtEl>
                                          <p:spTgt spid="123">
                                            <p:txEl>
                                              <p:pRg end="0" st="0"/>
                                            </p:txEl>
                                          </p:spTgt>
                                        </p:tgtEl>
                                        <p:attrNameLst>
                                          <p:attrName>ppt_w</p:attrName>
                                        </p:attrNameLst>
                                      </p:cBhvr>
                                      <p:tavLst>
                                        <p:tav tm="0">
                                          <p:val>
                                            <p:fltVal val="0"/>
                                          </p:val>
                                        </p:tav>
                                        <p:tav tm="100000">
                                          <p:val>
                                            <p:strVal val="#ppt_w"/>
                                          </p:val>
                                        </p:tav>
                                      </p:tavLst>
                                    </p:anim>
                                    <p:anim calcmode="lin" valueType="num">
                                      <p:cBhvr>
                                        <p:cTn dur="500" fill="hold" id="97"/>
                                        <p:tgtEl>
                                          <p:spTgt spid="123">
                                            <p:txEl>
                                              <p:pRg end="0" st="0"/>
                                            </p:txEl>
                                          </p:spTgt>
                                        </p:tgtEl>
                                        <p:attrNameLst>
                                          <p:attrName>ppt_h</p:attrName>
                                        </p:attrNameLst>
                                      </p:cBhvr>
                                      <p:tavLst>
                                        <p:tav tm="0">
                                          <p:val>
                                            <p:fltVal val="0"/>
                                          </p:val>
                                        </p:tav>
                                        <p:tav tm="100000">
                                          <p:val>
                                            <p:strVal val="#ppt_h"/>
                                          </p:val>
                                        </p:tav>
                                      </p:tavLst>
                                    </p:anim>
                                  </p:childTnLst>
                                </p:cTn>
                              </p:par>
                              <p:par>
                                <p:cTn fill="hold" grpId="0" id="98" nodeType="withEffect" presetClass="entr" presetID="53" presetSubtype="0">
                                  <p:stCondLst>
                                    <p:cond delay="200"/>
                                  </p:stCondLst>
                                  <p:childTnLst>
                                    <p:set>
                                      <p:cBhvr>
                                        <p:cTn dur="1" fill="hold" id="99">
                                          <p:stCondLst>
                                            <p:cond delay="0"/>
                                          </p:stCondLst>
                                        </p:cTn>
                                        <p:tgtEl>
                                          <p:spTgt spid="124"/>
                                        </p:tgtEl>
                                        <p:attrNameLst>
                                          <p:attrName>style.visibility</p:attrName>
                                        </p:attrNameLst>
                                      </p:cBhvr>
                                      <p:to>
                                        <p:strVal val="visible"/>
                                      </p:to>
                                    </p:set>
                                    <p:anim calcmode="lin" valueType="num">
                                      <p:cBhvr>
                                        <p:cTn dur="500" fill="hold" id="100"/>
                                        <p:tgtEl>
                                          <p:spTgt spid="124"/>
                                        </p:tgtEl>
                                        <p:attrNameLst>
                                          <p:attrName>ppt_w</p:attrName>
                                        </p:attrNameLst>
                                      </p:cBhvr>
                                      <p:tavLst>
                                        <p:tav tm="0">
                                          <p:val>
                                            <p:fltVal val="0"/>
                                          </p:val>
                                        </p:tav>
                                        <p:tav tm="100000">
                                          <p:val>
                                            <p:strVal val="#ppt_w"/>
                                          </p:val>
                                        </p:tav>
                                      </p:tavLst>
                                    </p:anim>
                                    <p:anim calcmode="lin" valueType="num">
                                      <p:cBhvr>
                                        <p:cTn dur="500" fill="hold" id="101"/>
                                        <p:tgtEl>
                                          <p:spTgt spid="124"/>
                                        </p:tgtEl>
                                        <p:attrNameLst>
                                          <p:attrName>ppt_h</p:attrName>
                                        </p:attrNameLst>
                                      </p:cBhvr>
                                      <p:tavLst>
                                        <p:tav tm="0">
                                          <p:val>
                                            <p:fltVal val="0"/>
                                          </p:val>
                                        </p:tav>
                                        <p:tav tm="100000">
                                          <p:val>
                                            <p:strVal val="#ppt_h"/>
                                          </p:val>
                                        </p:tav>
                                      </p:tavLst>
                                    </p:anim>
                                    <p:animEffect filter="fade" transition="in">
                                      <p:cBhvr>
                                        <p:cTn dur="500" id="102"/>
                                        <p:tgtEl>
                                          <p:spTgt spid="124"/>
                                        </p:tgtEl>
                                      </p:cBhvr>
                                    </p:animEffect>
                                  </p:childTnLst>
                                </p:cTn>
                              </p:par>
                              <p:par>
                                <p:cTn fill="hold" grpId="0" id="103" nodeType="withEffect" presetClass="entr" presetID="53" presetSubtype="0">
                                  <p:stCondLst>
                                    <p:cond delay="200"/>
                                  </p:stCondLst>
                                  <p:childTnLst>
                                    <p:set>
                                      <p:cBhvr>
                                        <p:cTn dur="1" fill="hold" id="104">
                                          <p:stCondLst>
                                            <p:cond delay="0"/>
                                          </p:stCondLst>
                                        </p:cTn>
                                        <p:tgtEl>
                                          <p:spTgt spid="125">
                                            <p:txEl>
                                              <p:pRg end="0" st="0"/>
                                            </p:txEl>
                                          </p:spTgt>
                                        </p:tgtEl>
                                        <p:attrNameLst>
                                          <p:attrName>style.visibility</p:attrName>
                                        </p:attrNameLst>
                                      </p:cBhvr>
                                      <p:to>
                                        <p:strVal val="visible"/>
                                      </p:to>
                                    </p:set>
                                    <p:anim calcmode="lin" valueType="num">
                                      <p:cBhvr>
                                        <p:cTn dur="500" fill="hold" id="105"/>
                                        <p:tgtEl>
                                          <p:spTgt spid="125">
                                            <p:txEl>
                                              <p:pRg end="0" st="0"/>
                                            </p:txEl>
                                          </p:spTgt>
                                        </p:tgtEl>
                                        <p:attrNameLst>
                                          <p:attrName>ppt_w</p:attrName>
                                        </p:attrNameLst>
                                      </p:cBhvr>
                                      <p:tavLst>
                                        <p:tav tm="0">
                                          <p:val>
                                            <p:fltVal val="0"/>
                                          </p:val>
                                        </p:tav>
                                        <p:tav tm="100000">
                                          <p:val>
                                            <p:strVal val="#ppt_w"/>
                                          </p:val>
                                        </p:tav>
                                      </p:tavLst>
                                    </p:anim>
                                    <p:anim calcmode="lin" valueType="num">
                                      <p:cBhvr>
                                        <p:cTn dur="500" fill="hold" id="106"/>
                                        <p:tgtEl>
                                          <p:spTgt spid="125">
                                            <p:txEl>
                                              <p:pRg end="0" st="0"/>
                                            </p:txEl>
                                          </p:spTgt>
                                        </p:tgtEl>
                                        <p:attrNameLst>
                                          <p:attrName>ppt_h</p:attrName>
                                        </p:attrNameLst>
                                      </p:cBhvr>
                                      <p:tavLst>
                                        <p:tav tm="0">
                                          <p:val>
                                            <p:fltVal val="0"/>
                                          </p:val>
                                        </p:tav>
                                        <p:tav tm="100000">
                                          <p:val>
                                            <p:strVal val="#ppt_h"/>
                                          </p:val>
                                        </p:tav>
                                      </p:tavLst>
                                    </p:anim>
                                    <p:animEffect filter="fade" transition="in">
                                      <p:cBhvr>
                                        <p:cTn dur="500" id="107"/>
                                        <p:tgtEl>
                                          <p:spTgt spid="125">
                                            <p:txEl>
                                              <p:pRg end="0" st="0"/>
                                            </p:txEl>
                                          </p:spTgt>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build="p" grpId="0" spid="110"/>
      <p:bldP build="p" grpId="0" spid="111"/>
      <p:bldP grpId="0" spid="112"/>
      <p:bldP build="p" grpId="0" spid="113"/>
      <p:bldP build="p" grpId="0" spid="114"/>
      <p:bldP build="p" grpId="0" spid="115"/>
      <p:bldP grpId="0" spid="116"/>
      <p:bldP build="p" grpId="0" spid="117"/>
      <p:bldP build="p" grpId="0" spid="118"/>
      <p:bldP build="p" grpId="0" spid="119"/>
      <p:bldP grpId="0" spid="120"/>
      <p:bldP animBg="1" build="p" grpId="0" spid="121" uiExpand="1"/>
      <p:bldP build="p" grpId="0" spid="122"/>
      <p:bldP build="p" grpId="0" spid="123"/>
      <p:bldP grpId="0" spid="124"/>
      <p:bldP build="p" grpId="0" spid="125"/>
      <p:bldP grpId="0" spid="26"/>
      <p:bldP grpId="0" spid="29"/>
    </p:bldLst>
  </p:timing>
  <p:extLst mod="1">
    <p:ext uri="{E180D4A7-C9FB-4DFB-919C-405C955672EB}">
      <p14:showEvtLst>
        <p14:playEvt objId="34" time="1315"/>
        <p14:stopEvt objId="34" time="2060"/>
      </p14:showEvtLst>
    </p:ext>
  </p:extLst>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66" name="Group 1"/>
          <p:cNvGrpSpPr/>
          <p:nvPr/>
        </p:nvGrpSpPr>
        <p:grpSpPr>
          <a:xfrm>
            <a:off x="3408204" y="1604139"/>
            <a:ext cx="2164715" cy="2152864"/>
            <a:chExt cx="6753151" cy="6746917"/>
          </a:xfrm>
          <a:solidFill>
            <a:srgbClr val="0070C0"/>
          </a:solidFill>
        </p:grpSpPr>
        <p:sp>
          <p:nvSpPr>
            <p:cNvPr id="67" name="AutoShape 2"/>
            <p:cNvSpPr/>
            <p:nvPr/>
          </p:nvSpPr>
          <p:spPr bwMode="auto">
            <a:xfrm>
              <a:off x="0" y="0"/>
              <a:ext cx="6753151" cy="6746917"/>
            </a:xfrm>
            <a:custGeom>
              <a:gdLst>
                <a:gd fmla="*/ 3376405 w 19777" name="T0"/>
                <a:gd fmla="*/ 3680572 h 19739" name="T1"/>
                <a:gd fmla="*/ 3376405 w 19777" name="T2"/>
                <a:gd fmla="*/ 3680572 h 19739" name="T3"/>
                <a:gd fmla="*/ 3376405 w 19777" name="T4"/>
                <a:gd fmla="*/ 3680572 h 19739" name="T5"/>
                <a:gd fmla="*/ 3376405 w 19777" name="T6"/>
                <a:gd fmla="*/ 3680572 h 1973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739" w="19777">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bIns="20936" lIns="20936" rIns="20936" tIns="20936"/>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68" name="AutoShape 3"/>
            <p:cNvSpPr/>
            <p:nvPr/>
          </p:nvSpPr>
          <p:spPr bwMode="auto">
            <a:xfrm>
              <a:off x="246135" y="256563"/>
              <a:ext cx="6250479" cy="6251127"/>
            </a:xfrm>
            <a:custGeom>
              <a:gdLst>
                <a:gd fmla="*/ 3125594 w 19679" name="T0"/>
                <a:gd fmla="*/ 3430938 h 19679" name="T1"/>
                <a:gd fmla="*/ 3125594 w 19679" name="T2"/>
                <a:gd fmla="*/ 3430938 h 19679" name="T3"/>
                <a:gd fmla="*/ 3125594 w 19679" name="T4"/>
                <a:gd fmla="*/ 3430938 h 19679" name="T5"/>
                <a:gd fmla="*/ 3125594 w 19679" name="T6"/>
                <a:gd fmla="*/ 3430938 h 1967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679" w="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w="12700">
                  <a:solidFill>
                    <a:srgbClr val="000000"/>
                  </a:solidFill>
                  <a:prstDash val="solid"/>
                  <a:miter lim="0"/>
                  <a:headEnd/>
                  <a:tailEnd/>
                </a14:hiddenLine>
              </a:ext>
              <a:ext uri="{AF507438-7753-43E0-B8FC-AC1667EBCBE1}">
                <a14:hiddenEffects>
                  <a:effectLst>
                    <a:outerShdw algn="ctr" blurRad="63500" dir="2700000" dist="38099" rotWithShape="0">
                      <a:srgbClr val="000000">
                        <a:alpha val="74997"/>
                      </a:srgbClr>
                    </a:outerShdw>
                  </a:effectLst>
                </a14:hiddenEffects>
              </a:ext>
            </a:extLst>
          </p:spPr>
          <p:txBody>
            <a:bodyPr anchor="ctr" bIns="0" lIns="0" rIns="0" tIns="0"/>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69" name="Line 4"/>
            <p:cNvSpPr>
              <a:spLocks noChangeShapeType="1"/>
            </p:cNvSpPr>
            <p:nvPr/>
          </p:nvSpPr>
          <p:spPr bwMode="auto">
            <a:xfrm flipH="1">
              <a:off x="5525936" y="346707"/>
              <a:ext cx="870143" cy="870236"/>
            </a:xfrm>
            <a:prstGeom prst="line">
              <a:avLst/>
            </a:prstGeom>
            <a:grpFill/>
            <a:ln cap="flat" cmpd="sng" w="63500">
              <a:solidFill>
                <a:schemeClr val="bg1"/>
              </a:solidFill>
              <a:prstDash val="solid"/>
              <a:round/>
            </a:ln>
            <a:effectLst/>
          </p:spPr>
          <p:txBody>
            <a:bodyPr anchor="ctr" bIns="0" lIns="0" rIns="0" tIns="0"/>
            <a:lstStyle/>
            <a:p>
              <a:pPr defTabSz="145990" eaLnBrk="1" hangingPunct="1">
                <a:defRPr/>
              </a:pPr>
              <a:endParaRPr lang="es-ES" noProof="1" sz="400">
                <a:solidFill>
                  <a:srgbClr val="000000"/>
                </a:solidFill>
                <a:latin charset="0" pitchFamily="34" typeface="Arial"/>
                <a:ea charset="-122" panose="020b0503020204020204" pitchFamily="34" typeface="微软雅黑"/>
                <a:sym charset="0" pitchFamily="34" typeface="Arial"/>
              </a:endParaRPr>
            </a:p>
          </p:txBody>
        </p:sp>
      </p:grpSp>
      <p:grpSp>
        <p:nvGrpSpPr>
          <p:cNvPr id="70" name="Group 5"/>
          <p:cNvGrpSpPr/>
          <p:nvPr/>
        </p:nvGrpSpPr>
        <p:grpSpPr>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gdLst>
                <a:gd fmla="*/ 3804119 w 20840" name="T0"/>
                <a:gd fmla="*/ 2845714 h 20595" name="T1"/>
                <a:gd fmla="*/ 3804119 w 20840" name="T2"/>
                <a:gd fmla="*/ 2845714 h 20595" name="T3"/>
                <a:gd fmla="*/ 3804119 w 20840" name="T4"/>
                <a:gd fmla="*/ 2845714 h 20595" name="T5"/>
                <a:gd fmla="*/ 3804119 w 20840" name="T6"/>
                <a:gd fmla="*/ 2845714 h 20595"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0595" w="20840">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bIns="20936" lIns="20936" rIns="20936" tIns="20936"/>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72" name="AutoShape 7"/>
            <p:cNvSpPr/>
            <p:nvPr/>
          </p:nvSpPr>
          <p:spPr bwMode="auto">
            <a:xfrm>
              <a:off x="201128" y="221845"/>
              <a:ext cx="5260573" cy="5258415"/>
            </a:xfrm>
            <a:custGeom>
              <a:gdLst>
                <a:gd fmla="*/ 2629091 w 19679" name="T0"/>
                <a:gd fmla="*/ 2885787 h 19679" name="T1"/>
                <a:gd fmla="*/ 2629091 w 19679" name="T2"/>
                <a:gd fmla="*/ 2885787 h 19679" name="T3"/>
                <a:gd fmla="*/ 2629091 w 19679" name="T4"/>
                <a:gd fmla="*/ 2885787 h 19679" name="T5"/>
                <a:gd fmla="*/ 2629091 w 19679" name="T6"/>
                <a:gd fmla="*/ 2885787 h 1967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679" w="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w="12700">
                  <a:solidFill>
                    <a:srgbClr val="000000"/>
                  </a:solidFill>
                  <a:prstDash val="solid"/>
                  <a:miter lim="0"/>
                  <a:headEnd/>
                  <a:tailEnd/>
                </a14:hiddenLine>
              </a:ext>
              <a:ext uri="{AF507438-7753-43E0-B8FC-AC1667EBCBE1}">
                <a14:hiddenEffects>
                  <a:effectLst>
                    <a:outerShdw algn="ctr" blurRad="63500" dir="2700000" dist="38099" rotWithShape="0">
                      <a:srgbClr val="000000">
                        <a:alpha val="74997"/>
                      </a:srgbClr>
                    </a:outerShdw>
                  </a:effectLst>
                </a14:hiddenEffects>
              </a:ext>
            </a:extLst>
          </p:spPr>
          <p:txBody>
            <a:bodyPr anchor="ctr" bIns="0" lIns="0" rIns="0" tIns="0"/>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73" name="Line 8"/>
            <p:cNvSpPr>
              <a:spLocks noChangeShapeType="1"/>
            </p:cNvSpPr>
            <p:nvPr/>
          </p:nvSpPr>
          <p:spPr bwMode="auto">
            <a:xfrm flipH="1" flipV="1">
              <a:off x="5420088" y="2807722"/>
              <a:ext cx="1595164" cy="0"/>
            </a:xfrm>
            <a:prstGeom prst="line">
              <a:avLst/>
            </a:prstGeom>
            <a:grpFill/>
            <a:ln cap="flat" cmpd="sng" w="63500">
              <a:solidFill>
                <a:schemeClr val="bg1"/>
              </a:solidFill>
              <a:prstDash val="solid"/>
              <a:round/>
            </a:ln>
            <a:effectLst/>
          </p:spPr>
          <p:txBody>
            <a:bodyPr anchor="ctr" bIns="0" lIns="0" rIns="0" tIns="0"/>
            <a:lstStyle/>
            <a:p>
              <a:pPr defTabSz="145990" eaLnBrk="1" hangingPunct="1">
                <a:defRPr/>
              </a:pPr>
              <a:endParaRPr lang="es-ES" noProof="1" sz="400">
                <a:solidFill>
                  <a:srgbClr val="000000"/>
                </a:solidFill>
                <a:latin charset="0" pitchFamily="34" typeface="Arial"/>
                <a:ea charset="-122" panose="020b0503020204020204" pitchFamily="34" typeface="微软雅黑"/>
                <a:sym charset="0" pitchFamily="34" typeface="Arial"/>
              </a:endParaRPr>
            </a:p>
          </p:txBody>
        </p:sp>
      </p:grpSp>
      <p:grpSp>
        <p:nvGrpSpPr>
          <p:cNvPr id="74" name="Group 9"/>
          <p:cNvGrpSpPr/>
          <p:nvPr/>
        </p:nvGrpSpPr>
        <p:grpSpPr>
          <a:xfrm>
            <a:off x="3721577" y="1921648"/>
            <a:ext cx="1848008" cy="1916115"/>
            <a:chExt cx="5763342" cy="6005116"/>
          </a:xfrm>
          <a:solidFill>
            <a:srgbClr val="0070C0"/>
          </a:solidFill>
        </p:grpSpPr>
        <p:sp>
          <p:nvSpPr>
            <p:cNvPr id="75" name="AutoShape 10"/>
            <p:cNvSpPr/>
            <p:nvPr/>
          </p:nvSpPr>
          <p:spPr bwMode="auto">
            <a:xfrm>
              <a:off x="0" y="0"/>
              <a:ext cx="5763342" cy="6005116"/>
            </a:xfrm>
            <a:custGeom>
              <a:gdLst>
                <a:gd fmla="*/ 2881532 w 20761" name="T0"/>
                <a:gd fmla="*/ 3002558 h 21600" name="T1"/>
                <a:gd fmla="*/ 2881532 w 20761" name="T2"/>
                <a:gd fmla="*/ 3002558 h 21600" name="T3"/>
                <a:gd fmla="*/ 2881532 w 20761" name="T4"/>
                <a:gd fmla="*/ 3002558 h 21600" name="T5"/>
                <a:gd fmla="*/ 2881532 w 20761" name="T6"/>
                <a:gd fmla="*/ 3002558 h 21600"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1600" w="20761">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bIns="20936" lIns="20936" rIns="20936" tIns="20936"/>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76" name="AutoShape 11"/>
            <p:cNvSpPr/>
            <p:nvPr/>
          </p:nvSpPr>
          <p:spPr bwMode="auto">
            <a:xfrm>
              <a:off x="180213" y="225364"/>
              <a:ext cx="4384021" cy="4382487"/>
            </a:xfrm>
            <a:custGeom>
              <a:gdLst>
                <a:gd fmla="*/ 2190911 w 19679" name="T0"/>
                <a:gd fmla="*/ 2405316 h 19679" name="T1"/>
                <a:gd fmla="*/ 2190911 w 19679" name="T2"/>
                <a:gd fmla="*/ 2405316 h 19679" name="T3"/>
                <a:gd fmla="*/ 2190911 w 19679" name="T4"/>
                <a:gd fmla="*/ 2405316 h 19679" name="T5"/>
                <a:gd fmla="*/ 2190911 w 19679" name="T6"/>
                <a:gd fmla="*/ 2405316 h 1967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679" w="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w="12700">
                  <a:solidFill>
                    <a:srgbClr val="000000"/>
                  </a:solidFill>
                  <a:prstDash val="solid"/>
                  <a:miter lim="0"/>
                  <a:headEnd/>
                  <a:tailEnd/>
                </a14:hiddenLine>
              </a:ext>
              <a:ext uri="{AF507438-7753-43E0-B8FC-AC1667EBCBE1}">
                <a14:hiddenEffects>
                  <a:effectLst>
                    <a:outerShdw algn="ctr" blurRad="63500" dir="2700000" dist="38099" rotWithShape="0">
                      <a:srgbClr val="000000">
                        <a:alpha val="74997"/>
                      </a:srgbClr>
                    </a:outerShdw>
                  </a:effectLst>
                </a14:hiddenEffects>
              </a:ext>
            </a:extLst>
          </p:spPr>
          <p:txBody>
            <a:bodyPr anchor="ctr" bIns="0" lIns="0" rIns="0" tIns="0"/>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77" name="Line 12"/>
            <p:cNvSpPr>
              <a:spLocks noChangeShapeType="1"/>
            </p:cNvSpPr>
            <p:nvPr/>
          </p:nvSpPr>
          <p:spPr bwMode="auto">
            <a:xfrm flipH="1" flipV="1">
              <a:off x="3735949" y="4101646"/>
              <a:ext cx="1580327" cy="1407666"/>
            </a:xfrm>
            <a:prstGeom prst="line">
              <a:avLst/>
            </a:prstGeom>
            <a:grpFill/>
            <a:ln cap="flat" cmpd="sng" w="63500">
              <a:solidFill>
                <a:schemeClr val="bg1"/>
              </a:solidFill>
              <a:prstDash val="solid"/>
              <a:round/>
            </a:ln>
            <a:effectLst/>
          </p:spPr>
          <p:txBody>
            <a:bodyPr anchor="ctr" bIns="0" lIns="0" rIns="0" tIns="0"/>
            <a:lstStyle/>
            <a:p>
              <a:pPr defTabSz="145990" eaLnBrk="1" hangingPunct="1">
                <a:defRPr/>
              </a:pPr>
              <a:endParaRPr lang="es-ES" noProof="1" sz="400">
                <a:solidFill>
                  <a:srgbClr val="000000"/>
                </a:solidFill>
                <a:latin charset="0" pitchFamily="34" typeface="Arial"/>
                <a:ea charset="-122" panose="020b0503020204020204" pitchFamily="34" typeface="微软雅黑"/>
                <a:sym charset="0" pitchFamily="34" typeface="Arial"/>
              </a:endParaRPr>
            </a:p>
          </p:txBody>
        </p:sp>
      </p:grpSp>
      <p:grpSp>
        <p:nvGrpSpPr>
          <p:cNvPr id="78" name="Group 13"/>
          <p:cNvGrpSpPr/>
          <p:nvPr/>
        </p:nvGrpSpPr>
        <p:grpSpPr>
          <a:xfrm>
            <a:off x="3418205" y="2067679"/>
            <a:ext cx="1719104" cy="1768977"/>
            <a:chExt cx="5362063" cy="5542360"/>
          </a:xfrm>
          <a:solidFill>
            <a:srgbClr val="00AEEF"/>
          </a:solidFill>
        </p:grpSpPr>
        <p:sp>
          <p:nvSpPr>
            <p:cNvPr id="79" name="AutoShape 14"/>
            <p:cNvSpPr/>
            <p:nvPr/>
          </p:nvSpPr>
          <p:spPr bwMode="auto">
            <a:xfrm>
              <a:off x="0" y="0"/>
              <a:ext cx="5362063" cy="5542360"/>
            </a:xfrm>
            <a:custGeom>
              <a:gdLst>
                <a:gd fmla="*/ 2680903 w 20853" name="T0"/>
                <a:gd fmla="*/ 2771180 h 21600" name="T1"/>
                <a:gd fmla="*/ 2680903 w 20853" name="T2"/>
                <a:gd fmla="*/ 2771180 h 21600" name="T3"/>
                <a:gd fmla="*/ 2680903 w 20853" name="T4"/>
                <a:gd fmla="*/ 2771180 h 21600" name="T5"/>
                <a:gd fmla="*/ 2680903 w 20853" name="T6"/>
                <a:gd fmla="*/ 2771180 h 21600"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1600" w="20853">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bIns="20936" lIns="20936" rIns="20936" tIns="20936"/>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80" name="AutoShape 15"/>
            <p:cNvSpPr/>
            <p:nvPr/>
          </p:nvSpPr>
          <p:spPr bwMode="auto">
            <a:xfrm>
              <a:off x="1611739" y="194104"/>
              <a:ext cx="3535425" cy="3535465"/>
            </a:xfrm>
            <a:custGeom>
              <a:gdLst>
                <a:gd fmla="*/ 1767947 w 19679" name="T0"/>
                <a:gd fmla="*/ 1940691 h 19679" name="T1"/>
                <a:gd fmla="*/ 1767947 w 19679" name="T2"/>
                <a:gd fmla="*/ 1940691 h 19679" name="T3"/>
                <a:gd fmla="*/ 1767947 w 19679" name="T4"/>
                <a:gd fmla="*/ 1940691 h 19679" name="T5"/>
                <a:gd fmla="*/ 1767947 w 19679" name="T6"/>
                <a:gd fmla="*/ 1940691 h 1967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679" w="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w="12700">
                  <a:solidFill>
                    <a:srgbClr val="000000"/>
                  </a:solidFill>
                  <a:prstDash val="solid"/>
                  <a:miter lim="0"/>
                  <a:headEnd/>
                  <a:tailEnd/>
                </a14:hiddenLine>
              </a:ext>
              <a:ext uri="{AF507438-7753-43E0-B8FC-AC1667EBCBE1}">
                <a14:hiddenEffects>
                  <a:effectLst>
                    <a:outerShdw algn="ctr" blurRad="63500" dir="2700000" dist="38099" rotWithShape="0">
                      <a:srgbClr val="000000">
                        <a:alpha val="74997"/>
                      </a:srgbClr>
                    </a:outerShdw>
                  </a:effectLst>
                </a14:hiddenEffects>
              </a:ext>
            </a:extLst>
          </p:spPr>
          <p:txBody>
            <a:bodyPr anchor="ctr" bIns="0" lIns="0" rIns="0" tIns="0"/>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81" name="Line 16"/>
            <p:cNvSpPr>
              <a:spLocks noChangeShapeType="1"/>
            </p:cNvSpPr>
            <p:nvPr/>
          </p:nvSpPr>
          <p:spPr bwMode="auto">
            <a:xfrm flipV="1">
              <a:off x="370874" y="3272038"/>
              <a:ext cx="1906357" cy="1906378"/>
            </a:xfrm>
            <a:prstGeom prst="line">
              <a:avLst/>
            </a:prstGeom>
            <a:grpFill/>
            <a:ln cap="flat" cmpd="sng" w="63500">
              <a:solidFill>
                <a:schemeClr val="bg1"/>
              </a:solidFill>
              <a:prstDash val="solid"/>
              <a:round/>
            </a:ln>
            <a:effectLst/>
          </p:spPr>
          <p:txBody>
            <a:bodyPr anchor="ctr" bIns="0" lIns="0" rIns="0" tIns="0"/>
            <a:lstStyle/>
            <a:p>
              <a:pPr defTabSz="145990" eaLnBrk="1" hangingPunct="1">
                <a:defRPr/>
              </a:pPr>
              <a:endParaRPr lang="es-ES" noProof="1" sz="400">
                <a:solidFill>
                  <a:srgbClr val="000000"/>
                </a:solidFill>
                <a:latin charset="0" pitchFamily="34" typeface="Arial"/>
                <a:ea charset="-122" panose="020b0503020204020204" pitchFamily="34" typeface="微软雅黑"/>
                <a:sym charset="0" pitchFamily="34" typeface="Arial"/>
              </a:endParaRPr>
            </a:p>
          </p:txBody>
        </p:sp>
      </p:grpSp>
      <p:grpSp>
        <p:nvGrpSpPr>
          <p:cNvPr id="82" name="Group 17"/>
          <p:cNvGrpSpPr/>
          <p:nvPr/>
        </p:nvGrpSpPr>
        <p:grpSpPr>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gdLst>
                <a:gd fmla="*/ 3146048 w 21109" name="T0"/>
                <a:gd fmla="*/ 1501083 h 20595" name="T1"/>
                <a:gd fmla="*/ 3146048 w 21109" name="T2"/>
                <a:gd fmla="*/ 1501083 h 20595" name="T3"/>
                <a:gd fmla="*/ 3146048 w 21109" name="T4"/>
                <a:gd fmla="*/ 1501083 h 20595" name="T5"/>
                <a:gd fmla="*/ 3146048 w 21109" name="T6"/>
                <a:gd fmla="*/ 1501083 h 20595"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0595" w="21109">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bIns="20936" lIns="20936" rIns="20936" tIns="20936"/>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84" name="AutoShape 19"/>
            <p:cNvSpPr/>
            <p:nvPr/>
          </p:nvSpPr>
          <p:spPr bwMode="auto">
            <a:xfrm>
              <a:off x="3561995" y="263481"/>
              <a:ext cx="2480922" cy="2482281"/>
            </a:xfrm>
            <a:custGeom>
              <a:gdLst>
                <a:gd fmla="*/ 1240478 w 19679" name="T0"/>
                <a:gd fmla="*/ 1361896 h 19679" name="T1"/>
                <a:gd fmla="*/ 1240478 w 19679" name="T2"/>
                <a:gd fmla="*/ 1361896 h 19679" name="T3"/>
                <a:gd fmla="*/ 1240478 w 19679" name="T4"/>
                <a:gd fmla="*/ 1361896 h 19679" name="T5"/>
                <a:gd fmla="*/ 1240478 w 19679" name="T6"/>
                <a:gd fmla="*/ 1361896 h 1967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679" w="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anchor="ctr" bIns="0" lIns="0" rIns="0" tIns="0"/>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85" name="Line 20"/>
            <p:cNvSpPr>
              <a:spLocks noChangeShapeType="1"/>
            </p:cNvSpPr>
            <p:nvPr/>
          </p:nvSpPr>
          <p:spPr bwMode="auto">
            <a:xfrm>
              <a:off x="540536" y="1521955"/>
              <a:ext cx="3132338" cy="0"/>
            </a:xfrm>
            <a:prstGeom prst="line">
              <a:avLst/>
            </a:prstGeom>
            <a:grpFill/>
            <a:ln cap="flat" cmpd="sng" w="63500">
              <a:solidFill>
                <a:schemeClr val="bg1"/>
              </a:solidFill>
              <a:prstDash val="solid"/>
              <a:round/>
            </a:ln>
            <a:effectLst/>
          </p:spPr>
          <p:txBody>
            <a:bodyPr anchor="ctr" bIns="0" lIns="0" rIns="0" tIns="0"/>
            <a:lstStyle/>
            <a:p>
              <a:pPr defTabSz="145990" eaLnBrk="1" hangingPunct="1">
                <a:defRPr/>
              </a:pPr>
              <a:endParaRPr lang="es-ES" noProof="1" sz="400">
                <a:solidFill>
                  <a:srgbClr val="000000"/>
                </a:solidFill>
                <a:latin charset="0" pitchFamily="34" typeface="Arial"/>
                <a:ea charset="-122" panose="020b0503020204020204" pitchFamily="34" typeface="微软雅黑"/>
                <a:sym charset="0" pitchFamily="34" typeface="Arial"/>
              </a:endParaRPr>
            </a:p>
          </p:txBody>
        </p:sp>
      </p:grpSp>
      <p:grpSp>
        <p:nvGrpSpPr>
          <p:cNvPr id="86" name="Group 21"/>
          <p:cNvGrpSpPr/>
          <p:nvPr/>
        </p:nvGrpSpPr>
        <p:grpSpPr>
          <a:xfrm>
            <a:off x="3418205" y="1601926"/>
            <a:ext cx="1421289" cy="1426024"/>
            <a:chExt cx="4433297" cy="4470884"/>
          </a:xfrm>
          <a:solidFill>
            <a:srgbClr val="00AEEF"/>
          </a:solidFill>
        </p:grpSpPr>
        <p:sp>
          <p:nvSpPr>
            <p:cNvPr id="87" name="AutoShape 22"/>
            <p:cNvSpPr/>
            <p:nvPr/>
          </p:nvSpPr>
          <p:spPr bwMode="auto">
            <a:xfrm>
              <a:off x="0" y="0"/>
              <a:ext cx="4433297" cy="4470884"/>
            </a:xfrm>
            <a:custGeom>
              <a:gdLst>
                <a:gd fmla="*/ 2216544 w 21117" name="T0"/>
                <a:gd fmla="*/ 2235336 h 21121" name="T1"/>
                <a:gd fmla="*/ 2216544 w 21117" name="T2"/>
                <a:gd fmla="*/ 2235336 h 21121" name="T3"/>
                <a:gd fmla="*/ 2216544 w 21117" name="T4"/>
                <a:gd fmla="*/ 2235336 h 21121" name="T5"/>
                <a:gd fmla="*/ 2216544 w 21117" name="T6"/>
                <a:gd fmla="*/ 2235336 h 21121"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21121" w="21117">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bIns="20936" lIns="20936" rIns="20936" tIns="20936"/>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88" name="AutoShape 23"/>
            <p:cNvSpPr/>
            <p:nvPr/>
          </p:nvSpPr>
          <p:spPr bwMode="auto">
            <a:xfrm>
              <a:off x="2772976" y="2837224"/>
              <a:ext cx="1195847" cy="1196630"/>
            </a:xfrm>
            <a:custGeom>
              <a:gdLst>
                <a:gd fmla="*/ 598377 w 19679" name="T0"/>
                <a:gd fmla="*/ 656981 h 19679" name="T1"/>
                <a:gd fmla="*/ 598377 w 19679" name="T2"/>
                <a:gd fmla="*/ 656981 h 19679" name="T3"/>
                <a:gd fmla="*/ 598377 w 19679" name="T4"/>
                <a:gd fmla="*/ 656981 h 19679" name="T5"/>
                <a:gd fmla="*/ 598377 w 19679" name="T6"/>
                <a:gd fmla="*/ 656981 h 19679" name="T7"/>
                <a:gd fmla="*/ 0 60000 65536" name="T8"/>
                <a:gd fmla="*/ 0 60000 65536" name="T9"/>
                <a:gd fmla="*/ 0 60000 65536" name="T10"/>
                <a:gd fmla="*/ 0 60000 65536" name="T11"/>
              </a:gdLst>
              <a:cxnLst>
                <a:cxn ang="T8">
                  <a:pos x="T0" y="T1"/>
                </a:cxn>
                <a:cxn ang="T9">
                  <a:pos x="T2" y="T3"/>
                </a:cxn>
                <a:cxn ang="T10">
                  <a:pos x="T4" y="T5"/>
                </a:cxn>
                <a:cxn ang="T11">
                  <a:pos x="T6" y="T7"/>
                </a:cxn>
              </a:cxnLst>
              <a:rect b="b" l="0" r="r" t="0"/>
              <a:pathLst>
                <a:path h="19679" w="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w="12700">
                  <a:solidFill>
                    <a:srgbClr val="000000"/>
                  </a:solidFill>
                  <a:prstDash val="solid"/>
                  <a:miter lim="0"/>
                  <a:headEnd/>
                  <a:tailEnd/>
                </a14:hiddenLine>
              </a:ext>
            </a:extLst>
          </p:spPr>
          <p:txBody>
            <a:bodyPr anchor="ctr" bIns="0" lIns="0" rIns="0" tIns="0"/>
            <a:lstStyle/>
            <a:p>
              <a:pPr eaLnBrk="1" hangingPunct="1">
                <a:lnSpc>
                  <a:spcPct val="120000"/>
                </a:lnSpc>
                <a:defRPr/>
              </a:pPr>
              <a:endParaRPr altLang="en-US" lang="zh-CN" noProof="1" sz="1100">
                <a:latin charset="0" pitchFamily="34" typeface="Arial"/>
                <a:ea charset="-122" panose="020b0503020204020204" pitchFamily="34" typeface="微软雅黑"/>
                <a:sym charset="0" pitchFamily="34" typeface="Arial"/>
              </a:endParaRPr>
            </a:p>
          </p:txBody>
        </p:sp>
        <p:sp>
          <p:nvSpPr>
            <p:cNvPr id="89" name="Line 24"/>
            <p:cNvSpPr>
              <a:spLocks noChangeShapeType="1"/>
            </p:cNvSpPr>
            <p:nvPr/>
          </p:nvSpPr>
          <p:spPr bwMode="auto">
            <a:xfrm flipH="1" flipV="1">
              <a:off x="429811" y="447436"/>
              <a:ext cx="2963620" cy="2962090"/>
            </a:xfrm>
            <a:prstGeom prst="line">
              <a:avLst/>
            </a:prstGeom>
            <a:grpFill/>
            <a:ln cap="flat" cmpd="sng" w="63500">
              <a:solidFill>
                <a:schemeClr val="bg1"/>
              </a:solidFill>
              <a:prstDash val="solid"/>
              <a:round/>
            </a:ln>
            <a:effectLst/>
          </p:spPr>
          <p:txBody>
            <a:bodyPr anchor="ctr" bIns="0" lIns="0" rIns="0" tIns="0"/>
            <a:lstStyle/>
            <a:p>
              <a:pPr defTabSz="145990" eaLnBrk="1" hangingPunct="1">
                <a:defRPr/>
              </a:pPr>
              <a:endParaRPr lang="es-ES" noProof="1" sz="400">
                <a:solidFill>
                  <a:srgbClr val="000000"/>
                </a:solidFill>
                <a:latin charset="0" pitchFamily="34" typeface="Arial"/>
                <a:ea charset="-122" panose="020b0503020204020204" pitchFamily="34" typeface="微软雅黑"/>
                <a:sym charset="0" pitchFamily="34" typeface="Arial"/>
              </a:endParaRPr>
            </a:p>
          </p:txBody>
        </p:sp>
      </p:grpSp>
      <p:sp>
        <p:nvSpPr>
          <p:cNvPr id="90" name="AutoShape 29"/>
          <p:cNvSpPr/>
          <p:nvPr/>
        </p:nvSpPr>
        <p:spPr bwMode="auto">
          <a:xfrm>
            <a:off x="5916295" y="1781147"/>
            <a:ext cx="1354058" cy="305339"/>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bIns="0" lIns="0" rIns="0" tIns="0"/>
          <a:lstStyle>
            <a:lvl1pPr defTabSz="647700" eaLnBrk="0">
              <a:defRPr b="1" sz="2500">
                <a:solidFill>
                  <a:srgbClr val="FFFFFF"/>
                </a:solidFill>
                <a:latin charset="0" typeface="Lato"/>
                <a:ea charset="-128" panose="020b0600070205080204" pitchFamily="34" typeface="MS PGothic"/>
                <a:sym charset="0" typeface="Lato"/>
              </a:defRPr>
            </a:lvl1pPr>
            <a:lvl2pPr defTabSz="647700" eaLnBrk="0" indent="-285750" marL="742950">
              <a:defRPr b="1" sz="2500">
                <a:solidFill>
                  <a:srgbClr val="FFFFFF"/>
                </a:solidFill>
                <a:latin charset="0" typeface="Lato"/>
                <a:ea charset="-128" panose="020b0600070205080204" pitchFamily="34" typeface="MS PGothic"/>
                <a:sym charset="0" typeface="Lato"/>
              </a:defRPr>
            </a:lvl2pPr>
            <a:lvl3pPr defTabSz="647700" eaLnBrk="0" indent="-228600" marL="1143000">
              <a:defRPr b="1" sz="2500">
                <a:solidFill>
                  <a:srgbClr val="FFFFFF"/>
                </a:solidFill>
                <a:latin charset="0" typeface="Lato"/>
                <a:ea charset="-128" panose="020b0600070205080204" pitchFamily="34" typeface="MS PGothic"/>
                <a:sym charset="0" typeface="Lato"/>
              </a:defRPr>
            </a:lvl3pPr>
            <a:lvl4pPr defTabSz="647700" eaLnBrk="0" indent="-228600" marL="1600200">
              <a:defRPr b="1" sz="2500">
                <a:solidFill>
                  <a:srgbClr val="FFFFFF"/>
                </a:solidFill>
                <a:latin charset="0" typeface="Lato"/>
                <a:ea charset="-128" panose="020b0600070205080204" pitchFamily="34" typeface="MS PGothic"/>
                <a:sym charset="0" typeface="Lato"/>
              </a:defRPr>
            </a:lvl4pPr>
            <a:lvl5pPr defTabSz="647700" eaLnBrk="0" indent="-228600" marL="2057400">
              <a:defRPr b="1" sz="2500">
                <a:solidFill>
                  <a:srgbClr val="FFFFFF"/>
                </a:solidFill>
                <a:latin charset="0" typeface="Lato"/>
                <a:ea charset="-128" panose="020b0600070205080204" pitchFamily="34" typeface="MS PGothic"/>
                <a:sym charset="0" typeface="Lato"/>
              </a:defRPr>
            </a:lvl5pPr>
            <a:lvl6pPr algn="ctr" defTabSz="6477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6477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6477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6477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lnSpc>
                <a:spcPct val="120000"/>
              </a:lnSpc>
              <a:spcBef>
                <a:spcPts val="545"/>
              </a:spcBef>
              <a:defRPr/>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91" name="AutoShape 30"/>
          <p:cNvSpPr/>
          <p:nvPr/>
        </p:nvSpPr>
        <p:spPr bwMode="auto">
          <a:xfrm>
            <a:off x="5911850" y="1599713"/>
            <a:ext cx="832327" cy="163733"/>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anchor="ctr" bIns="12192" lIns="12192" rIns="12192" tIns="12192"/>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lnSpc>
                <a:spcPct val="120000"/>
              </a:lnSpc>
              <a:defRPr/>
            </a:pPr>
            <a:r>
              <a:rPr altLang="en-US" b="0" lang="zh-CN" noProof="1" sz="800">
                <a:solidFill>
                  <a:srgbClr val="00A4E3"/>
                </a:solidFill>
                <a:latin charset="0" pitchFamily="34" typeface="Arial"/>
                <a:ea charset="-122" panose="020b0503020204020204" pitchFamily="34" typeface="微软雅黑"/>
                <a:sym charset="0" pitchFamily="34" typeface="Arial"/>
              </a:rPr>
              <a:t>请替换文字内容</a:t>
            </a:r>
          </a:p>
        </p:txBody>
      </p:sp>
      <p:sp>
        <p:nvSpPr>
          <p:cNvPr id="92" name="AutoShape 31"/>
          <p:cNvSpPr/>
          <p:nvPr/>
        </p:nvSpPr>
        <p:spPr bwMode="auto">
          <a:xfrm>
            <a:off x="5738495" y="1625159"/>
            <a:ext cx="137795" cy="138287"/>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cap="flat" cmpd="sng" w="25400">
            <a:solidFill>
              <a:srgbClr val="000000">
                <a:alpha val="0"/>
              </a:srgbClr>
            </a:solidFill>
            <a:prstDash val="solid"/>
            <a:miter lim="0"/>
          </a:ln>
          <a:effectLst/>
        </p:spPr>
        <p:txBody>
          <a:bodyPr anchor="ctr" bIns="0" lIns="0" rIns="0" tIns="0"/>
          <a:lstStyle/>
          <a:p>
            <a:pPr defTabSz="186814" eaLnBrk="1" hangingPunct="1">
              <a:lnSpc>
                <a:spcPct val="120000"/>
              </a:lnSpc>
              <a:defRPr/>
            </a:pPr>
            <a:endParaRPr lang="es-ES" noProof="1" sz="800">
              <a:solidFill>
                <a:schemeClr val="bg1">
                  <a:lumMod val="65000"/>
                </a:schemeClr>
              </a:solidFill>
              <a:effectLst>
                <a:outerShdw algn="tl" blurRad="38100" dir="2700000" dist="38100">
                  <a:srgbClr val="000000"/>
                </a:outerShdw>
              </a:effectLst>
              <a:latin charset="0" pitchFamily="34" typeface="Arial"/>
              <a:ea charset="-122" panose="020b0503020204020204" pitchFamily="34" typeface="微软雅黑"/>
              <a:cs charset="0" typeface="Gill Sans"/>
              <a:sym charset="0" pitchFamily="34" typeface="Arial"/>
            </a:endParaRPr>
          </a:p>
        </p:txBody>
      </p:sp>
      <p:sp>
        <p:nvSpPr>
          <p:cNvPr id="93" name="AutoShape 32"/>
          <p:cNvSpPr/>
          <p:nvPr/>
        </p:nvSpPr>
        <p:spPr bwMode="auto">
          <a:xfrm>
            <a:off x="6261893" y="2761330"/>
            <a:ext cx="1354057" cy="306446"/>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bIns="0" lIns="0" rIns="0" tIns="0"/>
          <a:lstStyle>
            <a:lvl1pPr defTabSz="647700" eaLnBrk="0">
              <a:defRPr b="1" sz="2500">
                <a:solidFill>
                  <a:srgbClr val="FFFFFF"/>
                </a:solidFill>
                <a:latin charset="0" typeface="Lato"/>
                <a:ea charset="-128" panose="020b0600070205080204" pitchFamily="34" typeface="MS PGothic"/>
                <a:sym charset="0" typeface="Lato"/>
              </a:defRPr>
            </a:lvl1pPr>
            <a:lvl2pPr defTabSz="647700" eaLnBrk="0" indent="-285750" marL="742950">
              <a:defRPr b="1" sz="2500">
                <a:solidFill>
                  <a:srgbClr val="FFFFFF"/>
                </a:solidFill>
                <a:latin charset="0" typeface="Lato"/>
                <a:ea charset="-128" panose="020b0600070205080204" pitchFamily="34" typeface="MS PGothic"/>
                <a:sym charset="0" typeface="Lato"/>
              </a:defRPr>
            </a:lvl2pPr>
            <a:lvl3pPr defTabSz="647700" eaLnBrk="0" indent="-228600" marL="1143000">
              <a:defRPr b="1" sz="2500">
                <a:solidFill>
                  <a:srgbClr val="FFFFFF"/>
                </a:solidFill>
                <a:latin charset="0" typeface="Lato"/>
                <a:ea charset="-128" panose="020b0600070205080204" pitchFamily="34" typeface="MS PGothic"/>
                <a:sym charset="0" typeface="Lato"/>
              </a:defRPr>
            </a:lvl3pPr>
            <a:lvl4pPr defTabSz="647700" eaLnBrk="0" indent="-228600" marL="1600200">
              <a:defRPr b="1" sz="2500">
                <a:solidFill>
                  <a:srgbClr val="FFFFFF"/>
                </a:solidFill>
                <a:latin charset="0" typeface="Lato"/>
                <a:ea charset="-128" panose="020b0600070205080204" pitchFamily="34" typeface="MS PGothic"/>
                <a:sym charset="0" typeface="Lato"/>
              </a:defRPr>
            </a:lvl4pPr>
            <a:lvl5pPr defTabSz="647700" eaLnBrk="0" indent="-228600" marL="2057400">
              <a:defRPr b="1" sz="2500">
                <a:solidFill>
                  <a:srgbClr val="FFFFFF"/>
                </a:solidFill>
                <a:latin charset="0" typeface="Lato"/>
                <a:ea charset="-128" panose="020b0600070205080204" pitchFamily="34" typeface="MS PGothic"/>
                <a:sym charset="0" typeface="Lato"/>
              </a:defRPr>
            </a:lvl5pPr>
            <a:lvl6pPr algn="ctr" defTabSz="6477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6477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6477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6477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lnSpc>
                <a:spcPct val="120000"/>
              </a:lnSpc>
              <a:spcBef>
                <a:spcPts val="545"/>
              </a:spcBef>
              <a:defRPr/>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94" name="AutoShape 33"/>
          <p:cNvSpPr/>
          <p:nvPr/>
        </p:nvSpPr>
        <p:spPr bwMode="auto">
          <a:xfrm>
            <a:off x="6257449" y="2581004"/>
            <a:ext cx="832326" cy="162626"/>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anchor="ctr" bIns="12192" lIns="12192" rIns="12192" tIns="12192"/>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lnSpc>
                <a:spcPct val="120000"/>
              </a:lnSpc>
              <a:defRPr/>
            </a:pPr>
            <a:r>
              <a:rPr altLang="en-US" b="0" lang="zh-CN" noProof="1" sz="800">
                <a:solidFill>
                  <a:srgbClr val="00A4E3"/>
                </a:solidFill>
                <a:latin charset="0" pitchFamily="34" typeface="Arial"/>
                <a:ea charset="-122" panose="020b0503020204020204" pitchFamily="34" typeface="微软雅黑"/>
                <a:sym charset="0" pitchFamily="34" typeface="Arial"/>
              </a:rPr>
              <a:t>请替换文字内容</a:t>
            </a:r>
          </a:p>
        </p:txBody>
      </p:sp>
      <p:sp>
        <p:nvSpPr>
          <p:cNvPr id="95" name="AutoShape 34"/>
          <p:cNvSpPr/>
          <p:nvPr/>
        </p:nvSpPr>
        <p:spPr bwMode="auto">
          <a:xfrm>
            <a:off x="6084094" y="2606448"/>
            <a:ext cx="137795" cy="137181"/>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cap="flat" cmpd="sng" w="25400">
            <a:solidFill>
              <a:srgbClr val="000000">
                <a:alpha val="0"/>
              </a:srgbClr>
            </a:solidFill>
            <a:prstDash val="solid"/>
            <a:miter lim="0"/>
          </a:ln>
          <a:effectLst/>
        </p:spPr>
        <p:txBody>
          <a:bodyPr anchor="ctr" bIns="0" lIns="0" rIns="0" tIns="0"/>
          <a:lstStyle/>
          <a:p>
            <a:pPr defTabSz="186814" eaLnBrk="1" hangingPunct="1">
              <a:lnSpc>
                <a:spcPct val="120000"/>
              </a:lnSpc>
              <a:defRPr/>
            </a:pPr>
            <a:endParaRPr lang="es-ES" noProof="1" sz="800">
              <a:solidFill>
                <a:schemeClr val="bg1">
                  <a:lumMod val="65000"/>
                </a:schemeClr>
              </a:solidFill>
              <a:effectLst>
                <a:outerShdw algn="tl" blurRad="38100" dir="2700000" dist="38100">
                  <a:srgbClr val="000000"/>
                </a:outerShdw>
              </a:effectLst>
              <a:latin charset="0" pitchFamily="34" typeface="Arial"/>
              <a:ea charset="-122" panose="020b0503020204020204" pitchFamily="34" typeface="微软雅黑"/>
              <a:cs charset="0" typeface="Gill Sans"/>
              <a:sym charset="0" pitchFamily="34" typeface="Arial"/>
            </a:endParaRPr>
          </a:p>
        </p:txBody>
      </p:sp>
      <p:sp>
        <p:nvSpPr>
          <p:cNvPr id="96" name="AutoShape 35"/>
          <p:cNvSpPr/>
          <p:nvPr/>
        </p:nvSpPr>
        <p:spPr bwMode="auto">
          <a:xfrm>
            <a:off x="5810726" y="3764747"/>
            <a:ext cx="1354057" cy="305339"/>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bIns="0" lIns="0" rIns="0" tIns="0"/>
          <a:lstStyle>
            <a:lvl1pPr defTabSz="647700" eaLnBrk="0">
              <a:defRPr b="1" sz="2500">
                <a:solidFill>
                  <a:srgbClr val="FFFFFF"/>
                </a:solidFill>
                <a:latin charset="0" typeface="Lato"/>
                <a:ea charset="-128" panose="020b0600070205080204" pitchFamily="34" typeface="MS PGothic"/>
                <a:sym charset="0" typeface="Lato"/>
              </a:defRPr>
            </a:lvl1pPr>
            <a:lvl2pPr defTabSz="647700" eaLnBrk="0" indent="-285750" marL="742950">
              <a:defRPr b="1" sz="2500">
                <a:solidFill>
                  <a:srgbClr val="FFFFFF"/>
                </a:solidFill>
                <a:latin charset="0" typeface="Lato"/>
                <a:ea charset="-128" panose="020b0600070205080204" pitchFamily="34" typeface="MS PGothic"/>
                <a:sym charset="0" typeface="Lato"/>
              </a:defRPr>
            </a:lvl2pPr>
            <a:lvl3pPr defTabSz="647700" eaLnBrk="0" indent="-228600" marL="1143000">
              <a:defRPr b="1" sz="2500">
                <a:solidFill>
                  <a:srgbClr val="FFFFFF"/>
                </a:solidFill>
                <a:latin charset="0" typeface="Lato"/>
                <a:ea charset="-128" panose="020b0600070205080204" pitchFamily="34" typeface="MS PGothic"/>
                <a:sym charset="0" typeface="Lato"/>
              </a:defRPr>
            </a:lvl3pPr>
            <a:lvl4pPr defTabSz="647700" eaLnBrk="0" indent="-228600" marL="1600200">
              <a:defRPr b="1" sz="2500">
                <a:solidFill>
                  <a:srgbClr val="FFFFFF"/>
                </a:solidFill>
                <a:latin charset="0" typeface="Lato"/>
                <a:ea charset="-128" panose="020b0600070205080204" pitchFamily="34" typeface="MS PGothic"/>
                <a:sym charset="0" typeface="Lato"/>
              </a:defRPr>
            </a:lvl4pPr>
            <a:lvl5pPr defTabSz="647700" eaLnBrk="0" indent="-228600" marL="2057400">
              <a:defRPr b="1" sz="2500">
                <a:solidFill>
                  <a:srgbClr val="FFFFFF"/>
                </a:solidFill>
                <a:latin charset="0" typeface="Lato"/>
                <a:ea charset="-128" panose="020b0600070205080204" pitchFamily="34" typeface="MS PGothic"/>
                <a:sym charset="0" typeface="Lato"/>
              </a:defRPr>
            </a:lvl5pPr>
            <a:lvl6pPr algn="ctr" defTabSz="6477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6477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6477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6477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lnSpc>
                <a:spcPct val="120000"/>
              </a:lnSpc>
              <a:spcBef>
                <a:spcPts val="545"/>
              </a:spcBef>
              <a:defRPr/>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97" name="AutoShape 36"/>
          <p:cNvSpPr/>
          <p:nvPr/>
        </p:nvSpPr>
        <p:spPr bwMode="auto">
          <a:xfrm>
            <a:off x="5805170" y="3584419"/>
            <a:ext cx="833438" cy="162627"/>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anchor="ctr" bIns="12192" lIns="12192" rIns="12192" tIns="12192"/>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eaLnBrk="1" hangingPunct="1">
              <a:lnSpc>
                <a:spcPct val="120000"/>
              </a:lnSpc>
              <a:defRPr/>
            </a:pPr>
            <a:r>
              <a:rPr altLang="en-US" b="0" lang="zh-CN" noProof="1" sz="800">
                <a:solidFill>
                  <a:srgbClr val="00A4E3"/>
                </a:solidFill>
                <a:latin charset="0" pitchFamily="34" typeface="Arial"/>
                <a:ea charset="-122" panose="020b0503020204020204" pitchFamily="34" typeface="微软雅黑"/>
                <a:sym charset="0" pitchFamily="34" typeface="Arial"/>
              </a:rPr>
              <a:t>请替换文字内容</a:t>
            </a:r>
          </a:p>
        </p:txBody>
      </p:sp>
      <p:sp>
        <p:nvSpPr>
          <p:cNvPr id="98" name="AutoShape 37"/>
          <p:cNvSpPr/>
          <p:nvPr/>
        </p:nvSpPr>
        <p:spPr bwMode="auto">
          <a:xfrm>
            <a:off x="5631815" y="3609865"/>
            <a:ext cx="137795" cy="137181"/>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cap="flat" cmpd="sng" w="25400">
            <a:solidFill>
              <a:srgbClr val="000000">
                <a:alpha val="0"/>
              </a:srgbClr>
            </a:solidFill>
            <a:prstDash val="solid"/>
            <a:miter lim="0"/>
          </a:ln>
          <a:effectLst/>
        </p:spPr>
        <p:txBody>
          <a:bodyPr anchor="ctr" bIns="0" lIns="0" rIns="0" tIns="0"/>
          <a:lstStyle/>
          <a:p>
            <a:pPr defTabSz="186814" eaLnBrk="1" hangingPunct="1">
              <a:lnSpc>
                <a:spcPct val="120000"/>
              </a:lnSpc>
              <a:defRPr/>
            </a:pPr>
            <a:endParaRPr lang="es-ES" noProof="1" sz="1300">
              <a:solidFill>
                <a:srgbClr val="F1F2F1"/>
              </a:solidFill>
              <a:effectLst>
                <a:outerShdw algn="tl" blurRad="38100" dir="2700000" dist="38100">
                  <a:srgbClr val="000000"/>
                </a:outerShdw>
              </a:effectLst>
              <a:latin charset="0" pitchFamily="34" typeface="Arial"/>
              <a:ea charset="-122" panose="020b0503020204020204" pitchFamily="34" typeface="微软雅黑"/>
              <a:cs charset="0" typeface="Gill Sans"/>
              <a:sym charset="0" pitchFamily="34" typeface="Arial"/>
            </a:endParaRPr>
          </a:p>
        </p:txBody>
      </p:sp>
      <p:sp>
        <p:nvSpPr>
          <p:cNvPr id="99" name="AutoShape 38"/>
          <p:cNvSpPr/>
          <p:nvPr/>
        </p:nvSpPr>
        <p:spPr bwMode="auto">
          <a:xfrm>
            <a:off x="1764334" y="3804574"/>
            <a:ext cx="1334943" cy="265513"/>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bIns="0" lIns="0" rIns="0" tIns="0"/>
          <a:lstStyle>
            <a:lvl1pPr defTabSz="647700" eaLnBrk="0">
              <a:defRPr b="1" sz="2500">
                <a:solidFill>
                  <a:srgbClr val="FFFFFF"/>
                </a:solidFill>
                <a:latin charset="0" typeface="Lato"/>
                <a:ea charset="-128" panose="020b0600070205080204" pitchFamily="34" typeface="MS PGothic"/>
                <a:sym charset="0" typeface="Lato"/>
              </a:defRPr>
            </a:lvl1pPr>
            <a:lvl2pPr defTabSz="647700" eaLnBrk="0" indent="-285750" marL="742950">
              <a:defRPr b="1" sz="2500">
                <a:solidFill>
                  <a:srgbClr val="FFFFFF"/>
                </a:solidFill>
                <a:latin charset="0" typeface="Lato"/>
                <a:ea charset="-128" panose="020b0600070205080204" pitchFamily="34" typeface="MS PGothic"/>
                <a:sym charset="0" typeface="Lato"/>
              </a:defRPr>
            </a:lvl2pPr>
            <a:lvl3pPr defTabSz="647700" eaLnBrk="0" indent="-228600" marL="1143000">
              <a:defRPr b="1" sz="2500">
                <a:solidFill>
                  <a:srgbClr val="FFFFFF"/>
                </a:solidFill>
                <a:latin charset="0" typeface="Lato"/>
                <a:ea charset="-128" panose="020b0600070205080204" pitchFamily="34" typeface="MS PGothic"/>
                <a:sym charset="0" typeface="Lato"/>
              </a:defRPr>
            </a:lvl3pPr>
            <a:lvl4pPr defTabSz="647700" eaLnBrk="0" indent="-228600" marL="1600200">
              <a:defRPr b="1" sz="2500">
                <a:solidFill>
                  <a:srgbClr val="FFFFFF"/>
                </a:solidFill>
                <a:latin charset="0" typeface="Lato"/>
                <a:ea charset="-128" panose="020b0600070205080204" pitchFamily="34" typeface="MS PGothic"/>
                <a:sym charset="0" typeface="Lato"/>
              </a:defRPr>
            </a:lvl4pPr>
            <a:lvl5pPr defTabSz="647700" eaLnBrk="0" indent="-228600" marL="2057400">
              <a:defRPr b="1" sz="2500">
                <a:solidFill>
                  <a:srgbClr val="FFFFFF"/>
                </a:solidFill>
                <a:latin charset="0" typeface="Lato"/>
                <a:ea charset="-128" panose="020b0600070205080204" pitchFamily="34" typeface="MS PGothic"/>
                <a:sym charset="0" typeface="Lato"/>
              </a:defRPr>
            </a:lvl5pPr>
            <a:lvl6pPr algn="ctr" defTabSz="6477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6477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6477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6477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algn="r" eaLnBrk="1" hangingPunct="1">
              <a:lnSpc>
                <a:spcPct val="120000"/>
              </a:lnSpc>
              <a:spcBef>
                <a:spcPts val="545"/>
              </a:spcBef>
              <a:defRPr/>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00" name="AutoShape 39"/>
          <p:cNvSpPr/>
          <p:nvPr/>
        </p:nvSpPr>
        <p:spPr bwMode="auto">
          <a:xfrm>
            <a:off x="2233613" y="3623140"/>
            <a:ext cx="861219" cy="141607"/>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anchor="ctr" bIns="12192" lIns="12192" rIns="12192" tIns="12192"/>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algn="r" eaLnBrk="1" hangingPunct="1">
              <a:lnSpc>
                <a:spcPct val="120000"/>
              </a:lnSpc>
              <a:defRPr/>
            </a:pPr>
            <a:r>
              <a:rPr altLang="en-US" b="0" lang="zh-CN" noProof="1" sz="800">
                <a:solidFill>
                  <a:srgbClr val="00A4E3"/>
                </a:solidFill>
                <a:latin charset="0" pitchFamily="34" typeface="Arial"/>
                <a:ea charset="-122" panose="020b0503020204020204" pitchFamily="34" typeface="微软雅黑"/>
                <a:sym charset="0" pitchFamily="34" typeface="Arial"/>
              </a:rPr>
              <a:t>请替换文字内容</a:t>
            </a:r>
          </a:p>
        </p:txBody>
      </p:sp>
      <p:sp>
        <p:nvSpPr>
          <p:cNvPr id="101" name="AutoShape 40"/>
          <p:cNvSpPr/>
          <p:nvPr/>
        </p:nvSpPr>
        <p:spPr bwMode="auto">
          <a:xfrm>
            <a:off x="3153727" y="3648585"/>
            <a:ext cx="138907" cy="138288"/>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cap="flat" cmpd="sng" w="25400">
            <a:solidFill>
              <a:srgbClr val="000000">
                <a:alpha val="0"/>
              </a:srgbClr>
            </a:solidFill>
            <a:prstDash val="solid"/>
            <a:miter lim="0"/>
          </a:ln>
          <a:effectLst/>
        </p:spPr>
        <p:txBody>
          <a:bodyPr anchor="ctr" bIns="0" lIns="0" rIns="0" tIns="0"/>
          <a:lstStyle/>
          <a:p>
            <a:pPr defTabSz="186814" eaLnBrk="1" hangingPunct="1">
              <a:lnSpc>
                <a:spcPct val="120000"/>
              </a:lnSpc>
              <a:defRPr/>
            </a:pPr>
            <a:endParaRPr lang="es-ES" noProof="1" sz="800">
              <a:solidFill>
                <a:schemeClr val="bg1">
                  <a:lumMod val="65000"/>
                </a:schemeClr>
              </a:solidFill>
              <a:effectLst>
                <a:outerShdw algn="tl" blurRad="38100" dir="2700000" dist="38100">
                  <a:srgbClr val="000000"/>
                </a:outerShdw>
              </a:effectLst>
              <a:latin charset="0" pitchFamily="34" typeface="Arial"/>
              <a:ea charset="-122" panose="020b0503020204020204" pitchFamily="34" typeface="微软雅黑"/>
              <a:cs charset="0" typeface="Gill Sans"/>
              <a:sym charset="0" pitchFamily="34" typeface="Arial"/>
            </a:endParaRPr>
          </a:p>
        </p:txBody>
      </p:sp>
      <p:sp>
        <p:nvSpPr>
          <p:cNvPr id="102" name="AutoShape 41"/>
          <p:cNvSpPr/>
          <p:nvPr/>
        </p:nvSpPr>
        <p:spPr bwMode="auto">
          <a:xfrm>
            <a:off x="1375079" y="2796732"/>
            <a:ext cx="1336371" cy="265513"/>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bIns="0" lIns="0" rIns="0" tIns="0"/>
          <a:lstStyle>
            <a:lvl1pPr defTabSz="647700" eaLnBrk="0">
              <a:defRPr b="1" sz="2500">
                <a:solidFill>
                  <a:srgbClr val="FFFFFF"/>
                </a:solidFill>
                <a:latin charset="0" typeface="Lato"/>
                <a:ea charset="-128" panose="020b0600070205080204" pitchFamily="34" typeface="MS PGothic"/>
                <a:sym charset="0" typeface="Lato"/>
              </a:defRPr>
            </a:lvl1pPr>
            <a:lvl2pPr defTabSz="647700" eaLnBrk="0" indent="-285750" marL="742950">
              <a:defRPr b="1" sz="2500">
                <a:solidFill>
                  <a:srgbClr val="FFFFFF"/>
                </a:solidFill>
                <a:latin charset="0" typeface="Lato"/>
                <a:ea charset="-128" panose="020b0600070205080204" pitchFamily="34" typeface="MS PGothic"/>
                <a:sym charset="0" typeface="Lato"/>
              </a:defRPr>
            </a:lvl2pPr>
            <a:lvl3pPr defTabSz="647700" eaLnBrk="0" indent="-228600" marL="1143000">
              <a:defRPr b="1" sz="2500">
                <a:solidFill>
                  <a:srgbClr val="FFFFFF"/>
                </a:solidFill>
                <a:latin charset="0" typeface="Lato"/>
                <a:ea charset="-128" panose="020b0600070205080204" pitchFamily="34" typeface="MS PGothic"/>
                <a:sym charset="0" typeface="Lato"/>
              </a:defRPr>
            </a:lvl3pPr>
            <a:lvl4pPr defTabSz="647700" eaLnBrk="0" indent="-228600" marL="1600200">
              <a:defRPr b="1" sz="2500">
                <a:solidFill>
                  <a:srgbClr val="FFFFFF"/>
                </a:solidFill>
                <a:latin charset="0" typeface="Lato"/>
                <a:ea charset="-128" panose="020b0600070205080204" pitchFamily="34" typeface="MS PGothic"/>
                <a:sym charset="0" typeface="Lato"/>
              </a:defRPr>
            </a:lvl4pPr>
            <a:lvl5pPr defTabSz="647700" eaLnBrk="0" indent="-228600" marL="2057400">
              <a:defRPr b="1" sz="2500">
                <a:solidFill>
                  <a:srgbClr val="FFFFFF"/>
                </a:solidFill>
                <a:latin charset="0" typeface="Lato"/>
                <a:ea charset="-128" panose="020b0600070205080204" pitchFamily="34" typeface="MS PGothic"/>
                <a:sym charset="0" typeface="Lato"/>
              </a:defRPr>
            </a:lvl5pPr>
            <a:lvl6pPr algn="ctr" defTabSz="6477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6477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6477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6477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algn="r" eaLnBrk="1" hangingPunct="1">
              <a:lnSpc>
                <a:spcPct val="120000"/>
              </a:lnSpc>
              <a:spcBef>
                <a:spcPts val="545"/>
              </a:spcBef>
              <a:defRPr/>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03" name="AutoShape 42"/>
          <p:cNvSpPr/>
          <p:nvPr/>
        </p:nvSpPr>
        <p:spPr bwMode="auto">
          <a:xfrm>
            <a:off x="1845787" y="2615298"/>
            <a:ext cx="861218" cy="141607"/>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anchor="ctr" bIns="12192" lIns="12192" rIns="12192" tIns="12192"/>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algn="r" eaLnBrk="1" hangingPunct="1">
              <a:lnSpc>
                <a:spcPct val="120000"/>
              </a:lnSpc>
              <a:defRPr/>
            </a:pPr>
            <a:r>
              <a:rPr altLang="en-US" b="0" lang="zh-CN" noProof="1" sz="800">
                <a:solidFill>
                  <a:srgbClr val="00A4E3"/>
                </a:solidFill>
                <a:latin charset="0" pitchFamily="34" typeface="Arial"/>
                <a:ea charset="-122" panose="020b0503020204020204" pitchFamily="34" typeface="微软雅黑"/>
                <a:sym charset="0" pitchFamily="34" typeface="Arial"/>
              </a:rPr>
              <a:t>请替换文字内容</a:t>
            </a:r>
          </a:p>
        </p:txBody>
      </p:sp>
      <p:sp>
        <p:nvSpPr>
          <p:cNvPr id="104" name="AutoShape 43"/>
          <p:cNvSpPr/>
          <p:nvPr/>
        </p:nvSpPr>
        <p:spPr bwMode="auto">
          <a:xfrm>
            <a:off x="2749232" y="2640744"/>
            <a:ext cx="138907" cy="138287"/>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cap="flat" cmpd="sng" w="25400">
            <a:solidFill>
              <a:srgbClr val="000000">
                <a:alpha val="0"/>
              </a:srgbClr>
            </a:solidFill>
            <a:prstDash val="solid"/>
            <a:miter lim="0"/>
          </a:ln>
          <a:effectLst/>
        </p:spPr>
        <p:txBody>
          <a:bodyPr anchor="ctr" bIns="0" lIns="0" rIns="0" tIns="0"/>
          <a:lstStyle/>
          <a:p>
            <a:pPr defTabSz="186814" eaLnBrk="1" hangingPunct="1">
              <a:lnSpc>
                <a:spcPct val="120000"/>
              </a:lnSpc>
              <a:defRPr/>
            </a:pPr>
            <a:endParaRPr lang="es-ES" noProof="1" sz="800">
              <a:solidFill>
                <a:schemeClr val="bg1">
                  <a:lumMod val="65000"/>
                </a:schemeClr>
              </a:solidFill>
              <a:effectLst>
                <a:outerShdw algn="tl" blurRad="38100" dir="2700000" dist="38100">
                  <a:srgbClr val="000000"/>
                </a:outerShdw>
              </a:effectLst>
              <a:latin charset="0" pitchFamily="34" typeface="Arial"/>
              <a:ea charset="-122" panose="020b0503020204020204" pitchFamily="34" typeface="微软雅黑"/>
              <a:cs charset="0" typeface="Gill Sans"/>
              <a:sym charset="0" pitchFamily="34" typeface="Arial"/>
            </a:endParaRPr>
          </a:p>
        </p:txBody>
      </p:sp>
      <p:sp>
        <p:nvSpPr>
          <p:cNvPr id="105" name="AutoShape 44"/>
          <p:cNvSpPr/>
          <p:nvPr/>
        </p:nvSpPr>
        <p:spPr bwMode="auto">
          <a:xfrm>
            <a:off x="1766239" y="1785572"/>
            <a:ext cx="1336371" cy="265513"/>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bIns="0" lIns="0" rIns="0" tIns="0"/>
          <a:lstStyle>
            <a:lvl1pPr defTabSz="647700" eaLnBrk="0">
              <a:defRPr b="1" sz="2500">
                <a:solidFill>
                  <a:srgbClr val="FFFFFF"/>
                </a:solidFill>
                <a:latin charset="0" typeface="Lato"/>
                <a:ea charset="-128" panose="020b0600070205080204" pitchFamily="34" typeface="MS PGothic"/>
                <a:sym charset="0" typeface="Lato"/>
              </a:defRPr>
            </a:lvl1pPr>
            <a:lvl2pPr defTabSz="647700" eaLnBrk="0" indent="-285750" marL="742950">
              <a:defRPr b="1" sz="2500">
                <a:solidFill>
                  <a:srgbClr val="FFFFFF"/>
                </a:solidFill>
                <a:latin charset="0" typeface="Lato"/>
                <a:ea charset="-128" panose="020b0600070205080204" pitchFamily="34" typeface="MS PGothic"/>
                <a:sym charset="0" typeface="Lato"/>
              </a:defRPr>
            </a:lvl2pPr>
            <a:lvl3pPr defTabSz="647700" eaLnBrk="0" indent="-228600" marL="1143000">
              <a:defRPr b="1" sz="2500">
                <a:solidFill>
                  <a:srgbClr val="FFFFFF"/>
                </a:solidFill>
                <a:latin charset="0" typeface="Lato"/>
                <a:ea charset="-128" panose="020b0600070205080204" pitchFamily="34" typeface="MS PGothic"/>
                <a:sym charset="0" typeface="Lato"/>
              </a:defRPr>
            </a:lvl3pPr>
            <a:lvl4pPr defTabSz="647700" eaLnBrk="0" indent="-228600" marL="1600200">
              <a:defRPr b="1" sz="2500">
                <a:solidFill>
                  <a:srgbClr val="FFFFFF"/>
                </a:solidFill>
                <a:latin charset="0" typeface="Lato"/>
                <a:ea charset="-128" panose="020b0600070205080204" pitchFamily="34" typeface="MS PGothic"/>
                <a:sym charset="0" typeface="Lato"/>
              </a:defRPr>
            </a:lvl4pPr>
            <a:lvl5pPr defTabSz="647700" eaLnBrk="0" indent="-228600" marL="2057400">
              <a:defRPr b="1" sz="2500">
                <a:solidFill>
                  <a:srgbClr val="FFFFFF"/>
                </a:solidFill>
                <a:latin charset="0" typeface="Lato"/>
                <a:ea charset="-128" panose="020b0600070205080204" pitchFamily="34" typeface="MS PGothic"/>
                <a:sym charset="0" typeface="Lato"/>
              </a:defRPr>
            </a:lvl5pPr>
            <a:lvl6pPr algn="ctr" defTabSz="6477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6477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6477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6477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algn="r" eaLnBrk="1" hangingPunct="1">
              <a:lnSpc>
                <a:spcPct val="120000"/>
              </a:lnSpc>
              <a:spcBef>
                <a:spcPts val="545"/>
              </a:spcBef>
              <a:defRPr/>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sp>
        <p:nvSpPr>
          <p:cNvPr id="106" name="AutoShape 45"/>
          <p:cNvSpPr/>
          <p:nvPr/>
        </p:nvSpPr>
        <p:spPr bwMode="auto">
          <a:xfrm>
            <a:off x="2238058" y="1604138"/>
            <a:ext cx="865664" cy="141607"/>
          </a:xfrm>
          <a:custGeom>
            <a:gdLst>
              <a:gd fmla="*/ 10800 w 21600" name="T0"/>
              <a:gd fmla="*/ 10800 h 21600" name="T1"/>
              <a:gd fmla="*/ 10800 w 21600" name="T2"/>
              <a:gd fmla="*/ 10800 h 21600" name="T3"/>
              <a:gd fmla="*/ 10800 w 21600" name="T4"/>
              <a:gd fmla="*/ 10800 h 21600" name="T5"/>
              <a:gd fmla="*/ 10800 w 21600" name="T6"/>
              <a:gd fmla="*/ 10800 h 21600" name="T7"/>
            </a:gdLst>
            <a:cxnLst>
              <a:cxn ang="0">
                <a:pos x="T0" y="T1"/>
              </a:cxn>
              <a:cxn ang="0">
                <a:pos x="T2" y="T3"/>
              </a:cxn>
              <a:cxn ang="0">
                <a:pos x="T4" y="T5"/>
              </a:cxn>
              <a:cxn ang="0">
                <a:pos x="T6" y="T7"/>
              </a:cxn>
            </a:cxnLst>
            <a:rect b="b" l="0" r="r" t="0"/>
            <a:pathLst>
              <a:path h="21600" w="21600">
                <a:moveTo>
                  <a:pt x="0" y="0"/>
                </a:moveTo>
                <a:lnTo>
                  <a:pt x="21600" y="0"/>
                </a:lnTo>
                <a:lnTo>
                  <a:pt x="21600" y="21600"/>
                </a:lnTo>
                <a:lnTo>
                  <a:pt x="0" y="21600"/>
                </a:lnTo>
                <a:close/>
              </a:path>
            </a:pathLst>
          </a:custGeom>
          <a:noFill/>
          <a:ln>
            <a:noFill/>
          </a:ln>
          <a:effectLst/>
        </p:spPr>
        <p:txBody>
          <a:bodyPr anchor="ctr" bIns="12192" lIns="12192" rIns="12192" tIns="12192"/>
          <a:lstStyle>
            <a:lvl1pPr eaLnBrk="0">
              <a:defRPr b="1" sz="2500">
                <a:solidFill>
                  <a:srgbClr val="FFFFFF"/>
                </a:solidFill>
                <a:latin charset="0" typeface="Lato"/>
                <a:ea charset="-128" panose="020b0600070205080204" pitchFamily="34" typeface="MS PGothic"/>
                <a:sym charset="0" typeface="Lato"/>
              </a:defRPr>
            </a:lvl1pPr>
            <a:lvl2pPr eaLnBrk="0" indent="-285750" marL="742950">
              <a:defRPr b="1" sz="2500">
                <a:solidFill>
                  <a:srgbClr val="FFFFFF"/>
                </a:solidFill>
                <a:latin charset="0" typeface="Lato"/>
                <a:ea charset="-128" panose="020b0600070205080204" pitchFamily="34" typeface="MS PGothic"/>
                <a:sym charset="0" typeface="Lato"/>
              </a:defRPr>
            </a:lvl2pPr>
            <a:lvl3pPr eaLnBrk="0" indent="-228600" marL="1143000">
              <a:defRPr b="1" sz="2500">
                <a:solidFill>
                  <a:srgbClr val="FFFFFF"/>
                </a:solidFill>
                <a:latin charset="0" typeface="Lato"/>
                <a:ea charset="-128" panose="020b0600070205080204" pitchFamily="34" typeface="MS PGothic"/>
                <a:sym charset="0" typeface="Lato"/>
              </a:defRPr>
            </a:lvl3pPr>
            <a:lvl4pPr eaLnBrk="0" indent="-228600" marL="1600200">
              <a:defRPr b="1" sz="2500">
                <a:solidFill>
                  <a:srgbClr val="FFFFFF"/>
                </a:solidFill>
                <a:latin charset="0" typeface="Lato"/>
                <a:ea charset="-128" panose="020b0600070205080204" pitchFamily="34" typeface="MS PGothic"/>
                <a:sym charset="0" typeface="Lato"/>
              </a:defRPr>
            </a:lvl4pPr>
            <a:lvl5pPr eaLnBrk="0" indent="-228600" marL="2057400">
              <a:defRPr b="1" sz="2500">
                <a:solidFill>
                  <a:srgbClr val="FFFFFF"/>
                </a:solidFill>
                <a:latin charset="0" typeface="Lato"/>
                <a:ea charset="-128" panose="020b0600070205080204" pitchFamily="34" typeface="MS PGothic"/>
                <a:sym charset="0" typeface="Lato"/>
              </a:defRPr>
            </a:lvl5pPr>
            <a:lvl6pPr algn="ctr" defTabSz="825500" eaLnBrk="0" fontAlgn="base" hangingPunct="0" indent="-228600" marL="25146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6pPr>
            <a:lvl7pPr algn="ctr" defTabSz="825500" eaLnBrk="0" fontAlgn="base" hangingPunct="0" indent="-228600" marL="29718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7pPr>
            <a:lvl8pPr algn="ctr" defTabSz="825500" eaLnBrk="0" fontAlgn="base" hangingPunct="0" indent="-228600" marL="34290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8pPr>
            <a:lvl9pPr algn="ctr" defTabSz="825500" eaLnBrk="0" fontAlgn="base" hangingPunct="0" indent="-228600" marL="3886200">
              <a:lnSpc>
                <a:spcPct val="130000"/>
              </a:lnSpc>
              <a:spcBef>
                <a:spcPct val="0"/>
              </a:spcBef>
              <a:spcAft>
                <a:spcPct val="0"/>
              </a:spcAft>
              <a:defRPr b="1" sz="2500">
                <a:solidFill>
                  <a:srgbClr val="FFFFFF"/>
                </a:solidFill>
                <a:latin charset="0" typeface="Lato"/>
                <a:ea charset="-128" panose="020b0600070205080204" pitchFamily="34" typeface="MS PGothic"/>
                <a:sym charset="0" typeface="Lato"/>
              </a:defRPr>
            </a:lvl9pPr>
          </a:lstStyle>
          <a:p>
            <a:pPr algn="r" eaLnBrk="1" hangingPunct="1">
              <a:lnSpc>
                <a:spcPct val="120000"/>
              </a:lnSpc>
              <a:defRPr/>
            </a:pPr>
            <a:r>
              <a:rPr altLang="en-US" b="0" lang="zh-CN" noProof="1" sz="800">
                <a:solidFill>
                  <a:srgbClr val="00A4E3"/>
                </a:solidFill>
                <a:latin charset="0" pitchFamily="34" typeface="Arial"/>
                <a:ea charset="-122" panose="020b0503020204020204" pitchFamily="34" typeface="微软雅黑"/>
                <a:sym charset="0" pitchFamily="34" typeface="Arial"/>
              </a:rPr>
              <a:t>请替换文字内容</a:t>
            </a:r>
          </a:p>
        </p:txBody>
      </p:sp>
      <p:sp>
        <p:nvSpPr>
          <p:cNvPr id="107" name="AutoShape 46"/>
          <p:cNvSpPr/>
          <p:nvPr/>
        </p:nvSpPr>
        <p:spPr bwMode="auto">
          <a:xfrm>
            <a:off x="3157062" y="1629584"/>
            <a:ext cx="137795" cy="138287"/>
          </a:xfrm>
          <a:custGeom>
            <a:gdLst>
              <a:gd fmla="+- 0 10800 961" name="T0"/>
              <a:gd fmla="*/ T0 w 19679" name="T1"/>
              <a:gd fmla="+- 0 10800 961" name="T2"/>
              <a:gd fmla="*/ 10800 h 19679" name="T3"/>
              <a:gd fmla="+- 0 10800 961" name="T4"/>
              <a:gd fmla="*/ T4 w 19679" name="T5"/>
              <a:gd fmla="+- 0 10800 961" name="T6"/>
              <a:gd fmla="*/ 10800 h 19679" name="T7"/>
              <a:gd fmla="+- 0 10800 961" name="T8"/>
              <a:gd fmla="*/ T8 w 19679" name="T9"/>
              <a:gd fmla="+- 0 10800 961" name="T10"/>
              <a:gd fmla="*/ 10800 h 19679" name="T11"/>
              <a:gd fmla="+- 0 10800 961" name="T12"/>
              <a:gd fmla="*/ T12 w 19679" name="T13"/>
              <a:gd fmla="+- 0 10800 961" name="T14"/>
              <a:gd fmla="*/ 10800 h 19679" name="T15"/>
            </a:gdLst>
            <a:cxnLst>
              <a:cxn ang="0">
                <a:pos x="T1" y="T3"/>
              </a:cxn>
              <a:cxn ang="0">
                <a:pos x="T5" y="T7"/>
              </a:cxn>
              <a:cxn ang="0">
                <a:pos x="T9" y="T11"/>
              </a:cxn>
              <a:cxn ang="0">
                <a:pos x="T13" y="T15"/>
              </a:cxn>
            </a:cxnLst>
            <a:rect b="b" l="0" r="r" t="0"/>
            <a:pathLst>
              <a:path h="19679" w="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cap="flat" cmpd="sng" w="25400">
            <a:solidFill>
              <a:srgbClr val="000000">
                <a:alpha val="0"/>
              </a:srgbClr>
            </a:solidFill>
            <a:prstDash val="solid"/>
            <a:miter lim="0"/>
          </a:ln>
          <a:effectLst/>
        </p:spPr>
        <p:txBody>
          <a:bodyPr anchor="ctr" bIns="0" lIns="0" rIns="0" tIns="0"/>
          <a:lstStyle/>
          <a:p>
            <a:pPr defTabSz="186814" eaLnBrk="1" hangingPunct="1">
              <a:lnSpc>
                <a:spcPct val="120000"/>
              </a:lnSpc>
              <a:defRPr/>
            </a:pPr>
            <a:endParaRPr lang="es-ES" noProof="1" sz="800">
              <a:solidFill>
                <a:schemeClr val="bg1">
                  <a:lumMod val="65000"/>
                </a:schemeClr>
              </a:solidFill>
              <a:effectLst>
                <a:outerShdw algn="tl" blurRad="38100" dir="2700000" dist="38100">
                  <a:srgbClr val="000000"/>
                </a:outerShdw>
              </a:effectLst>
              <a:latin charset="0" pitchFamily="34" typeface="Arial"/>
              <a:ea charset="-122" panose="020b0503020204020204" pitchFamily="34" typeface="微软雅黑"/>
              <a:cs charset="0" typeface="Gill Sans"/>
              <a:sym charset="0" pitchFamily="34" typeface="Arial"/>
            </a:endParaRPr>
          </a:p>
        </p:txBody>
      </p:sp>
      <p:sp>
        <p:nvSpPr>
          <p:cNvPr id="44" name="平行四边形 43"/>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5" name="平行四边形 44"/>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6" name="平行四边形 45"/>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7" name="平行四边形 46"/>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50" name="Group 7"/>
          <p:cNvGrpSpPr/>
          <p:nvPr/>
        </p:nvGrpSpPr>
        <p:grpSpPr>
          <a:xfrm>
            <a:off x="180202" y="181952"/>
            <a:ext cx="216018" cy="113981"/>
            <a:chExt cx="1041399" cy="549275"/>
          </a:xfrm>
          <a:solidFill>
            <a:srgbClr val="133E73"/>
          </a:solidFill>
        </p:grpSpPr>
        <p:sp>
          <p:nvSpPr>
            <p:cNvPr id="51"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52"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53"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spTree>
  </p:cSld>
  <p:clrMapOvr>
    <a:masterClrMapping/>
  </p:clrMapOvr>
  <p:transition spd="med">
    <p:pull/>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50"/>
                                        </p:tgtEl>
                                        <p:attrNameLst>
                                          <p:attrName>style.visibility</p:attrName>
                                        </p:attrNameLst>
                                      </p:cBhvr>
                                      <p:to>
                                        <p:strVal val="visible"/>
                                      </p:to>
                                    </p:set>
                                    <p:anim calcmode="lin" valueType="num">
                                      <p:cBhvr additive="base">
                                        <p:cTn dur="500" fill="hold" id="7"/>
                                        <p:tgtEl>
                                          <p:spTgt spid="50"/>
                                        </p:tgtEl>
                                        <p:attrNameLst>
                                          <p:attrName>ppt_x</p:attrName>
                                        </p:attrNameLst>
                                      </p:cBhvr>
                                      <p:tavLst>
                                        <p:tav tm="0">
                                          <p:val>
                                            <p:strVal val="0-#ppt_w/2"/>
                                          </p:val>
                                        </p:tav>
                                        <p:tav tm="100000">
                                          <p:val>
                                            <p:strVal val="#ppt_x"/>
                                          </p:val>
                                        </p:tav>
                                      </p:tavLst>
                                    </p:anim>
                                    <p:anim calcmode="lin" valueType="num">
                                      <p:cBhvr additive="base">
                                        <p:cTn dur="500" fill="hold" id="8"/>
                                        <p:tgtEl>
                                          <p:spTgt spid="50"/>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49"/>
                                        </p:tgtEl>
                                        <p:attrNameLst>
                                          <p:attrName>style.visibility</p:attrName>
                                        </p:attrNameLst>
                                      </p:cBhvr>
                                      <p:to>
                                        <p:strVal val="visible"/>
                                      </p:to>
                                    </p:set>
                                    <p:anim calcmode="lin" valueType="num">
                                      <p:cBhvr>
                                        <p:cTn dur="500" fill="hold" id="12"/>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49"/>
                                        </p:tgtEl>
                                        <p:attrNameLst>
                                          <p:attrName>ppt_y</p:attrName>
                                        </p:attrNameLst>
                                      </p:cBhvr>
                                      <p:tavLst>
                                        <p:tav tm="0">
                                          <p:val>
                                            <p:strVal val="#ppt_y"/>
                                          </p:val>
                                        </p:tav>
                                        <p:tav tm="100000">
                                          <p:val>
                                            <p:strVal val="#ppt_y"/>
                                          </p:val>
                                        </p:tav>
                                      </p:tavLst>
                                    </p:anim>
                                    <p:anim calcmode="lin" valueType="num">
                                      <p:cBhvr>
                                        <p:cTn dur="500" fill="hold" id="14"/>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49"/>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49"/>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46"/>
                                        </p:tgtEl>
                                        <p:attrNameLst>
                                          <p:attrName>fillcolor</p:attrName>
                                        </p:attrNameLst>
                                      </p:cBhvr>
                                      <p:to>
                                        <a:srgbClr val="00AEEF"/>
                                      </p:to>
                                    </p:animClr>
                                    <p:set>
                                      <p:cBhvr>
                                        <p:cTn dur="300" fill="hold" id="20"/>
                                        <p:tgtEl>
                                          <p:spTgt spid="46"/>
                                        </p:tgtEl>
                                        <p:attrNameLst>
                                          <p:attrName>fill.type</p:attrName>
                                        </p:attrNameLst>
                                      </p:cBhvr>
                                      <p:to>
                                        <p:strVal val="solid"/>
                                      </p:to>
                                    </p:set>
                                    <p:set>
                                      <p:cBhvr>
                                        <p:cTn dur="300" fill="hold" id="21"/>
                                        <p:tgtEl>
                                          <p:spTgt spid="46"/>
                                        </p:tgtEl>
                                        <p:attrNameLst>
                                          <p:attrName>fill.on</p:attrName>
                                        </p:attrNameLst>
                                      </p:cBhvr>
                                      <p:to>
                                        <p:strVal val="true"/>
                                      </p:to>
                                    </p:set>
                                  </p:childTnLst>
                                </p:cTn>
                              </p:par>
                            </p:childTnLst>
                          </p:cTn>
                        </p:par>
                        <p:par>
                          <p:cTn fill="hold" id="22" nodeType="afterGroup">
                            <p:stCondLst>
                              <p:cond delay="1300"/>
                            </p:stCondLst>
                            <p:childTnLst>
                              <p:par>
                                <p:cTn fill="hold" id="23" nodeType="afterEffect" presetClass="entr" presetID="23" presetSubtype="16">
                                  <p:stCondLst>
                                    <p:cond delay="0"/>
                                  </p:stCondLst>
                                  <p:childTnLst>
                                    <p:set>
                                      <p:cBhvr>
                                        <p:cTn dur="1" fill="hold" id="24">
                                          <p:stCondLst>
                                            <p:cond delay="0"/>
                                          </p:stCondLst>
                                        </p:cTn>
                                        <p:tgtEl>
                                          <p:spTgt spid="66"/>
                                        </p:tgtEl>
                                        <p:attrNameLst>
                                          <p:attrName>style.visibility</p:attrName>
                                        </p:attrNameLst>
                                      </p:cBhvr>
                                      <p:to>
                                        <p:strVal val="visible"/>
                                      </p:to>
                                    </p:set>
                                    <p:anim calcmode="lin" valueType="num">
                                      <p:cBhvr>
                                        <p:cTn dur="500" fill="hold" id="25"/>
                                        <p:tgtEl>
                                          <p:spTgt spid="66"/>
                                        </p:tgtEl>
                                        <p:attrNameLst>
                                          <p:attrName>ppt_w</p:attrName>
                                        </p:attrNameLst>
                                      </p:cBhvr>
                                      <p:tavLst>
                                        <p:tav tm="0">
                                          <p:val>
                                            <p:fltVal val="0"/>
                                          </p:val>
                                        </p:tav>
                                        <p:tav tm="100000">
                                          <p:val>
                                            <p:strVal val="#ppt_w"/>
                                          </p:val>
                                        </p:tav>
                                      </p:tavLst>
                                    </p:anim>
                                    <p:anim calcmode="lin" valueType="num">
                                      <p:cBhvr>
                                        <p:cTn dur="500" fill="hold" id="26"/>
                                        <p:tgtEl>
                                          <p:spTgt spid="66"/>
                                        </p:tgtEl>
                                        <p:attrNameLst>
                                          <p:attrName>ppt_h</p:attrName>
                                        </p:attrNameLst>
                                      </p:cBhvr>
                                      <p:tavLst>
                                        <p:tav tm="0">
                                          <p:val>
                                            <p:fltVal val="0"/>
                                          </p:val>
                                        </p:tav>
                                        <p:tav tm="100000">
                                          <p:val>
                                            <p:strVal val="#ppt_h"/>
                                          </p:val>
                                        </p:tav>
                                      </p:tavLst>
                                    </p:anim>
                                  </p:childTnLst>
                                </p:cTn>
                              </p:par>
                            </p:childTnLst>
                          </p:cTn>
                        </p:par>
                        <p:par>
                          <p:cTn fill="hold" id="27" nodeType="afterGroup">
                            <p:stCondLst>
                              <p:cond delay="1800"/>
                            </p:stCondLst>
                            <p:childTnLst>
                              <p:par>
                                <p:cTn fill="hold" id="28" nodeType="afterEffect" presetClass="entr" presetID="23" presetSubtype="16">
                                  <p:stCondLst>
                                    <p:cond delay="300"/>
                                  </p:stCondLst>
                                  <p:childTnLst>
                                    <p:set>
                                      <p:cBhvr>
                                        <p:cTn dur="1" fill="hold" id="29">
                                          <p:stCondLst>
                                            <p:cond delay="0"/>
                                          </p:stCondLst>
                                        </p:cTn>
                                        <p:tgtEl>
                                          <p:spTgt spid="70"/>
                                        </p:tgtEl>
                                        <p:attrNameLst>
                                          <p:attrName>style.visibility</p:attrName>
                                        </p:attrNameLst>
                                      </p:cBhvr>
                                      <p:to>
                                        <p:strVal val="visible"/>
                                      </p:to>
                                    </p:set>
                                    <p:anim calcmode="lin" valueType="num">
                                      <p:cBhvr>
                                        <p:cTn dur="500" fill="hold" id="30"/>
                                        <p:tgtEl>
                                          <p:spTgt spid="70"/>
                                        </p:tgtEl>
                                        <p:attrNameLst>
                                          <p:attrName>ppt_w</p:attrName>
                                        </p:attrNameLst>
                                      </p:cBhvr>
                                      <p:tavLst>
                                        <p:tav tm="0">
                                          <p:val>
                                            <p:fltVal val="0"/>
                                          </p:val>
                                        </p:tav>
                                        <p:tav tm="100000">
                                          <p:val>
                                            <p:strVal val="#ppt_w"/>
                                          </p:val>
                                        </p:tav>
                                      </p:tavLst>
                                    </p:anim>
                                    <p:anim calcmode="lin" valueType="num">
                                      <p:cBhvr>
                                        <p:cTn dur="500" fill="hold" id="31"/>
                                        <p:tgtEl>
                                          <p:spTgt spid="70"/>
                                        </p:tgtEl>
                                        <p:attrNameLst>
                                          <p:attrName>ppt_h</p:attrName>
                                        </p:attrNameLst>
                                      </p:cBhvr>
                                      <p:tavLst>
                                        <p:tav tm="0">
                                          <p:val>
                                            <p:fltVal val="0"/>
                                          </p:val>
                                        </p:tav>
                                        <p:tav tm="100000">
                                          <p:val>
                                            <p:strVal val="#ppt_h"/>
                                          </p:val>
                                        </p:tav>
                                      </p:tavLst>
                                    </p:anim>
                                  </p:childTnLst>
                                </p:cTn>
                              </p:par>
                            </p:childTnLst>
                          </p:cTn>
                        </p:par>
                        <p:par>
                          <p:cTn fill="hold" id="32" nodeType="afterGroup">
                            <p:stCondLst>
                              <p:cond delay="2600"/>
                            </p:stCondLst>
                            <p:childTnLst>
                              <p:par>
                                <p:cTn fill="hold" id="33" nodeType="afterEffect" presetClass="entr" presetID="23" presetSubtype="16">
                                  <p:stCondLst>
                                    <p:cond delay="300"/>
                                  </p:stCondLst>
                                  <p:childTnLst>
                                    <p:set>
                                      <p:cBhvr>
                                        <p:cTn dur="1" fill="hold" id="34">
                                          <p:stCondLst>
                                            <p:cond delay="0"/>
                                          </p:stCondLst>
                                        </p:cTn>
                                        <p:tgtEl>
                                          <p:spTgt spid="74"/>
                                        </p:tgtEl>
                                        <p:attrNameLst>
                                          <p:attrName>style.visibility</p:attrName>
                                        </p:attrNameLst>
                                      </p:cBhvr>
                                      <p:to>
                                        <p:strVal val="visible"/>
                                      </p:to>
                                    </p:set>
                                    <p:anim calcmode="lin" valueType="num">
                                      <p:cBhvr>
                                        <p:cTn dur="500" fill="hold" id="35"/>
                                        <p:tgtEl>
                                          <p:spTgt spid="74"/>
                                        </p:tgtEl>
                                        <p:attrNameLst>
                                          <p:attrName>ppt_w</p:attrName>
                                        </p:attrNameLst>
                                      </p:cBhvr>
                                      <p:tavLst>
                                        <p:tav tm="0">
                                          <p:val>
                                            <p:fltVal val="0"/>
                                          </p:val>
                                        </p:tav>
                                        <p:tav tm="100000">
                                          <p:val>
                                            <p:strVal val="#ppt_w"/>
                                          </p:val>
                                        </p:tav>
                                      </p:tavLst>
                                    </p:anim>
                                    <p:anim calcmode="lin" valueType="num">
                                      <p:cBhvr>
                                        <p:cTn dur="500" fill="hold" id="36"/>
                                        <p:tgtEl>
                                          <p:spTgt spid="74"/>
                                        </p:tgtEl>
                                        <p:attrNameLst>
                                          <p:attrName>ppt_h</p:attrName>
                                        </p:attrNameLst>
                                      </p:cBhvr>
                                      <p:tavLst>
                                        <p:tav tm="0">
                                          <p:val>
                                            <p:fltVal val="0"/>
                                          </p:val>
                                        </p:tav>
                                        <p:tav tm="100000">
                                          <p:val>
                                            <p:strVal val="#ppt_h"/>
                                          </p:val>
                                        </p:tav>
                                      </p:tavLst>
                                    </p:anim>
                                  </p:childTnLst>
                                </p:cTn>
                              </p:par>
                            </p:childTnLst>
                          </p:cTn>
                        </p:par>
                        <p:par>
                          <p:cTn fill="hold" id="37" nodeType="afterGroup">
                            <p:stCondLst>
                              <p:cond delay="3400"/>
                            </p:stCondLst>
                            <p:childTnLst>
                              <p:par>
                                <p:cTn fill="hold" id="38" nodeType="afterEffect" presetClass="entr" presetID="23" presetSubtype="16">
                                  <p:stCondLst>
                                    <p:cond delay="300"/>
                                  </p:stCondLst>
                                  <p:childTnLst>
                                    <p:set>
                                      <p:cBhvr>
                                        <p:cTn dur="1" fill="hold" id="39">
                                          <p:stCondLst>
                                            <p:cond delay="0"/>
                                          </p:stCondLst>
                                        </p:cTn>
                                        <p:tgtEl>
                                          <p:spTgt spid="78"/>
                                        </p:tgtEl>
                                        <p:attrNameLst>
                                          <p:attrName>style.visibility</p:attrName>
                                        </p:attrNameLst>
                                      </p:cBhvr>
                                      <p:to>
                                        <p:strVal val="visible"/>
                                      </p:to>
                                    </p:set>
                                    <p:anim calcmode="lin" valueType="num">
                                      <p:cBhvr>
                                        <p:cTn dur="500" fill="hold" id="40"/>
                                        <p:tgtEl>
                                          <p:spTgt spid="78"/>
                                        </p:tgtEl>
                                        <p:attrNameLst>
                                          <p:attrName>ppt_w</p:attrName>
                                        </p:attrNameLst>
                                      </p:cBhvr>
                                      <p:tavLst>
                                        <p:tav tm="0">
                                          <p:val>
                                            <p:fltVal val="0"/>
                                          </p:val>
                                        </p:tav>
                                        <p:tav tm="100000">
                                          <p:val>
                                            <p:strVal val="#ppt_w"/>
                                          </p:val>
                                        </p:tav>
                                      </p:tavLst>
                                    </p:anim>
                                    <p:anim calcmode="lin" valueType="num">
                                      <p:cBhvr>
                                        <p:cTn dur="500" fill="hold" id="41"/>
                                        <p:tgtEl>
                                          <p:spTgt spid="78"/>
                                        </p:tgtEl>
                                        <p:attrNameLst>
                                          <p:attrName>ppt_h</p:attrName>
                                        </p:attrNameLst>
                                      </p:cBhvr>
                                      <p:tavLst>
                                        <p:tav tm="0">
                                          <p:val>
                                            <p:fltVal val="0"/>
                                          </p:val>
                                        </p:tav>
                                        <p:tav tm="100000">
                                          <p:val>
                                            <p:strVal val="#ppt_h"/>
                                          </p:val>
                                        </p:tav>
                                      </p:tavLst>
                                    </p:anim>
                                  </p:childTnLst>
                                </p:cTn>
                              </p:par>
                            </p:childTnLst>
                          </p:cTn>
                        </p:par>
                        <p:par>
                          <p:cTn fill="hold" id="42" nodeType="afterGroup">
                            <p:stCondLst>
                              <p:cond delay="4200"/>
                            </p:stCondLst>
                            <p:childTnLst>
                              <p:par>
                                <p:cTn fill="hold" id="43" nodeType="afterEffect" presetClass="entr" presetID="23" presetSubtype="16">
                                  <p:stCondLst>
                                    <p:cond delay="300"/>
                                  </p:stCondLst>
                                  <p:childTnLst>
                                    <p:set>
                                      <p:cBhvr>
                                        <p:cTn dur="1" fill="hold" id="44">
                                          <p:stCondLst>
                                            <p:cond delay="0"/>
                                          </p:stCondLst>
                                        </p:cTn>
                                        <p:tgtEl>
                                          <p:spTgt spid="82"/>
                                        </p:tgtEl>
                                        <p:attrNameLst>
                                          <p:attrName>style.visibility</p:attrName>
                                        </p:attrNameLst>
                                      </p:cBhvr>
                                      <p:to>
                                        <p:strVal val="visible"/>
                                      </p:to>
                                    </p:set>
                                    <p:anim calcmode="lin" valueType="num">
                                      <p:cBhvr>
                                        <p:cTn dur="500" fill="hold" id="45"/>
                                        <p:tgtEl>
                                          <p:spTgt spid="82"/>
                                        </p:tgtEl>
                                        <p:attrNameLst>
                                          <p:attrName>ppt_w</p:attrName>
                                        </p:attrNameLst>
                                      </p:cBhvr>
                                      <p:tavLst>
                                        <p:tav tm="0">
                                          <p:val>
                                            <p:fltVal val="0"/>
                                          </p:val>
                                        </p:tav>
                                        <p:tav tm="100000">
                                          <p:val>
                                            <p:strVal val="#ppt_w"/>
                                          </p:val>
                                        </p:tav>
                                      </p:tavLst>
                                    </p:anim>
                                    <p:anim calcmode="lin" valueType="num">
                                      <p:cBhvr>
                                        <p:cTn dur="500" fill="hold" id="46"/>
                                        <p:tgtEl>
                                          <p:spTgt spid="82"/>
                                        </p:tgtEl>
                                        <p:attrNameLst>
                                          <p:attrName>ppt_h</p:attrName>
                                        </p:attrNameLst>
                                      </p:cBhvr>
                                      <p:tavLst>
                                        <p:tav tm="0">
                                          <p:val>
                                            <p:fltVal val="0"/>
                                          </p:val>
                                        </p:tav>
                                        <p:tav tm="100000">
                                          <p:val>
                                            <p:strVal val="#ppt_h"/>
                                          </p:val>
                                        </p:tav>
                                      </p:tavLst>
                                    </p:anim>
                                  </p:childTnLst>
                                </p:cTn>
                              </p:par>
                            </p:childTnLst>
                          </p:cTn>
                        </p:par>
                        <p:par>
                          <p:cTn fill="hold" id="47" nodeType="afterGroup">
                            <p:stCondLst>
                              <p:cond delay="5000"/>
                            </p:stCondLst>
                            <p:childTnLst>
                              <p:par>
                                <p:cTn fill="hold" id="48" nodeType="afterEffect" presetClass="entr" presetID="23" presetSubtype="16">
                                  <p:stCondLst>
                                    <p:cond delay="300"/>
                                  </p:stCondLst>
                                  <p:childTnLst>
                                    <p:set>
                                      <p:cBhvr>
                                        <p:cTn dur="1" fill="hold" id="49">
                                          <p:stCondLst>
                                            <p:cond delay="0"/>
                                          </p:stCondLst>
                                        </p:cTn>
                                        <p:tgtEl>
                                          <p:spTgt spid="86"/>
                                        </p:tgtEl>
                                        <p:attrNameLst>
                                          <p:attrName>style.visibility</p:attrName>
                                        </p:attrNameLst>
                                      </p:cBhvr>
                                      <p:to>
                                        <p:strVal val="visible"/>
                                      </p:to>
                                    </p:set>
                                    <p:anim calcmode="lin" valueType="num">
                                      <p:cBhvr>
                                        <p:cTn dur="500" fill="hold" id="50"/>
                                        <p:tgtEl>
                                          <p:spTgt spid="86"/>
                                        </p:tgtEl>
                                        <p:attrNameLst>
                                          <p:attrName>ppt_w</p:attrName>
                                        </p:attrNameLst>
                                      </p:cBhvr>
                                      <p:tavLst>
                                        <p:tav tm="0">
                                          <p:val>
                                            <p:fltVal val="0"/>
                                          </p:val>
                                        </p:tav>
                                        <p:tav tm="100000">
                                          <p:val>
                                            <p:strVal val="#ppt_w"/>
                                          </p:val>
                                        </p:tav>
                                      </p:tavLst>
                                    </p:anim>
                                    <p:anim calcmode="lin" valueType="num">
                                      <p:cBhvr>
                                        <p:cTn dur="500" fill="hold" id="51"/>
                                        <p:tgtEl>
                                          <p:spTgt spid="86"/>
                                        </p:tgtEl>
                                        <p:attrNameLst>
                                          <p:attrName>ppt_h</p:attrName>
                                        </p:attrNameLst>
                                      </p:cBhvr>
                                      <p:tavLst>
                                        <p:tav tm="0">
                                          <p:val>
                                            <p:fltVal val="0"/>
                                          </p:val>
                                        </p:tav>
                                        <p:tav tm="100000">
                                          <p:val>
                                            <p:strVal val="#ppt_h"/>
                                          </p:val>
                                        </p:tav>
                                      </p:tavLst>
                                    </p:anim>
                                  </p:childTnLst>
                                </p:cTn>
                              </p:par>
                            </p:childTnLst>
                          </p:cTn>
                        </p:par>
                        <p:par>
                          <p:cTn fill="hold" id="52" nodeType="afterGroup">
                            <p:stCondLst>
                              <p:cond delay="5800"/>
                            </p:stCondLst>
                            <p:childTnLst>
                              <p:par>
                                <p:cTn fill="hold" grpId="0" id="53" nodeType="afterEffect" presetClass="entr" presetID="2" presetSubtype="2">
                                  <p:stCondLst>
                                    <p:cond delay="100"/>
                                  </p:stCondLst>
                                  <p:childTnLst>
                                    <p:set>
                                      <p:cBhvr>
                                        <p:cTn dur="1" fill="hold" id="54">
                                          <p:stCondLst>
                                            <p:cond delay="0"/>
                                          </p:stCondLst>
                                        </p:cTn>
                                        <p:tgtEl>
                                          <p:spTgt spid="91"/>
                                        </p:tgtEl>
                                        <p:attrNameLst>
                                          <p:attrName>style.visibility</p:attrName>
                                        </p:attrNameLst>
                                      </p:cBhvr>
                                      <p:to>
                                        <p:strVal val="visible"/>
                                      </p:to>
                                    </p:set>
                                    <p:anim calcmode="lin" valueType="num">
                                      <p:cBhvr>
                                        <p:cTn dur="500" fill="hold" id="55"/>
                                        <p:tgtEl>
                                          <p:spTgt spid="91"/>
                                        </p:tgtEl>
                                        <p:attrNameLst>
                                          <p:attrName>ppt_x</p:attrName>
                                        </p:attrNameLst>
                                      </p:cBhvr>
                                      <p:tavLst>
                                        <p:tav tm="0">
                                          <p:val>
                                            <p:strVal val="1+#ppt_w/2"/>
                                          </p:val>
                                        </p:tav>
                                        <p:tav tm="100000">
                                          <p:val>
                                            <p:strVal val="#ppt_x"/>
                                          </p:val>
                                        </p:tav>
                                      </p:tavLst>
                                    </p:anim>
                                    <p:anim calcmode="lin" valueType="num">
                                      <p:cBhvr>
                                        <p:cTn dur="500" fill="hold" id="56"/>
                                        <p:tgtEl>
                                          <p:spTgt spid="91"/>
                                        </p:tgtEl>
                                        <p:attrNameLst>
                                          <p:attrName>ppt_y</p:attrName>
                                        </p:attrNameLst>
                                      </p:cBhvr>
                                      <p:tavLst>
                                        <p:tav tm="0">
                                          <p:val>
                                            <p:strVal val="#ppt_y"/>
                                          </p:val>
                                        </p:tav>
                                        <p:tav tm="100000">
                                          <p:val>
                                            <p:strVal val="#ppt_y"/>
                                          </p:val>
                                        </p:tav>
                                      </p:tavLst>
                                    </p:anim>
                                  </p:childTnLst>
                                </p:cTn>
                              </p:par>
                            </p:childTnLst>
                          </p:cTn>
                        </p:par>
                        <p:par>
                          <p:cTn fill="hold" id="57" nodeType="afterGroup">
                            <p:stCondLst>
                              <p:cond delay="6400"/>
                            </p:stCondLst>
                            <p:childTnLst>
                              <p:par>
                                <p:cTn fill="hold" grpId="0" id="58" nodeType="afterEffect" presetClass="entr" presetID="2" presetSubtype="2">
                                  <p:stCondLst>
                                    <p:cond delay="0"/>
                                  </p:stCondLst>
                                  <p:childTnLst>
                                    <p:set>
                                      <p:cBhvr>
                                        <p:cTn dur="1" fill="hold" id="59">
                                          <p:stCondLst>
                                            <p:cond delay="0"/>
                                          </p:stCondLst>
                                        </p:cTn>
                                        <p:tgtEl>
                                          <p:spTgt spid="90"/>
                                        </p:tgtEl>
                                        <p:attrNameLst>
                                          <p:attrName>style.visibility</p:attrName>
                                        </p:attrNameLst>
                                      </p:cBhvr>
                                      <p:to>
                                        <p:strVal val="visible"/>
                                      </p:to>
                                    </p:set>
                                    <p:anim calcmode="lin" valueType="num">
                                      <p:cBhvr>
                                        <p:cTn dur="500" fill="hold" id="60"/>
                                        <p:tgtEl>
                                          <p:spTgt spid="90"/>
                                        </p:tgtEl>
                                        <p:attrNameLst>
                                          <p:attrName>ppt_x</p:attrName>
                                        </p:attrNameLst>
                                      </p:cBhvr>
                                      <p:tavLst>
                                        <p:tav tm="0">
                                          <p:val>
                                            <p:strVal val="1+#ppt_w/2"/>
                                          </p:val>
                                        </p:tav>
                                        <p:tav tm="100000">
                                          <p:val>
                                            <p:strVal val="#ppt_x"/>
                                          </p:val>
                                        </p:tav>
                                      </p:tavLst>
                                    </p:anim>
                                    <p:anim calcmode="lin" valueType="num">
                                      <p:cBhvr>
                                        <p:cTn dur="500" fill="hold" id="61"/>
                                        <p:tgtEl>
                                          <p:spTgt spid="90"/>
                                        </p:tgtEl>
                                        <p:attrNameLst>
                                          <p:attrName>ppt_y</p:attrName>
                                        </p:attrNameLst>
                                      </p:cBhvr>
                                      <p:tavLst>
                                        <p:tav tm="0">
                                          <p:val>
                                            <p:strVal val="#ppt_y"/>
                                          </p:val>
                                        </p:tav>
                                        <p:tav tm="100000">
                                          <p:val>
                                            <p:strVal val="#ppt_y"/>
                                          </p:val>
                                        </p:tav>
                                      </p:tavLst>
                                    </p:anim>
                                  </p:childTnLst>
                                </p:cTn>
                              </p:par>
                            </p:childTnLst>
                          </p:cTn>
                        </p:par>
                        <p:par>
                          <p:cTn fill="hold" id="62" nodeType="afterGroup">
                            <p:stCondLst>
                              <p:cond delay="6900"/>
                            </p:stCondLst>
                            <p:childTnLst>
                              <p:par>
                                <p:cTn fill="hold" id="63" nodeType="afterEffect" presetClass="entr" presetID="9" presetSubtype="0">
                                  <p:stCondLst>
                                    <p:cond delay="100"/>
                                  </p:stCondLst>
                                  <p:childTnLst>
                                    <p:set>
                                      <p:cBhvr>
                                        <p:cTn dur="1" fill="hold" id="64">
                                          <p:stCondLst>
                                            <p:cond delay="0"/>
                                          </p:stCondLst>
                                        </p:cTn>
                                        <p:tgtEl>
                                          <p:spTgt spid="92"/>
                                        </p:tgtEl>
                                        <p:attrNameLst>
                                          <p:attrName>style.visibility</p:attrName>
                                        </p:attrNameLst>
                                      </p:cBhvr>
                                      <p:to>
                                        <p:strVal val="visible"/>
                                      </p:to>
                                    </p:set>
                                    <p:animEffect filter="dissolve" transition="in">
                                      <p:cBhvr>
                                        <p:cTn dur="500" id="65"/>
                                        <p:tgtEl>
                                          <p:spTgt spid="92"/>
                                        </p:tgtEl>
                                      </p:cBhvr>
                                    </p:animEffect>
                                  </p:childTnLst>
                                </p:cTn>
                              </p:par>
                            </p:childTnLst>
                          </p:cTn>
                        </p:par>
                        <p:par>
                          <p:cTn fill="hold" id="66" nodeType="afterGroup">
                            <p:stCondLst>
                              <p:cond delay="7500"/>
                            </p:stCondLst>
                            <p:childTnLst>
                              <p:par>
                                <p:cTn fill="hold" grpId="0" id="67" nodeType="afterEffect" presetClass="entr" presetID="2" presetSubtype="2">
                                  <p:stCondLst>
                                    <p:cond delay="100"/>
                                  </p:stCondLst>
                                  <p:childTnLst>
                                    <p:set>
                                      <p:cBhvr>
                                        <p:cTn dur="1" fill="hold" id="68">
                                          <p:stCondLst>
                                            <p:cond delay="0"/>
                                          </p:stCondLst>
                                        </p:cTn>
                                        <p:tgtEl>
                                          <p:spTgt spid="94"/>
                                        </p:tgtEl>
                                        <p:attrNameLst>
                                          <p:attrName>style.visibility</p:attrName>
                                        </p:attrNameLst>
                                      </p:cBhvr>
                                      <p:to>
                                        <p:strVal val="visible"/>
                                      </p:to>
                                    </p:set>
                                    <p:anim calcmode="lin" valueType="num">
                                      <p:cBhvr>
                                        <p:cTn dur="500" fill="hold" id="69"/>
                                        <p:tgtEl>
                                          <p:spTgt spid="94"/>
                                        </p:tgtEl>
                                        <p:attrNameLst>
                                          <p:attrName>ppt_x</p:attrName>
                                        </p:attrNameLst>
                                      </p:cBhvr>
                                      <p:tavLst>
                                        <p:tav tm="0">
                                          <p:val>
                                            <p:strVal val="1+#ppt_w/2"/>
                                          </p:val>
                                        </p:tav>
                                        <p:tav tm="100000">
                                          <p:val>
                                            <p:strVal val="#ppt_x"/>
                                          </p:val>
                                        </p:tav>
                                      </p:tavLst>
                                    </p:anim>
                                    <p:anim calcmode="lin" valueType="num">
                                      <p:cBhvr>
                                        <p:cTn dur="500" fill="hold" id="70"/>
                                        <p:tgtEl>
                                          <p:spTgt spid="94"/>
                                        </p:tgtEl>
                                        <p:attrNameLst>
                                          <p:attrName>ppt_y</p:attrName>
                                        </p:attrNameLst>
                                      </p:cBhvr>
                                      <p:tavLst>
                                        <p:tav tm="0">
                                          <p:val>
                                            <p:strVal val="#ppt_y"/>
                                          </p:val>
                                        </p:tav>
                                        <p:tav tm="100000">
                                          <p:val>
                                            <p:strVal val="#ppt_y"/>
                                          </p:val>
                                        </p:tav>
                                      </p:tavLst>
                                    </p:anim>
                                  </p:childTnLst>
                                </p:cTn>
                              </p:par>
                            </p:childTnLst>
                          </p:cTn>
                        </p:par>
                        <p:par>
                          <p:cTn fill="hold" id="71" nodeType="afterGroup">
                            <p:stCondLst>
                              <p:cond delay="8100"/>
                            </p:stCondLst>
                            <p:childTnLst>
                              <p:par>
                                <p:cTn fill="hold" grpId="0" id="72" nodeType="afterEffect" presetClass="entr" presetID="2" presetSubtype="2">
                                  <p:stCondLst>
                                    <p:cond delay="0"/>
                                  </p:stCondLst>
                                  <p:childTnLst>
                                    <p:set>
                                      <p:cBhvr>
                                        <p:cTn dur="1" fill="hold" id="73">
                                          <p:stCondLst>
                                            <p:cond delay="0"/>
                                          </p:stCondLst>
                                        </p:cTn>
                                        <p:tgtEl>
                                          <p:spTgt spid="93"/>
                                        </p:tgtEl>
                                        <p:attrNameLst>
                                          <p:attrName>style.visibility</p:attrName>
                                        </p:attrNameLst>
                                      </p:cBhvr>
                                      <p:to>
                                        <p:strVal val="visible"/>
                                      </p:to>
                                    </p:set>
                                    <p:anim calcmode="lin" valueType="num">
                                      <p:cBhvr>
                                        <p:cTn dur="500" fill="hold" id="74"/>
                                        <p:tgtEl>
                                          <p:spTgt spid="93"/>
                                        </p:tgtEl>
                                        <p:attrNameLst>
                                          <p:attrName>ppt_x</p:attrName>
                                        </p:attrNameLst>
                                      </p:cBhvr>
                                      <p:tavLst>
                                        <p:tav tm="0">
                                          <p:val>
                                            <p:strVal val="1+#ppt_w/2"/>
                                          </p:val>
                                        </p:tav>
                                        <p:tav tm="100000">
                                          <p:val>
                                            <p:strVal val="#ppt_x"/>
                                          </p:val>
                                        </p:tav>
                                      </p:tavLst>
                                    </p:anim>
                                    <p:anim calcmode="lin" valueType="num">
                                      <p:cBhvr>
                                        <p:cTn dur="500" fill="hold" id="75"/>
                                        <p:tgtEl>
                                          <p:spTgt spid="93"/>
                                        </p:tgtEl>
                                        <p:attrNameLst>
                                          <p:attrName>ppt_y</p:attrName>
                                        </p:attrNameLst>
                                      </p:cBhvr>
                                      <p:tavLst>
                                        <p:tav tm="0">
                                          <p:val>
                                            <p:strVal val="#ppt_y"/>
                                          </p:val>
                                        </p:tav>
                                        <p:tav tm="100000">
                                          <p:val>
                                            <p:strVal val="#ppt_y"/>
                                          </p:val>
                                        </p:tav>
                                      </p:tavLst>
                                    </p:anim>
                                  </p:childTnLst>
                                </p:cTn>
                              </p:par>
                            </p:childTnLst>
                          </p:cTn>
                        </p:par>
                        <p:par>
                          <p:cTn fill="hold" id="76" nodeType="afterGroup">
                            <p:stCondLst>
                              <p:cond delay="8600"/>
                            </p:stCondLst>
                            <p:childTnLst>
                              <p:par>
                                <p:cTn fill="hold" id="77" nodeType="afterEffect" presetClass="entr" presetID="9" presetSubtype="0">
                                  <p:stCondLst>
                                    <p:cond delay="100"/>
                                  </p:stCondLst>
                                  <p:childTnLst>
                                    <p:set>
                                      <p:cBhvr>
                                        <p:cTn dur="1" fill="hold" id="78">
                                          <p:stCondLst>
                                            <p:cond delay="0"/>
                                          </p:stCondLst>
                                        </p:cTn>
                                        <p:tgtEl>
                                          <p:spTgt spid="95"/>
                                        </p:tgtEl>
                                        <p:attrNameLst>
                                          <p:attrName>style.visibility</p:attrName>
                                        </p:attrNameLst>
                                      </p:cBhvr>
                                      <p:to>
                                        <p:strVal val="visible"/>
                                      </p:to>
                                    </p:set>
                                    <p:animEffect filter="dissolve" transition="in">
                                      <p:cBhvr>
                                        <p:cTn dur="500" id="79"/>
                                        <p:tgtEl>
                                          <p:spTgt spid="95"/>
                                        </p:tgtEl>
                                      </p:cBhvr>
                                    </p:animEffect>
                                  </p:childTnLst>
                                </p:cTn>
                              </p:par>
                            </p:childTnLst>
                          </p:cTn>
                        </p:par>
                        <p:par>
                          <p:cTn fill="hold" id="80" nodeType="afterGroup">
                            <p:stCondLst>
                              <p:cond delay="9200"/>
                            </p:stCondLst>
                            <p:childTnLst>
                              <p:par>
                                <p:cTn fill="hold" grpId="0" id="81" nodeType="afterEffect" presetClass="entr" presetID="2" presetSubtype="2">
                                  <p:stCondLst>
                                    <p:cond delay="100"/>
                                  </p:stCondLst>
                                  <p:childTnLst>
                                    <p:set>
                                      <p:cBhvr>
                                        <p:cTn dur="1" fill="hold" id="82">
                                          <p:stCondLst>
                                            <p:cond delay="0"/>
                                          </p:stCondLst>
                                        </p:cTn>
                                        <p:tgtEl>
                                          <p:spTgt spid="97"/>
                                        </p:tgtEl>
                                        <p:attrNameLst>
                                          <p:attrName>style.visibility</p:attrName>
                                        </p:attrNameLst>
                                      </p:cBhvr>
                                      <p:to>
                                        <p:strVal val="visible"/>
                                      </p:to>
                                    </p:set>
                                    <p:anim calcmode="lin" valueType="num">
                                      <p:cBhvr>
                                        <p:cTn dur="500" fill="hold" id="83"/>
                                        <p:tgtEl>
                                          <p:spTgt spid="97"/>
                                        </p:tgtEl>
                                        <p:attrNameLst>
                                          <p:attrName>ppt_x</p:attrName>
                                        </p:attrNameLst>
                                      </p:cBhvr>
                                      <p:tavLst>
                                        <p:tav tm="0">
                                          <p:val>
                                            <p:strVal val="1+#ppt_w/2"/>
                                          </p:val>
                                        </p:tav>
                                        <p:tav tm="100000">
                                          <p:val>
                                            <p:strVal val="#ppt_x"/>
                                          </p:val>
                                        </p:tav>
                                      </p:tavLst>
                                    </p:anim>
                                    <p:anim calcmode="lin" valueType="num">
                                      <p:cBhvr>
                                        <p:cTn dur="500" fill="hold" id="84"/>
                                        <p:tgtEl>
                                          <p:spTgt spid="97"/>
                                        </p:tgtEl>
                                        <p:attrNameLst>
                                          <p:attrName>ppt_y</p:attrName>
                                        </p:attrNameLst>
                                      </p:cBhvr>
                                      <p:tavLst>
                                        <p:tav tm="0">
                                          <p:val>
                                            <p:strVal val="#ppt_y"/>
                                          </p:val>
                                        </p:tav>
                                        <p:tav tm="100000">
                                          <p:val>
                                            <p:strVal val="#ppt_y"/>
                                          </p:val>
                                        </p:tav>
                                      </p:tavLst>
                                    </p:anim>
                                  </p:childTnLst>
                                </p:cTn>
                              </p:par>
                            </p:childTnLst>
                          </p:cTn>
                        </p:par>
                        <p:par>
                          <p:cTn fill="hold" id="85" nodeType="afterGroup">
                            <p:stCondLst>
                              <p:cond delay="9800"/>
                            </p:stCondLst>
                            <p:childTnLst>
                              <p:par>
                                <p:cTn fill="hold" grpId="0" id="86" nodeType="afterEffect" presetClass="entr" presetID="2" presetSubtype="2">
                                  <p:stCondLst>
                                    <p:cond delay="0"/>
                                  </p:stCondLst>
                                  <p:childTnLst>
                                    <p:set>
                                      <p:cBhvr>
                                        <p:cTn dur="1" fill="hold" id="87">
                                          <p:stCondLst>
                                            <p:cond delay="0"/>
                                          </p:stCondLst>
                                        </p:cTn>
                                        <p:tgtEl>
                                          <p:spTgt spid="96"/>
                                        </p:tgtEl>
                                        <p:attrNameLst>
                                          <p:attrName>style.visibility</p:attrName>
                                        </p:attrNameLst>
                                      </p:cBhvr>
                                      <p:to>
                                        <p:strVal val="visible"/>
                                      </p:to>
                                    </p:set>
                                    <p:anim calcmode="lin" valueType="num">
                                      <p:cBhvr>
                                        <p:cTn dur="500" fill="hold" id="88"/>
                                        <p:tgtEl>
                                          <p:spTgt spid="96"/>
                                        </p:tgtEl>
                                        <p:attrNameLst>
                                          <p:attrName>ppt_x</p:attrName>
                                        </p:attrNameLst>
                                      </p:cBhvr>
                                      <p:tavLst>
                                        <p:tav tm="0">
                                          <p:val>
                                            <p:strVal val="1+#ppt_w/2"/>
                                          </p:val>
                                        </p:tav>
                                        <p:tav tm="100000">
                                          <p:val>
                                            <p:strVal val="#ppt_x"/>
                                          </p:val>
                                        </p:tav>
                                      </p:tavLst>
                                    </p:anim>
                                    <p:anim calcmode="lin" valueType="num">
                                      <p:cBhvr>
                                        <p:cTn dur="500" fill="hold" id="89"/>
                                        <p:tgtEl>
                                          <p:spTgt spid="96"/>
                                        </p:tgtEl>
                                        <p:attrNameLst>
                                          <p:attrName>ppt_y</p:attrName>
                                        </p:attrNameLst>
                                      </p:cBhvr>
                                      <p:tavLst>
                                        <p:tav tm="0">
                                          <p:val>
                                            <p:strVal val="#ppt_y"/>
                                          </p:val>
                                        </p:tav>
                                        <p:tav tm="100000">
                                          <p:val>
                                            <p:strVal val="#ppt_y"/>
                                          </p:val>
                                        </p:tav>
                                      </p:tavLst>
                                    </p:anim>
                                  </p:childTnLst>
                                </p:cTn>
                              </p:par>
                            </p:childTnLst>
                          </p:cTn>
                        </p:par>
                        <p:par>
                          <p:cTn fill="hold" id="90" nodeType="afterGroup">
                            <p:stCondLst>
                              <p:cond delay="10300"/>
                            </p:stCondLst>
                            <p:childTnLst>
                              <p:par>
                                <p:cTn fill="hold" id="91" nodeType="afterEffect" presetClass="entr" presetID="9" presetSubtype="0">
                                  <p:stCondLst>
                                    <p:cond delay="100"/>
                                  </p:stCondLst>
                                  <p:childTnLst>
                                    <p:set>
                                      <p:cBhvr>
                                        <p:cTn dur="1" fill="hold" id="92">
                                          <p:stCondLst>
                                            <p:cond delay="0"/>
                                          </p:stCondLst>
                                        </p:cTn>
                                        <p:tgtEl>
                                          <p:spTgt spid="98"/>
                                        </p:tgtEl>
                                        <p:attrNameLst>
                                          <p:attrName>style.visibility</p:attrName>
                                        </p:attrNameLst>
                                      </p:cBhvr>
                                      <p:to>
                                        <p:strVal val="visible"/>
                                      </p:to>
                                    </p:set>
                                    <p:animEffect filter="dissolve" transition="in">
                                      <p:cBhvr>
                                        <p:cTn dur="500" id="93"/>
                                        <p:tgtEl>
                                          <p:spTgt spid="98"/>
                                        </p:tgtEl>
                                      </p:cBhvr>
                                    </p:animEffect>
                                  </p:childTnLst>
                                </p:cTn>
                              </p:par>
                            </p:childTnLst>
                          </p:cTn>
                        </p:par>
                        <p:par>
                          <p:cTn fill="hold" id="94" nodeType="afterGroup">
                            <p:stCondLst>
                              <p:cond delay="10900"/>
                            </p:stCondLst>
                            <p:childTnLst>
                              <p:par>
                                <p:cTn fill="hold" grpId="0" id="95" nodeType="afterEffect" presetClass="entr" presetID="2" presetSubtype="8">
                                  <p:stCondLst>
                                    <p:cond delay="100"/>
                                  </p:stCondLst>
                                  <p:childTnLst>
                                    <p:set>
                                      <p:cBhvr>
                                        <p:cTn dur="1" fill="hold" id="96">
                                          <p:stCondLst>
                                            <p:cond delay="0"/>
                                          </p:stCondLst>
                                        </p:cTn>
                                        <p:tgtEl>
                                          <p:spTgt spid="100"/>
                                        </p:tgtEl>
                                        <p:attrNameLst>
                                          <p:attrName>style.visibility</p:attrName>
                                        </p:attrNameLst>
                                      </p:cBhvr>
                                      <p:to>
                                        <p:strVal val="visible"/>
                                      </p:to>
                                    </p:set>
                                    <p:anim calcmode="lin" valueType="num">
                                      <p:cBhvr>
                                        <p:cTn dur="500" fill="hold" id="97"/>
                                        <p:tgtEl>
                                          <p:spTgt spid="100"/>
                                        </p:tgtEl>
                                        <p:attrNameLst>
                                          <p:attrName>ppt_x</p:attrName>
                                        </p:attrNameLst>
                                      </p:cBhvr>
                                      <p:tavLst>
                                        <p:tav tm="0">
                                          <p:val>
                                            <p:strVal val="0-#ppt_w/2"/>
                                          </p:val>
                                        </p:tav>
                                        <p:tav tm="100000">
                                          <p:val>
                                            <p:strVal val="#ppt_x"/>
                                          </p:val>
                                        </p:tav>
                                      </p:tavLst>
                                    </p:anim>
                                    <p:anim calcmode="lin" valueType="num">
                                      <p:cBhvr>
                                        <p:cTn dur="500" fill="hold" id="98"/>
                                        <p:tgtEl>
                                          <p:spTgt spid="100"/>
                                        </p:tgtEl>
                                        <p:attrNameLst>
                                          <p:attrName>ppt_y</p:attrName>
                                        </p:attrNameLst>
                                      </p:cBhvr>
                                      <p:tavLst>
                                        <p:tav tm="0">
                                          <p:val>
                                            <p:strVal val="#ppt_y"/>
                                          </p:val>
                                        </p:tav>
                                        <p:tav tm="100000">
                                          <p:val>
                                            <p:strVal val="#ppt_y"/>
                                          </p:val>
                                        </p:tav>
                                      </p:tavLst>
                                    </p:anim>
                                  </p:childTnLst>
                                </p:cTn>
                              </p:par>
                            </p:childTnLst>
                          </p:cTn>
                        </p:par>
                        <p:par>
                          <p:cTn fill="hold" id="99" nodeType="afterGroup">
                            <p:stCondLst>
                              <p:cond delay="11500"/>
                            </p:stCondLst>
                            <p:childTnLst>
                              <p:par>
                                <p:cTn fill="hold" grpId="0" id="100" nodeType="afterEffect" presetClass="entr" presetID="2" presetSubtype="8">
                                  <p:stCondLst>
                                    <p:cond delay="0"/>
                                  </p:stCondLst>
                                  <p:childTnLst>
                                    <p:set>
                                      <p:cBhvr>
                                        <p:cTn dur="1" fill="hold" id="101">
                                          <p:stCondLst>
                                            <p:cond delay="0"/>
                                          </p:stCondLst>
                                        </p:cTn>
                                        <p:tgtEl>
                                          <p:spTgt spid="99"/>
                                        </p:tgtEl>
                                        <p:attrNameLst>
                                          <p:attrName>style.visibility</p:attrName>
                                        </p:attrNameLst>
                                      </p:cBhvr>
                                      <p:to>
                                        <p:strVal val="visible"/>
                                      </p:to>
                                    </p:set>
                                    <p:anim calcmode="lin" valueType="num">
                                      <p:cBhvr>
                                        <p:cTn dur="500" fill="hold" id="102"/>
                                        <p:tgtEl>
                                          <p:spTgt spid="99"/>
                                        </p:tgtEl>
                                        <p:attrNameLst>
                                          <p:attrName>ppt_x</p:attrName>
                                        </p:attrNameLst>
                                      </p:cBhvr>
                                      <p:tavLst>
                                        <p:tav tm="0">
                                          <p:val>
                                            <p:strVal val="0-#ppt_w/2"/>
                                          </p:val>
                                        </p:tav>
                                        <p:tav tm="100000">
                                          <p:val>
                                            <p:strVal val="#ppt_x"/>
                                          </p:val>
                                        </p:tav>
                                      </p:tavLst>
                                    </p:anim>
                                    <p:anim calcmode="lin" valueType="num">
                                      <p:cBhvr>
                                        <p:cTn dur="500" fill="hold" id="103"/>
                                        <p:tgtEl>
                                          <p:spTgt spid="99"/>
                                        </p:tgtEl>
                                        <p:attrNameLst>
                                          <p:attrName>ppt_y</p:attrName>
                                        </p:attrNameLst>
                                      </p:cBhvr>
                                      <p:tavLst>
                                        <p:tav tm="0">
                                          <p:val>
                                            <p:strVal val="#ppt_y"/>
                                          </p:val>
                                        </p:tav>
                                        <p:tav tm="100000">
                                          <p:val>
                                            <p:strVal val="#ppt_y"/>
                                          </p:val>
                                        </p:tav>
                                      </p:tavLst>
                                    </p:anim>
                                  </p:childTnLst>
                                </p:cTn>
                              </p:par>
                            </p:childTnLst>
                          </p:cTn>
                        </p:par>
                        <p:par>
                          <p:cTn fill="hold" id="104" nodeType="afterGroup">
                            <p:stCondLst>
                              <p:cond delay="12000"/>
                            </p:stCondLst>
                            <p:childTnLst>
                              <p:par>
                                <p:cTn fill="hold" id="105" nodeType="afterEffect" presetClass="entr" presetID="9" presetSubtype="0">
                                  <p:stCondLst>
                                    <p:cond delay="100"/>
                                  </p:stCondLst>
                                  <p:childTnLst>
                                    <p:set>
                                      <p:cBhvr>
                                        <p:cTn dur="1" fill="hold" id="106">
                                          <p:stCondLst>
                                            <p:cond delay="0"/>
                                          </p:stCondLst>
                                        </p:cTn>
                                        <p:tgtEl>
                                          <p:spTgt spid="101"/>
                                        </p:tgtEl>
                                        <p:attrNameLst>
                                          <p:attrName>style.visibility</p:attrName>
                                        </p:attrNameLst>
                                      </p:cBhvr>
                                      <p:to>
                                        <p:strVal val="visible"/>
                                      </p:to>
                                    </p:set>
                                    <p:animEffect filter="dissolve" transition="in">
                                      <p:cBhvr>
                                        <p:cTn dur="500" id="107"/>
                                        <p:tgtEl>
                                          <p:spTgt spid="101"/>
                                        </p:tgtEl>
                                      </p:cBhvr>
                                    </p:animEffect>
                                  </p:childTnLst>
                                </p:cTn>
                              </p:par>
                            </p:childTnLst>
                          </p:cTn>
                        </p:par>
                        <p:par>
                          <p:cTn fill="hold" id="108" nodeType="afterGroup">
                            <p:stCondLst>
                              <p:cond delay="12600"/>
                            </p:stCondLst>
                            <p:childTnLst>
                              <p:par>
                                <p:cTn fill="hold" grpId="0" id="109" nodeType="afterEffect" presetClass="entr" presetID="2" presetSubtype="8">
                                  <p:stCondLst>
                                    <p:cond delay="100"/>
                                  </p:stCondLst>
                                  <p:childTnLst>
                                    <p:set>
                                      <p:cBhvr>
                                        <p:cTn dur="1" fill="hold" id="110">
                                          <p:stCondLst>
                                            <p:cond delay="0"/>
                                          </p:stCondLst>
                                        </p:cTn>
                                        <p:tgtEl>
                                          <p:spTgt spid="103"/>
                                        </p:tgtEl>
                                        <p:attrNameLst>
                                          <p:attrName>style.visibility</p:attrName>
                                        </p:attrNameLst>
                                      </p:cBhvr>
                                      <p:to>
                                        <p:strVal val="visible"/>
                                      </p:to>
                                    </p:set>
                                    <p:anim calcmode="lin" valueType="num">
                                      <p:cBhvr>
                                        <p:cTn dur="500" fill="hold" id="111"/>
                                        <p:tgtEl>
                                          <p:spTgt spid="103"/>
                                        </p:tgtEl>
                                        <p:attrNameLst>
                                          <p:attrName>ppt_x</p:attrName>
                                        </p:attrNameLst>
                                      </p:cBhvr>
                                      <p:tavLst>
                                        <p:tav tm="0">
                                          <p:val>
                                            <p:strVal val="0-#ppt_w/2"/>
                                          </p:val>
                                        </p:tav>
                                        <p:tav tm="100000">
                                          <p:val>
                                            <p:strVal val="#ppt_x"/>
                                          </p:val>
                                        </p:tav>
                                      </p:tavLst>
                                    </p:anim>
                                    <p:anim calcmode="lin" valueType="num">
                                      <p:cBhvr>
                                        <p:cTn dur="500" fill="hold" id="112"/>
                                        <p:tgtEl>
                                          <p:spTgt spid="103"/>
                                        </p:tgtEl>
                                        <p:attrNameLst>
                                          <p:attrName>ppt_y</p:attrName>
                                        </p:attrNameLst>
                                      </p:cBhvr>
                                      <p:tavLst>
                                        <p:tav tm="0">
                                          <p:val>
                                            <p:strVal val="#ppt_y"/>
                                          </p:val>
                                        </p:tav>
                                        <p:tav tm="100000">
                                          <p:val>
                                            <p:strVal val="#ppt_y"/>
                                          </p:val>
                                        </p:tav>
                                      </p:tavLst>
                                    </p:anim>
                                  </p:childTnLst>
                                </p:cTn>
                              </p:par>
                            </p:childTnLst>
                          </p:cTn>
                        </p:par>
                        <p:par>
                          <p:cTn fill="hold" id="113" nodeType="afterGroup">
                            <p:stCondLst>
                              <p:cond delay="13200"/>
                            </p:stCondLst>
                            <p:childTnLst>
                              <p:par>
                                <p:cTn fill="hold" grpId="0" id="114" nodeType="afterEffect" presetClass="entr" presetID="2" presetSubtype="8">
                                  <p:stCondLst>
                                    <p:cond delay="0"/>
                                  </p:stCondLst>
                                  <p:childTnLst>
                                    <p:set>
                                      <p:cBhvr>
                                        <p:cTn dur="1" fill="hold" id="115">
                                          <p:stCondLst>
                                            <p:cond delay="0"/>
                                          </p:stCondLst>
                                        </p:cTn>
                                        <p:tgtEl>
                                          <p:spTgt spid="102"/>
                                        </p:tgtEl>
                                        <p:attrNameLst>
                                          <p:attrName>style.visibility</p:attrName>
                                        </p:attrNameLst>
                                      </p:cBhvr>
                                      <p:to>
                                        <p:strVal val="visible"/>
                                      </p:to>
                                    </p:set>
                                    <p:anim calcmode="lin" valueType="num">
                                      <p:cBhvr>
                                        <p:cTn dur="500" fill="hold" id="116"/>
                                        <p:tgtEl>
                                          <p:spTgt spid="102"/>
                                        </p:tgtEl>
                                        <p:attrNameLst>
                                          <p:attrName>ppt_x</p:attrName>
                                        </p:attrNameLst>
                                      </p:cBhvr>
                                      <p:tavLst>
                                        <p:tav tm="0">
                                          <p:val>
                                            <p:strVal val="0-#ppt_w/2"/>
                                          </p:val>
                                        </p:tav>
                                        <p:tav tm="100000">
                                          <p:val>
                                            <p:strVal val="#ppt_x"/>
                                          </p:val>
                                        </p:tav>
                                      </p:tavLst>
                                    </p:anim>
                                    <p:anim calcmode="lin" valueType="num">
                                      <p:cBhvr>
                                        <p:cTn dur="500" fill="hold" id="117"/>
                                        <p:tgtEl>
                                          <p:spTgt spid="102"/>
                                        </p:tgtEl>
                                        <p:attrNameLst>
                                          <p:attrName>ppt_y</p:attrName>
                                        </p:attrNameLst>
                                      </p:cBhvr>
                                      <p:tavLst>
                                        <p:tav tm="0">
                                          <p:val>
                                            <p:strVal val="#ppt_y"/>
                                          </p:val>
                                        </p:tav>
                                        <p:tav tm="100000">
                                          <p:val>
                                            <p:strVal val="#ppt_y"/>
                                          </p:val>
                                        </p:tav>
                                      </p:tavLst>
                                    </p:anim>
                                  </p:childTnLst>
                                </p:cTn>
                              </p:par>
                            </p:childTnLst>
                          </p:cTn>
                        </p:par>
                        <p:par>
                          <p:cTn fill="hold" id="118" nodeType="afterGroup">
                            <p:stCondLst>
                              <p:cond delay="13700"/>
                            </p:stCondLst>
                            <p:childTnLst>
                              <p:par>
                                <p:cTn fill="hold" id="119" nodeType="afterEffect" presetClass="entr" presetID="9" presetSubtype="0">
                                  <p:stCondLst>
                                    <p:cond delay="100"/>
                                  </p:stCondLst>
                                  <p:childTnLst>
                                    <p:set>
                                      <p:cBhvr>
                                        <p:cTn dur="1" fill="hold" id="120">
                                          <p:stCondLst>
                                            <p:cond delay="0"/>
                                          </p:stCondLst>
                                        </p:cTn>
                                        <p:tgtEl>
                                          <p:spTgt spid="104"/>
                                        </p:tgtEl>
                                        <p:attrNameLst>
                                          <p:attrName>style.visibility</p:attrName>
                                        </p:attrNameLst>
                                      </p:cBhvr>
                                      <p:to>
                                        <p:strVal val="visible"/>
                                      </p:to>
                                    </p:set>
                                    <p:animEffect filter="dissolve" transition="in">
                                      <p:cBhvr>
                                        <p:cTn dur="500" id="121"/>
                                        <p:tgtEl>
                                          <p:spTgt spid="104"/>
                                        </p:tgtEl>
                                      </p:cBhvr>
                                    </p:animEffect>
                                  </p:childTnLst>
                                </p:cTn>
                              </p:par>
                            </p:childTnLst>
                          </p:cTn>
                        </p:par>
                        <p:par>
                          <p:cTn fill="hold" id="122" nodeType="afterGroup">
                            <p:stCondLst>
                              <p:cond delay="14300"/>
                            </p:stCondLst>
                            <p:childTnLst>
                              <p:par>
                                <p:cTn fill="hold" grpId="0" id="123" nodeType="afterEffect" presetClass="entr" presetID="2" presetSubtype="8">
                                  <p:stCondLst>
                                    <p:cond delay="100"/>
                                  </p:stCondLst>
                                  <p:childTnLst>
                                    <p:set>
                                      <p:cBhvr>
                                        <p:cTn dur="1" fill="hold" id="124">
                                          <p:stCondLst>
                                            <p:cond delay="0"/>
                                          </p:stCondLst>
                                        </p:cTn>
                                        <p:tgtEl>
                                          <p:spTgt spid="106"/>
                                        </p:tgtEl>
                                        <p:attrNameLst>
                                          <p:attrName>style.visibility</p:attrName>
                                        </p:attrNameLst>
                                      </p:cBhvr>
                                      <p:to>
                                        <p:strVal val="visible"/>
                                      </p:to>
                                    </p:set>
                                    <p:anim calcmode="lin" valueType="num">
                                      <p:cBhvr>
                                        <p:cTn dur="500" fill="hold" id="125"/>
                                        <p:tgtEl>
                                          <p:spTgt spid="106"/>
                                        </p:tgtEl>
                                        <p:attrNameLst>
                                          <p:attrName>ppt_x</p:attrName>
                                        </p:attrNameLst>
                                      </p:cBhvr>
                                      <p:tavLst>
                                        <p:tav tm="0">
                                          <p:val>
                                            <p:strVal val="0-#ppt_w/2"/>
                                          </p:val>
                                        </p:tav>
                                        <p:tav tm="100000">
                                          <p:val>
                                            <p:strVal val="#ppt_x"/>
                                          </p:val>
                                        </p:tav>
                                      </p:tavLst>
                                    </p:anim>
                                    <p:anim calcmode="lin" valueType="num">
                                      <p:cBhvr>
                                        <p:cTn dur="500" fill="hold" id="126"/>
                                        <p:tgtEl>
                                          <p:spTgt spid="106"/>
                                        </p:tgtEl>
                                        <p:attrNameLst>
                                          <p:attrName>ppt_y</p:attrName>
                                        </p:attrNameLst>
                                      </p:cBhvr>
                                      <p:tavLst>
                                        <p:tav tm="0">
                                          <p:val>
                                            <p:strVal val="#ppt_y"/>
                                          </p:val>
                                        </p:tav>
                                        <p:tav tm="100000">
                                          <p:val>
                                            <p:strVal val="#ppt_y"/>
                                          </p:val>
                                        </p:tav>
                                      </p:tavLst>
                                    </p:anim>
                                  </p:childTnLst>
                                </p:cTn>
                              </p:par>
                            </p:childTnLst>
                          </p:cTn>
                        </p:par>
                        <p:par>
                          <p:cTn fill="hold" id="127" nodeType="afterGroup">
                            <p:stCondLst>
                              <p:cond delay="14900"/>
                            </p:stCondLst>
                            <p:childTnLst>
                              <p:par>
                                <p:cTn fill="hold" grpId="0" id="128" nodeType="afterEffect" presetClass="entr" presetID="2" presetSubtype="8">
                                  <p:stCondLst>
                                    <p:cond delay="0"/>
                                  </p:stCondLst>
                                  <p:childTnLst>
                                    <p:set>
                                      <p:cBhvr>
                                        <p:cTn dur="1" fill="hold" id="129">
                                          <p:stCondLst>
                                            <p:cond delay="0"/>
                                          </p:stCondLst>
                                        </p:cTn>
                                        <p:tgtEl>
                                          <p:spTgt spid="105"/>
                                        </p:tgtEl>
                                        <p:attrNameLst>
                                          <p:attrName>style.visibility</p:attrName>
                                        </p:attrNameLst>
                                      </p:cBhvr>
                                      <p:to>
                                        <p:strVal val="visible"/>
                                      </p:to>
                                    </p:set>
                                    <p:anim calcmode="lin" valueType="num">
                                      <p:cBhvr>
                                        <p:cTn dur="500" fill="hold" id="130"/>
                                        <p:tgtEl>
                                          <p:spTgt spid="105"/>
                                        </p:tgtEl>
                                        <p:attrNameLst>
                                          <p:attrName>ppt_x</p:attrName>
                                        </p:attrNameLst>
                                      </p:cBhvr>
                                      <p:tavLst>
                                        <p:tav tm="0">
                                          <p:val>
                                            <p:strVal val="0-#ppt_w/2"/>
                                          </p:val>
                                        </p:tav>
                                        <p:tav tm="100000">
                                          <p:val>
                                            <p:strVal val="#ppt_x"/>
                                          </p:val>
                                        </p:tav>
                                      </p:tavLst>
                                    </p:anim>
                                    <p:anim calcmode="lin" valueType="num">
                                      <p:cBhvr>
                                        <p:cTn dur="500" fill="hold" id="131"/>
                                        <p:tgtEl>
                                          <p:spTgt spid="105"/>
                                        </p:tgtEl>
                                        <p:attrNameLst>
                                          <p:attrName>ppt_y</p:attrName>
                                        </p:attrNameLst>
                                      </p:cBhvr>
                                      <p:tavLst>
                                        <p:tav tm="0">
                                          <p:val>
                                            <p:strVal val="#ppt_y"/>
                                          </p:val>
                                        </p:tav>
                                        <p:tav tm="100000">
                                          <p:val>
                                            <p:strVal val="#ppt_y"/>
                                          </p:val>
                                        </p:tav>
                                      </p:tavLst>
                                    </p:anim>
                                  </p:childTnLst>
                                </p:cTn>
                              </p:par>
                            </p:childTnLst>
                          </p:cTn>
                        </p:par>
                        <p:par>
                          <p:cTn fill="hold" id="132" nodeType="afterGroup">
                            <p:stCondLst>
                              <p:cond delay="15400"/>
                            </p:stCondLst>
                            <p:childTnLst>
                              <p:par>
                                <p:cTn fill="hold" id="133" nodeType="afterEffect" presetClass="entr" presetID="9" presetSubtype="0">
                                  <p:stCondLst>
                                    <p:cond delay="100"/>
                                  </p:stCondLst>
                                  <p:childTnLst>
                                    <p:set>
                                      <p:cBhvr>
                                        <p:cTn dur="1" fill="hold" id="134">
                                          <p:stCondLst>
                                            <p:cond delay="0"/>
                                          </p:stCondLst>
                                        </p:cTn>
                                        <p:tgtEl>
                                          <p:spTgt spid="107"/>
                                        </p:tgtEl>
                                        <p:attrNameLst>
                                          <p:attrName>style.visibility</p:attrName>
                                        </p:attrNameLst>
                                      </p:cBhvr>
                                      <p:to>
                                        <p:strVal val="visible"/>
                                      </p:to>
                                    </p:set>
                                    <p:animEffect filter="dissolve" transition="in">
                                      <p:cBhvr>
                                        <p:cTn dur="500" id="135"/>
                                        <p:tgtEl>
                                          <p:spTgt spid="10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0"/>
      <p:bldP grpId="0" spid="91"/>
      <p:bldP grpId="0" spid="93"/>
      <p:bldP grpId="0" spid="94"/>
      <p:bldP grpId="0" spid="96"/>
      <p:bldP grpId="0" spid="97"/>
      <p:bldP grpId="0" spid="99"/>
      <p:bldP grpId="0" spid="100"/>
      <p:bldP grpId="0" spid="102"/>
      <p:bldP grpId="0" spid="103"/>
      <p:bldP grpId="0" spid="105"/>
      <p:bldP grpId="0" spid="106"/>
      <p:bldP grpId="0" spid="46"/>
      <p:bldP grpId="0" spid="49"/>
    </p:bldLst>
  </p:timing>
  <p:extLst mod="1">
    <p:ext uri="{E180D4A7-C9FB-4DFB-919C-405C955672EB}">
      <p14:showEvtLst>
        <p14:playEvt objId="54" time="1316"/>
        <p14:stopEvt objId="54" time="2065"/>
      </p14:showEvtLst>
    </p:ext>
  </p:extLst>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1" name="Text Placeholder 3"/>
          <p:cNvSpPr txBox="1">
            <a:spLocks noChangeArrowheads="1"/>
          </p:cNvSpPr>
          <p:nvPr/>
        </p:nvSpPr>
        <p:spPr bwMode="auto">
          <a:xfrm>
            <a:off x="1519476" y="1532069"/>
            <a:ext cx="593725" cy="76809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algn="ctr" eaLnBrk="1" hangingPunct="1">
              <a:lnSpc>
                <a:spcPct val="120000"/>
              </a:lnSpc>
              <a:spcBef>
                <a:spcPct val="20000"/>
              </a:spcBef>
            </a:pPr>
            <a:r>
              <a:rPr altLang="en-US" b="1" lang="en-US" sz="4200">
                <a:solidFill>
                  <a:srgbClr val="00A4E3"/>
                </a:solidFill>
                <a:latin charset="0" pitchFamily="34" typeface="Arial"/>
                <a:ea charset="-122" panose="020b0503020204020204" pitchFamily="34" typeface="微软雅黑"/>
                <a:sym charset="0" pitchFamily="34" typeface="Arial"/>
              </a:rPr>
              <a:t>01</a:t>
            </a:r>
          </a:p>
        </p:txBody>
      </p:sp>
      <p:sp>
        <p:nvSpPr>
          <p:cNvPr id="42" name="Text Placeholder 3"/>
          <p:cNvSpPr txBox="1">
            <a:spLocks noChangeArrowheads="1"/>
          </p:cNvSpPr>
          <p:nvPr/>
        </p:nvSpPr>
        <p:spPr bwMode="auto">
          <a:xfrm>
            <a:off x="3563065" y="1532069"/>
            <a:ext cx="593725" cy="76809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algn="ctr" eaLnBrk="1" hangingPunct="1">
              <a:lnSpc>
                <a:spcPct val="120000"/>
              </a:lnSpc>
              <a:spcBef>
                <a:spcPct val="20000"/>
              </a:spcBef>
            </a:pPr>
            <a:r>
              <a:rPr altLang="en-US" b="1" lang="en-US" sz="4200">
                <a:solidFill>
                  <a:srgbClr val="00A4E3"/>
                </a:solidFill>
                <a:latin charset="0" pitchFamily="34" typeface="Arial"/>
                <a:ea charset="-122" panose="020b0503020204020204" pitchFamily="34" typeface="微软雅黑"/>
                <a:sym charset="0" pitchFamily="34" typeface="Arial"/>
              </a:rPr>
              <a:t>02</a:t>
            </a:r>
          </a:p>
        </p:txBody>
      </p:sp>
      <p:sp>
        <p:nvSpPr>
          <p:cNvPr id="43" name="Text Placeholder 3"/>
          <p:cNvSpPr txBox="1"/>
          <p:nvPr/>
        </p:nvSpPr>
        <p:spPr>
          <a:xfrm>
            <a:off x="5692220" y="1532069"/>
            <a:ext cx="593725" cy="768096"/>
          </a:xfrm>
          <a:prstGeom prst="rect">
            <a:avLst/>
          </a:prstGeom>
        </p:spPr>
        <p:txBody>
          <a:bodyPr anchor="ctr" bIns="0" lIns="0" rIns="0" tIns="0" wrap="none">
            <a:spAutoFit/>
          </a:bodyPr>
          <a:lstStyle>
            <a:lvl1pPr algn="ctr" indent="0" marL="0">
              <a:buNone/>
              <a:defRPr b="1" baseline="0" sz="2800">
                <a:solidFill>
                  <a:schemeClr val="tx2">
                    <a:lumMod val="60000"/>
                    <a:lumOff val="40000"/>
                  </a:schemeClr>
                </a:solidFill>
              </a:defRPr>
            </a:lvl1pPr>
            <a:lvl2pPr indent="0" marL="457200">
              <a:buNone/>
              <a:defRPr sz="1200"/>
            </a:lvl2pPr>
            <a:lvl3pPr indent="0" marL="914400">
              <a:buNone/>
              <a:defRPr sz="1000"/>
            </a:lvl3pPr>
            <a:lvl4pPr indent="0" marL="1371600">
              <a:buNone/>
              <a:defRPr sz="900"/>
            </a:lvl4pPr>
            <a:lvl5pPr indent="0" marL="1828800">
              <a:buNone/>
              <a:defRPr sz="900"/>
            </a:lvl5pPr>
            <a:lvl6pPr indent="0" marL="2286000">
              <a:buNone/>
              <a:defRPr sz="900"/>
            </a:lvl6pPr>
            <a:lvl7pPr indent="0" marL="2743200">
              <a:buNone/>
              <a:defRPr sz="900"/>
            </a:lvl7pPr>
            <a:lvl8pPr indent="0" marL="3200400">
              <a:buNone/>
              <a:defRPr sz="900"/>
            </a:lvl8pPr>
            <a:lvl9pPr indent="0" marL="3657600">
              <a:buNone/>
              <a:defRPr sz="900"/>
            </a:lvl9pPr>
          </a:lstStyle>
          <a:p>
            <a:pPr defTabSz="693119" eaLnBrk="1" hangingPunct="1">
              <a:lnSpc>
                <a:spcPct val="120000"/>
              </a:lnSpc>
              <a:spcBef>
                <a:spcPct val="20000"/>
              </a:spcBef>
              <a:defRPr/>
            </a:pPr>
            <a:r>
              <a:rPr lang="en-US" noProof="1" sz="4200">
                <a:solidFill>
                  <a:srgbClr val="00A4E3"/>
                </a:solidFill>
                <a:latin charset="0" pitchFamily="34" typeface="Arial"/>
                <a:ea charset="-122" panose="020b0503020204020204" pitchFamily="34" typeface="微软雅黑"/>
                <a:cs typeface="+mn-ea"/>
                <a:sym charset="0" pitchFamily="34" typeface="Arial"/>
              </a:rPr>
              <a:t>03</a:t>
            </a:r>
          </a:p>
        </p:txBody>
      </p:sp>
      <p:sp>
        <p:nvSpPr>
          <p:cNvPr id="44" name="Freeform 11"/>
          <p:cNvSpPr>
            <a:spLocks noChangeArrowheads="1" noEditPoints="1"/>
          </p:cNvSpPr>
          <p:nvPr/>
        </p:nvSpPr>
        <p:spPr bwMode="auto">
          <a:xfrm>
            <a:off x="3538220" y="2159502"/>
            <a:ext cx="643414" cy="589659"/>
          </a:xfrm>
          <a:custGeom>
            <a:gdLst>
              <a:gd fmla="*/ 919163 w 102" name="T0"/>
              <a:gd fmla="*/ 378062 h 94" name="T1"/>
              <a:gd fmla="*/ 919163 w 102" name="T2"/>
              <a:gd fmla="*/ 369060 h 94" name="T3"/>
              <a:gd fmla="*/ 919163 w 102" name="T4"/>
              <a:gd fmla="*/ 369060 h 94" name="T5"/>
              <a:gd fmla="*/ 919163 w 102" name="T6"/>
              <a:gd fmla="*/ 369060 h 94" name="T7"/>
              <a:gd fmla="*/ 774981 w 102" name="T8"/>
              <a:gd fmla="*/ 315051 h 94" name="T9"/>
              <a:gd fmla="*/ 901140 w 102" name="T10"/>
              <a:gd fmla="*/ 117019 h 94" name="T11"/>
              <a:gd fmla="*/ 892129 w 102" name="T12"/>
              <a:gd fmla="*/ 36006 h 94" name="T13"/>
              <a:gd fmla="*/ 874106 w 102" name="T14"/>
              <a:gd fmla="*/ 18003 h 94" name="T15"/>
              <a:gd fmla="*/ 793003 w 102" name="T16"/>
              <a:gd fmla="*/ 27004 h 94" name="T17"/>
              <a:gd fmla="*/ 513650 w 102" name="T18"/>
              <a:gd fmla="*/ 288047 h 94" name="T19"/>
              <a:gd fmla="*/ 459581 w 102" name="T20"/>
              <a:gd fmla="*/ 288047 h 94" name="T21"/>
              <a:gd fmla="*/ 0 w 102" name="T22"/>
              <a:gd fmla="*/ 369060 h 94" name="T23"/>
              <a:gd fmla="*/ 0 w 102" name="T24"/>
              <a:gd fmla="*/ 369060 h 94" name="T25"/>
              <a:gd fmla="*/ 0 w 102" name="T26"/>
              <a:gd fmla="*/ 369060 h 94" name="T27"/>
              <a:gd fmla="*/ 0 w 102" name="T28"/>
              <a:gd fmla="*/ 378062 h 94" name="T29"/>
              <a:gd fmla="*/ 0 w 102" name="T30"/>
              <a:gd fmla="*/ 378062 h 94" name="T31"/>
              <a:gd fmla="*/ 0 w 102" name="T32"/>
              <a:gd fmla="*/ 378062 h 94" name="T33"/>
              <a:gd fmla="*/ 459581 w 102" name="T34"/>
              <a:gd fmla="*/ 846138 h 94" name="T35"/>
              <a:gd fmla="*/ 919163 w 102" name="T36"/>
              <a:gd fmla="*/ 378062 h 94" name="T37"/>
              <a:gd fmla="*/ 919163 w 102" name="T38"/>
              <a:gd fmla="*/ 378062 h 94" name="T39"/>
              <a:gd fmla="*/ 919163 w 102" name="T40"/>
              <a:gd fmla="*/ 378062 h 94" name="T41"/>
              <a:gd fmla="*/ 765969 w 102" name="T42"/>
              <a:gd fmla="*/ 90015 h 94" name="T43"/>
              <a:gd fmla="*/ 793003 w 102" name="T44"/>
              <a:gd fmla="*/ 117019 h 94" name="T45"/>
              <a:gd fmla="*/ 765969 w 102" name="T46"/>
              <a:gd fmla="*/ 135022 h 94" name="T47"/>
              <a:gd fmla="*/ 747946 w 102" name="T48"/>
              <a:gd fmla="*/ 117019 h 94" name="T49"/>
              <a:gd fmla="*/ 765969 w 102" name="T50"/>
              <a:gd fmla="*/ 90015 h 94" name="T51"/>
              <a:gd fmla="*/ 711901 w 102" name="T52"/>
              <a:gd fmla="*/ 144023 h 94" name="T53"/>
              <a:gd fmla="*/ 729924 w 102" name="T54"/>
              <a:gd fmla="*/ 144023 h 94" name="T55"/>
              <a:gd fmla="*/ 729924 w 102" name="T56"/>
              <a:gd fmla="*/ 162026 h 94" name="T57"/>
              <a:gd fmla="*/ 540684 w 102" name="T58"/>
              <a:gd fmla="*/ 360059 h 94" name="T59"/>
              <a:gd fmla="*/ 522661 w 102" name="T60"/>
              <a:gd fmla="*/ 369060 h 94" name="T61"/>
              <a:gd fmla="*/ 513650 w 102" name="T62"/>
              <a:gd fmla="*/ 360059 h 94" name="T63"/>
              <a:gd fmla="*/ 513650 w 102" name="T64"/>
              <a:gd fmla="*/ 342056 h 94" name="T65"/>
              <a:gd fmla="*/ 711901 w 102" name="T66"/>
              <a:gd fmla="*/ 144023 h 94" name="T67"/>
              <a:gd fmla="*/ 459581 w 102" name="T68"/>
              <a:gd fmla="*/ 459075 h 94" name="T69"/>
              <a:gd fmla="*/ 81103 w 102" name="T70"/>
              <a:gd fmla="*/ 396065 h 94" name="T71"/>
              <a:gd fmla="*/ 459581 w 102" name="T72"/>
              <a:gd fmla="*/ 333054 h 94" name="T73"/>
              <a:gd fmla="*/ 468593 w 102" name="T74"/>
              <a:gd fmla="*/ 333054 h 94" name="T75"/>
              <a:gd fmla="*/ 378479 w 102" name="T76"/>
              <a:gd fmla="*/ 423069 h 94" name="T77"/>
              <a:gd fmla="*/ 711901 w 102" name="T78"/>
              <a:gd fmla="*/ 414068 h 94" name="T79"/>
              <a:gd fmla="*/ 747946 w 102" name="T80"/>
              <a:gd fmla="*/ 351057 h 94" name="T81"/>
              <a:gd fmla="*/ 838060 w 102" name="T82"/>
              <a:gd fmla="*/ 396065 h 94" name="T83"/>
              <a:gd fmla="*/ 459581 w 102" name="T84"/>
              <a:gd fmla="*/ 459075 h 94" name="T85"/>
              <a:gd fmla="*/ 459581 w 102" name="T86"/>
              <a:gd fmla="*/ 459075 h 94" name="T87"/>
              <a:gd fmla="*/ 459581 w 102" name="T88"/>
              <a:gd fmla="*/ 459075 h 94"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b="b" l="0" r="r" t="0"/>
            <a:pathLst>
              <a:path h="94" w="102">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a:extLst/>
        </p:spPr>
        <p:txBody>
          <a:bodyPr bIns="34671" lIns="69341" rIns="69341" tIns="34671"/>
          <a:lstStyle/>
          <a:p>
            <a:endParaRPr altLang="en-US" lang="zh-CN"/>
          </a:p>
        </p:txBody>
      </p:sp>
      <p:grpSp>
        <p:nvGrpSpPr>
          <p:cNvPr id="45" name="Group 14"/>
          <p:cNvGrpSpPr>
            <a:grpSpLocks noChangeAspect="1"/>
          </p:cNvGrpSpPr>
          <p:nvPr/>
        </p:nvGrpSpPr>
        <p:grpSpPr>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b="b" l="0" r="r" t="0"/>
              <a:pathLst>
                <a:path h="92" w="10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47" name="Freeform 16"/>
            <p:cNvSpPr>
              <a:spLocks noEditPoints="1"/>
            </p:cNvSpPr>
            <p:nvPr/>
          </p:nvSpPr>
          <p:spPr bwMode="auto">
            <a:xfrm>
              <a:off x="2890" y="1501"/>
              <a:ext cx="229" cy="91"/>
            </a:xfrm>
            <a:custGeom>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b="b" l="0" r="r" t="0"/>
              <a:pathLst>
                <a:path h="19" w="48">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grpSp>
      <p:grpSp>
        <p:nvGrpSpPr>
          <p:cNvPr id="48" name="Group 19"/>
          <p:cNvGrpSpPr>
            <a:grpSpLocks noChangeAspect="1"/>
          </p:cNvGrpSpPr>
          <p:nvPr/>
        </p:nvGrpSpPr>
        <p:grpSpPr>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b="b" l="0" r="r" t="0"/>
              <a:pathLst>
                <a:path h="499" w="547">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0" name="Freeform 21"/>
            <p:cNvSpPr>
              <a:spLocks noEditPoints="1"/>
            </p:cNvSpPr>
            <p:nvPr/>
          </p:nvSpPr>
          <p:spPr bwMode="auto">
            <a:xfrm>
              <a:off x="3211" y="1466"/>
              <a:ext cx="335" cy="103"/>
            </a:xfrm>
            <a:custGeom>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b="b" l="0" r="r" t="0"/>
              <a:pathLst>
                <a:path h="167" w="539">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1" name="Freeform 22"/>
            <p:cNvSpPr>
              <a:spLocks noEditPoints="1"/>
            </p:cNvSpPr>
            <p:nvPr/>
          </p:nvSpPr>
          <p:spPr bwMode="auto">
            <a:xfrm>
              <a:off x="3208" y="1538"/>
              <a:ext cx="340" cy="84"/>
            </a:xfrm>
            <a:custGeom>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b="b" l="0" r="r" t="0"/>
              <a:pathLst>
                <a:path h="136" w="547">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2" name="Freeform 23"/>
            <p:cNvSpPr>
              <a:spLocks noEditPoints="1"/>
            </p:cNvSpPr>
            <p:nvPr/>
          </p:nvSpPr>
          <p:spPr bwMode="auto">
            <a:xfrm>
              <a:off x="3085" y="1705"/>
              <a:ext cx="31" cy="31"/>
            </a:xfrm>
            <a:custGeom>
              <a:cxnLst>
                <a:cxn ang="0">
                  <a:pos x="15" y="44"/>
                </a:cxn>
                <a:cxn ang="0">
                  <a:pos x="45" y="35"/>
                </a:cxn>
                <a:cxn ang="0">
                  <a:pos x="35" y="5"/>
                </a:cxn>
                <a:cxn ang="0">
                  <a:pos x="6" y="15"/>
                </a:cxn>
                <a:cxn ang="0">
                  <a:pos x="15" y="44"/>
                </a:cxn>
                <a:cxn ang="0">
                  <a:pos x="15" y="44"/>
                </a:cxn>
                <a:cxn ang="0">
                  <a:pos x="15" y="44"/>
                </a:cxn>
              </a:cxnLst>
              <a:rect b="b" l="0" r="r" t="0"/>
              <a:pathLst>
                <a:path h="50" w="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3" name="Freeform 24"/>
            <p:cNvSpPr>
              <a:spLocks noEditPoints="1"/>
            </p:cNvSpPr>
            <p:nvPr/>
          </p:nvSpPr>
          <p:spPr bwMode="auto">
            <a:xfrm>
              <a:off x="3008" y="1662"/>
              <a:ext cx="75" cy="72"/>
            </a:xfrm>
            <a:custGeom>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b="b" l="0" r="r" t="0"/>
              <a:pathLst>
                <a:path h="115" w="120">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4" name="Freeform 25"/>
            <p:cNvSpPr>
              <a:spLocks noEditPoints="1"/>
            </p:cNvSpPr>
            <p:nvPr/>
          </p:nvSpPr>
          <p:spPr bwMode="auto">
            <a:xfrm>
              <a:off x="3029" y="1733"/>
              <a:ext cx="68" cy="72"/>
            </a:xfrm>
            <a:custGeom>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b="b" l="0" r="r" t="0"/>
              <a:pathLst>
                <a:path h="115" w="110">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5" name="Freeform 26"/>
            <p:cNvSpPr>
              <a:spLocks noEditPoints="1"/>
            </p:cNvSpPr>
            <p:nvPr/>
          </p:nvSpPr>
          <p:spPr bwMode="auto">
            <a:xfrm>
              <a:off x="3121" y="1660"/>
              <a:ext cx="74" cy="70"/>
            </a:xfrm>
            <a:custGeom>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b="b" l="0" r="r" t="0"/>
              <a:pathLst>
                <a:path h="114" w="120">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6" name="Freeform 27"/>
            <p:cNvSpPr>
              <a:spLocks noEditPoints="1"/>
            </p:cNvSpPr>
            <p:nvPr/>
          </p:nvSpPr>
          <p:spPr bwMode="auto">
            <a:xfrm>
              <a:off x="3067" y="1623"/>
              <a:ext cx="72" cy="76"/>
            </a:xfrm>
            <a:custGeom>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b="b" l="0" r="r" t="0"/>
              <a:pathLst>
                <a:path h="122" w="115">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7" name="Freeform 28"/>
            <p:cNvSpPr>
              <a:spLocks noEditPoints="1"/>
            </p:cNvSpPr>
            <p:nvPr/>
          </p:nvSpPr>
          <p:spPr bwMode="auto">
            <a:xfrm>
              <a:off x="3096" y="1745"/>
              <a:ext cx="107" cy="100"/>
            </a:xfrm>
            <a:custGeom>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b="b" l="0" r="r" t="0"/>
              <a:pathLst>
                <a:path h="160" w="171">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8" name="Freeform 29"/>
            <p:cNvSpPr>
              <a:spLocks noEditPoints="1"/>
            </p:cNvSpPr>
            <p:nvPr/>
          </p:nvSpPr>
          <p:spPr bwMode="auto">
            <a:xfrm>
              <a:off x="3160" y="1893"/>
              <a:ext cx="105" cy="110"/>
            </a:xfrm>
            <a:custGeom>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b="b" l="0" r="r" t="0"/>
              <a:pathLst>
                <a:path h="176" w="169">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59" name="Freeform 30"/>
            <p:cNvSpPr>
              <a:spLocks noEditPoints="1"/>
            </p:cNvSpPr>
            <p:nvPr/>
          </p:nvSpPr>
          <p:spPr bwMode="auto">
            <a:xfrm>
              <a:off x="3077" y="1847"/>
              <a:ext cx="108" cy="95"/>
            </a:xfrm>
            <a:custGeom>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b="b" l="0" r="r" t="0"/>
              <a:pathLst>
                <a:path h="153" w="174">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60" name="Freeform 31"/>
            <p:cNvSpPr>
              <a:spLocks noEditPoints="1"/>
            </p:cNvSpPr>
            <p:nvPr/>
          </p:nvSpPr>
          <p:spPr bwMode="auto">
            <a:xfrm>
              <a:off x="3211" y="1737"/>
              <a:ext cx="105" cy="102"/>
            </a:xfrm>
            <a:custGeom>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b="b" l="0" r="r" t="0"/>
              <a:pathLst>
                <a:path h="164" w="169">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bIns="49615" lIns="99229" rIns="99229" tIns="49615"/>
            <a:lstStyle/>
            <a:p>
              <a:pPr eaLnBrk="1" hangingPunct="1">
                <a:lnSpc>
                  <a:spcPct val="120000"/>
                </a:lnSpc>
                <a:defRPr/>
              </a:pPr>
              <a:endParaRPr lang="en-US" noProof="1" sz="1700">
                <a:latin typeface="+mn-cs"/>
                <a:ea charset="-122" panose="020b0503020204020204" pitchFamily="34" typeface="微软雅黑"/>
                <a:cs typeface="+mn-ea"/>
                <a:sym charset="0" pitchFamily="34" typeface="Arial"/>
              </a:endParaRPr>
            </a:p>
          </p:txBody>
        </p:sp>
        <p:sp>
          <p:nvSpPr>
            <p:cNvPr id="61" name="Freeform 32"/>
            <p:cNvSpPr>
              <a:spLocks noEditPoints="1"/>
            </p:cNvSpPr>
            <p:nvPr/>
          </p:nvSpPr>
          <p:spPr bwMode="auto">
            <a:xfrm>
              <a:off x="3241" y="1834"/>
              <a:ext cx="110" cy="95"/>
            </a:xfrm>
            <a:custGeom>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b="b" l="0" r="r" t="0"/>
              <a:pathLst>
                <a:path h="154" w="177">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62" name="Freeform 33"/>
            <p:cNvSpPr>
              <a:spLocks noEditPoints="1"/>
            </p:cNvSpPr>
            <p:nvPr/>
          </p:nvSpPr>
          <p:spPr bwMode="auto">
            <a:xfrm>
              <a:off x="3188" y="1839"/>
              <a:ext cx="43" cy="39"/>
            </a:xfrm>
            <a:custGeom>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b="b" l="0" r="r" t="0"/>
              <a:pathLst>
                <a:path h="62" w="70">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grpSp>
      <p:grpSp>
        <p:nvGrpSpPr>
          <p:cNvPr id="63" name="Group 29"/>
          <p:cNvGrpSpPr/>
          <p:nvPr/>
        </p:nvGrpSpPr>
        <p:grpSpPr>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3221" cy="2418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eaLnBrk="1" hangingPunct="1">
                <a:lnSpc>
                  <a:spcPct val="120000"/>
                </a:lnSpc>
                <a:spcBef>
                  <a:spcPct val="20000"/>
                </a:spcBef>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相关标题文字</a:t>
              </a:r>
            </a:p>
          </p:txBody>
        </p:sp>
        <p:sp>
          <p:nvSpPr>
            <p:cNvPr id="65" name="Text Placeholder 3"/>
            <p:cNvSpPr txBox="1">
              <a:spLocks noChangeArrowheads="1"/>
            </p:cNvSpPr>
            <p:nvPr/>
          </p:nvSpPr>
          <p:spPr bwMode="auto">
            <a:xfrm>
              <a:off x="798971" y="1935625"/>
              <a:ext cx="826142" cy="58041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grpSp>
      <p:grpSp>
        <p:nvGrpSpPr>
          <p:cNvPr id="66" name="Group 29"/>
          <p:cNvGrpSpPr/>
          <p:nvPr/>
        </p:nvGrpSpPr>
        <p:grpSpPr>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3762" cy="2418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eaLnBrk="1" hangingPunct="1">
                <a:lnSpc>
                  <a:spcPct val="120000"/>
                </a:lnSpc>
                <a:spcBef>
                  <a:spcPct val="20000"/>
                </a:spcBef>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相关标题文字</a:t>
              </a:r>
            </a:p>
          </p:txBody>
        </p:sp>
        <p:sp>
          <p:nvSpPr>
            <p:cNvPr id="68" name="Text Placeholder 3"/>
            <p:cNvSpPr txBox="1">
              <a:spLocks noChangeArrowheads="1"/>
            </p:cNvSpPr>
            <p:nvPr/>
          </p:nvSpPr>
          <p:spPr bwMode="auto">
            <a:xfrm>
              <a:off x="798971" y="1935625"/>
              <a:ext cx="826142" cy="58041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grpSp>
      <p:grpSp>
        <p:nvGrpSpPr>
          <p:cNvPr id="69" name="Group 29"/>
          <p:cNvGrpSpPr/>
          <p:nvPr/>
        </p:nvGrpSpPr>
        <p:grpSpPr>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3221" cy="2418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eaLnBrk="1" hangingPunct="1">
                <a:lnSpc>
                  <a:spcPct val="120000"/>
                </a:lnSpc>
                <a:spcBef>
                  <a:spcPct val="20000"/>
                </a:spcBef>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相关标题文字</a:t>
              </a:r>
            </a:p>
          </p:txBody>
        </p:sp>
        <p:sp>
          <p:nvSpPr>
            <p:cNvPr id="71" name="Text Placeholder 3"/>
            <p:cNvSpPr txBox="1">
              <a:spLocks noChangeArrowheads="1"/>
            </p:cNvSpPr>
            <p:nvPr/>
          </p:nvSpPr>
          <p:spPr bwMode="auto">
            <a:xfrm>
              <a:off x="798971" y="1935625"/>
              <a:ext cx="826142" cy="58041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grpSp>
      <p:sp>
        <p:nvSpPr>
          <p:cNvPr id="72" name="Text Placeholder 3"/>
          <p:cNvSpPr txBox="1"/>
          <p:nvPr/>
        </p:nvSpPr>
        <p:spPr>
          <a:xfrm>
            <a:off x="1519476" y="3192074"/>
            <a:ext cx="593725" cy="768096"/>
          </a:xfrm>
          <a:prstGeom prst="rect">
            <a:avLst/>
          </a:prstGeom>
        </p:spPr>
        <p:txBody>
          <a:bodyPr anchor="ctr" bIns="0" lIns="0" rIns="0" tIns="0" wrap="none">
            <a:spAutoFit/>
          </a:bodyPr>
          <a:lstStyle>
            <a:lvl1pPr algn="ctr" indent="0" marL="0">
              <a:buNone/>
              <a:defRPr b="1" baseline="0" sz="2800">
                <a:solidFill>
                  <a:schemeClr val="tx2">
                    <a:lumMod val="60000"/>
                    <a:lumOff val="40000"/>
                  </a:schemeClr>
                </a:solidFill>
              </a:defRPr>
            </a:lvl1pPr>
            <a:lvl2pPr indent="0" marL="457200">
              <a:buNone/>
              <a:defRPr sz="1200"/>
            </a:lvl2pPr>
            <a:lvl3pPr indent="0" marL="914400">
              <a:buNone/>
              <a:defRPr sz="1000"/>
            </a:lvl3pPr>
            <a:lvl4pPr indent="0" marL="1371600">
              <a:buNone/>
              <a:defRPr sz="900"/>
            </a:lvl4pPr>
            <a:lvl5pPr indent="0" marL="1828800">
              <a:buNone/>
              <a:defRPr sz="900"/>
            </a:lvl5pPr>
            <a:lvl6pPr indent="0" marL="2286000">
              <a:buNone/>
              <a:defRPr sz="900"/>
            </a:lvl6pPr>
            <a:lvl7pPr indent="0" marL="2743200">
              <a:buNone/>
              <a:defRPr sz="900"/>
            </a:lvl7pPr>
            <a:lvl8pPr indent="0" marL="3200400">
              <a:buNone/>
              <a:defRPr sz="900"/>
            </a:lvl8pPr>
            <a:lvl9pPr indent="0" marL="3657600">
              <a:buNone/>
              <a:defRPr sz="900"/>
            </a:lvl9pPr>
          </a:lstStyle>
          <a:p>
            <a:pPr defTabSz="693119" eaLnBrk="1" hangingPunct="1">
              <a:lnSpc>
                <a:spcPct val="120000"/>
              </a:lnSpc>
              <a:spcBef>
                <a:spcPct val="20000"/>
              </a:spcBef>
              <a:defRPr/>
            </a:pPr>
            <a:r>
              <a:rPr lang="en-US" noProof="1" sz="4200">
                <a:solidFill>
                  <a:srgbClr val="00A4E3"/>
                </a:solidFill>
                <a:latin charset="0" pitchFamily="34" typeface="Arial"/>
                <a:ea charset="-122" panose="020b0503020204020204" pitchFamily="34" typeface="微软雅黑"/>
                <a:cs typeface="+mn-ea"/>
                <a:sym charset="0" pitchFamily="34" typeface="Arial"/>
              </a:rPr>
              <a:t>04</a:t>
            </a:r>
          </a:p>
        </p:txBody>
      </p:sp>
      <p:sp>
        <p:nvSpPr>
          <p:cNvPr id="73" name="Text Placeholder 3"/>
          <p:cNvSpPr txBox="1"/>
          <p:nvPr/>
        </p:nvSpPr>
        <p:spPr>
          <a:xfrm>
            <a:off x="3563065" y="3192074"/>
            <a:ext cx="593725" cy="768096"/>
          </a:xfrm>
          <a:prstGeom prst="rect">
            <a:avLst/>
          </a:prstGeom>
        </p:spPr>
        <p:txBody>
          <a:bodyPr anchor="ctr" bIns="0" lIns="0" rIns="0" tIns="0" wrap="none">
            <a:spAutoFit/>
          </a:bodyPr>
          <a:lstStyle>
            <a:lvl1pPr algn="ctr" indent="0" marL="0">
              <a:buNone/>
              <a:defRPr b="1" baseline="0" sz="2800">
                <a:solidFill>
                  <a:schemeClr val="tx2">
                    <a:lumMod val="60000"/>
                    <a:lumOff val="40000"/>
                  </a:schemeClr>
                </a:solidFill>
              </a:defRPr>
            </a:lvl1pPr>
            <a:lvl2pPr indent="0" marL="457200">
              <a:buNone/>
              <a:defRPr sz="1200"/>
            </a:lvl2pPr>
            <a:lvl3pPr indent="0" marL="914400">
              <a:buNone/>
              <a:defRPr sz="1000"/>
            </a:lvl3pPr>
            <a:lvl4pPr indent="0" marL="1371600">
              <a:buNone/>
              <a:defRPr sz="900"/>
            </a:lvl4pPr>
            <a:lvl5pPr indent="0" marL="1828800">
              <a:buNone/>
              <a:defRPr sz="900"/>
            </a:lvl5pPr>
            <a:lvl6pPr indent="0" marL="2286000">
              <a:buNone/>
              <a:defRPr sz="900"/>
            </a:lvl6pPr>
            <a:lvl7pPr indent="0" marL="2743200">
              <a:buNone/>
              <a:defRPr sz="900"/>
            </a:lvl7pPr>
            <a:lvl8pPr indent="0" marL="3200400">
              <a:buNone/>
              <a:defRPr sz="900"/>
            </a:lvl8pPr>
            <a:lvl9pPr indent="0" marL="3657600">
              <a:buNone/>
              <a:defRPr sz="900"/>
            </a:lvl9pPr>
          </a:lstStyle>
          <a:p>
            <a:pPr defTabSz="693119" eaLnBrk="1" hangingPunct="1">
              <a:lnSpc>
                <a:spcPct val="120000"/>
              </a:lnSpc>
              <a:spcBef>
                <a:spcPct val="20000"/>
              </a:spcBef>
              <a:defRPr/>
            </a:pPr>
            <a:r>
              <a:rPr lang="en-US" noProof="1" sz="4200">
                <a:solidFill>
                  <a:srgbClr val="00A4E3"/>
                </a:solidFill>
                <a:latin charset="0" pitchFamily="34" typeface="Arial"/>
                <a:ea charset="-122" panose="020b0503020204020204" pitchFamily="34" typeface="微软雅黑"/>
                <a:cs typeface="+mn-ea"/>
                <a:sym charset="0" pitchFamily="34" typeface="Arial"/>
              </a:rPr>
              <a:t>05</a:t>
            </a:r>
          </a:p>
        </p:txBody>
      </p:sp>
      <p:sp>
        <p:nvSpPr>
          <p:cNvPr id="74" name="Text Placeholder 3"/>
          <p:cNvSpPr txBox="1"/>
          <p:nvPr/>
        </p:nvSpPr>
        <p:spPr>
          <a:xfrm>
            <a:off x="5692220" y="3192074"/>
            <a:ext cx="593725" cy="768096"/>
          </a:xfrm>
          <a:prstGeom prst="rect">
            <a:avLst/>
          </a:prstGeom>
        </p:spPr>
        <p:txBody>
          <a:bodyPr anchor="ctr" bIns="0" lIns="0" rIns="0" tIns="0" wrap="none">
            <a:spAutoFit/>
          </a:bodyPr>
          <a:lstStyle>
            <a:lvl1pPr algn="ctr" indent="0" marL="0">
              <a:buNone/>
              <a:defRPr b="1" baseline="0" sz="2800">
                <a:solidFill>
                  <a:schemeClr val="tx2">
                    <a:lumMod val="60000"/>
                    <a:lumOff val="40000"/>
                  </a:schemeClr>
                </a:solidFill>
              </a:defRPr>
            </a:lvl1pPr>
            <a:lvl2pPr indent="0" marL="457200">
              <a:buNone/>
              <a:defRPr sz="1200"/>
            </a:lvl2pPr>
            <a:lvl3pPr indent="0" marL="914400">
              <a:buNone/>
              <a:defRPr sz="1000"/>
            </a:lvl3pPr>
            <a:lvl4pPr indent="0" marL="1371600">
              <a:buNone/>
              <a:defRPr sz="900"/>
            </a:lvl4pPr>
            <a:lvl5pPr indent="0" marL="1828800">
              <a:buNone/>
              <a:defRPr sz="900"/>
            </a:lvl5pPr>
            <a:lvl6pPr indent="0" marL="2286000">
              <a:buNone/>
              <a:defRPr sz="900"/>
            </a:lvl6pPr>
            <a:lvl7pPr indent="0" marL="2743200">
              <a:buNone/>
              <a:defRPr sz="900"/>
            </a:lvl7pPr>
            <a:lvl8pPr indent="0" marL="3200400">
              <a:buNone/>
              <a:defRPr sz="900"/>
            </a:lvl8pPr>
            <a:lvl9pPr indent="0" marL="3657600">
              <a:buNone/>
              <a:defRPr sz="900"/>
            </a:lvl9pPr>
          </a:lstStyle>
          <a:p>
            <a:pPr defTabSz="693119" eaLnBrk="1" hangingPunct="1">
              <a:lnSpc>
                <a:spcPct val="120000"/>
              </a:lnSpc>
              <a:spcBef>
                <a:spcPct val="20000"/>
              </a:spcBef>
              <a:defRPr/>
            </a:pPr>
            <a:r>
              <a:rPr lang="en-US" noProof="1" sz="4200">
                <a:solidFill>
                  <a:srgbClr val="00A4E3"/>
                </a:solidFill>
                <a:latin charset="0" pitchFamily="34" typeface="Arial"/>
                <a:ea charset="-122" panose="020b0503020204020204" pitchFamily="34" typeface="微软雅黑"/>
                <a:cs typeface="+mn-ea"/>
                <a:sym charset="0" pitchFamily="34" typeface="Arial"/>
              </a:rPr>
              <a:t>06</a:t>
            </a:r>
          </a:p>
        </p:txBody>
      </p:sp>
      <p:grpSp>
        <p:nvGrpSpPr>
          <p:cNvPr id="75" name="Group 29"/>
          <p:cNvGrpSpPr/>
          <p:nvPr/>
        </p:nvGrpSpPr>
        <p:grpSpPr>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3221" cy="2418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eaLnBrk="1" hangingPunct="1">
                <a:lnSpc>
                  <a:spcPct val="120000"/>
                </a:lnSpc>
                <a:spcBef>
                  <a:spcPct val="20000"/>
                </a:spcBef>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相关标题文字</a:t>
              </a:r>
            </a:p>
          </p:txBody>
        </p:sp>
        <p:sp>
          <p:nvSpPr>
            <p:cNvPr id="77" name="Text Placeholder 3"/>
            <p:cNvSpPr txBox="1">
              <a:spLocks noChangeArrowheads="1"/>
            </p:cNvSpPr>
            <p:nvPr/>
          </p:nvSpPr>
          <p:spPr bwMode="auto">
            <a:xfrm>
              <a:off x="798971" y="1935625"/>
              <a:ext cx="826142" cy="58041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grpSp>
      <p:grpSp>
        <p:nvGrpSpPr>
          <p:cNvPr id="78" name="Group 29"/>
          <p:cNvGrpSpPr/>
          <p:nvPr/>
        </p:nvGrpSpPr>
        <p:grpSpPr>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3762" cy="2418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eaLnBrk="1" hangingPunct="1">
                <a:lnSpc>
                  <a:spcPct val="120000"/>
                </a:lnSpc>
                <a:spcBef>
                  <a:spcPct val="20000"/>
                </a:spcBef>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相关标题文字</a:t>
              </a:r>
            </a:p>
          </p:txBody>
        </p:sp>
        <p:sp>
          <p:nvSpPr>
            <p:cNvPr id="80" name="Text Placeholder 3"/>
            <p:cNvSpPr txBox="1">
              <a:spLocks noChangeArrowheads="1"/>
            </p:cNvSpPr>
            <p:nvPr/>
          </p:nvSpPr>
          <p:spPr bwMode="auto">
            <a:xfrm>
              <a:off x="798971" y="1935625"/>
              <a:ext cx="826142" cy="58041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grpSp>
      <p:grpSp>
        <p:nvGrpSpPr>
          <p:cNvPr id="81" name="Group 29"/>
          <p:cNvGrpSpPr/>
          <p:nvPr/>
        </p:nvGrpSpPr>
        <p:grpSpPr>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3221" cy="24184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wrap="none">
              <a:spAutoFit/>
            </a:bodyPr>
            <a:lstStyle>
              <a:lvl1pPr defTabSz="992188">
                <a:defRPr>
                  <a:solidFill>
                    <a:schemeClr val="tx1"/>
                  </a:solidFill>
                  <a:latin charset="0" pitchFamily="34" typeface="Calibri"/>
                  <a:ea charset="-122" panose="02010600030101010101" pitchFamily="2" typeface="宋体"/>
                </a:defRPr>
              </a:lvl1pPr>
              <a:lvl2pPr defTabSz="992188">
                <a:defRPr>
                  <a:solidFill>
                    <a:schemeClr val="tx1"/>
                  </a:solidFill>
                  <a:latin charset="0" pitchFamily="34" typeface="Calibri"/>
                  <a:ea charset="-122" panose="02010600030101010101" pitchFamily="2" typeface="宋体"/>
                </a:defRPr>
              </a:lvl2pPr>
              <a:lvl3pPr defTabSz="992188">
                <a:defRPr>
                  <a:solidFill>
                    <a:schemeClr val="tx1"/>
                  </a:solidFill>
                  <a:latin charset="0" pitchFamily="34" typeface="Calibri"/>
                  <a:ea charset="-122" panose="02010600030101010101" pitchFamily="2" typeface="宋体"/>
                </a:defRPr>
              </a:lvl3pPr>
              <a:lvl4pPr defTabSz="992188">
                <a:defRPr>
                  <a:solidFill>
                    <a:schemeClr val="tx1"/>
                  </a:solidFill>
                  <a:latin charset="0" pitchFamily="34" typeface="Calibri"/>
                  <a:ea charset="-122" panose="02010600030101010101" pitchFamily="2" typeface="宋体"/>
                </a:defRPr>
              </a:lvl4pPr>
              <a:lvl5pPr defTabSz="992188">
                <a:defRPr>
                  <a:solidFill>
                    <a:schemeClr val="tx1"/>
                  </a:solidFill>
                  <a:latin charset="0" pitchFamily="34" typeface="Calibri"/>
                  <a:ea charset="-122" panose="02010600030101010101" pitchFamily="2" typeface="宋体"/>
                </a:defRPr>
              </a:lvl5pPr>
              <a:lvl6pPr defTabSz="992188" eaLnBrk="0" fontAlgn="base" hangingPunct="0" indent="-739775" marL="3025775">
                <a:spcBef>
                  <a:spcPct val="0"/>
                </a:spcBef>
                <a:spcAft>
                  <a:spcPct val="0"/>
                </a:spcAft>
                <a:defRPr>
                  <a:solidFill>
                    <a:schemeClr val="tx1"/>
                  </a:solidFill>
                  <a:latin charset="0" pitchFamily="34" typeface="Calibri"/>
                  <a:ea charset="-122" panose="02010600030101010101" pitchFamily="2" typeface="宋体"/>
                </a:defRPr>
              </a:lvl6pPr>
              <a:lvl7pPr defTabSz="992188" eaLnBrk="0" fontAlgn="base" hangingPunct="0" indent="-739775" marL="3482975">
                <a:spcBef>
                  <a:spcPct val="0"/>
                </a:spcBef>
                <a:spcAft>
                  <a:spcPct val="0"/>
                </a:spcAft>
                <a:defRPr>
                  <a:solidFill>
                    <a:schemeClr val="tx1"/>
                  </a:solidFill>
                  <a:latin charset="0" pitchFamily="34" typeface="Calibri"/>
                  <a:ea charset="-122" panose="02010600030101010101" pitchFamily="2" typeface="宋体"/>
                </a:defRPr>
              </a:lvl7pPr>
              <a:lvl8pPr defTabSz="992188" eaLnBrk="0" fontAlgn="base" hangingPunct="0" indent="-739775" marL="3940175">
                <a:spcBef>
                  <a:spcPct val="0"/>
                </a:spcBef>
                <a:spcAft>
                  <a:spcPct val="0"/>
                </a:spcAft>
                <a:defRPr>
                  <a:solidFill>
                    <a:schemeClr val="tx1"/>
                  </a:solidFill>
                  <a:latin charset="0" pitchFamily="34" typeface="Calibri"/>
                  <a:ea charset="-122" panose="02010600030101010101" pitchFamily="2" typeface="宋体"/>
                </a:defRPr>
              </a:lvl8pPr>
              <a:lvl9pPr defTabSz="992188" eaLnBrk="0" fontAlgn="base" hangingPunct="0" indent="-739775" marL="4397375">
                <a:spcBef>
                  <a:spcPct val="0"/>
                </a:spcBef>
                <a:spcAft>
                  <a:spcPct val="0"/>
                </a:spcAft>
                <a:defRPr>
                  <a:solidFill>
                    <a:schemeClr val="tx1"/>
                  </a:solidFill>
                  <a:latin charset="0" pitchFamily="34" typeface="Calibri"/>
                  <a:ea charset="-122" panose="02010600030101010101" pitchFamily="2" typeface="宋体"/>
                </a:defRPr>
              </a:lvl9pPr>
            </a:lstStyle>
            <a:p>
              <a:pPr eaLnBrk="1" hangingPunct="1">
                <a:lnSpc>
                  <a:spcPct val="120000"/>
                </a:lnSpc>
                <a:spcBef>
                  <a:spcPct val="20000"/>
                </a:spcBef>
              </a:pPr>
              <a:r>
                <a:rPr altLang="en-US" lang="zh-CN" sz="1000">
                  <a:solidFill>
                    <a:schemeClr val="bg1">
                      <a:lumMod val="85000"/>
                    </a:schemeClr>
                  </a:solidFill>
                  <a:latin charset="0" pitchFamily="34" typeface="Arial"/>
                  <a:ea charset="-122" panose="020b0503020204020204" pitchFamily="34" typeface="微软雅黑"/>
                  <a:sym charset="0" pitchFamily="34" typeface="Arial"/>
                </a:rPr>
                <a:t>相关标题文字</a:t>
              </a:r>
            </a:p>
          </p:txBody>
        </p:sp>
        <p:sp>
          <p:nvSpPr>
            <p:cNvPr id="83" name="Text Placeholder 3"/>
            <p:cNvSpPr txBox="1">
              <a:spLocks noChangeArrowheads="1"/>
            </p:cNvSpPr>
            <p:nvPr/>
          </p:nvSpPr>
          <p:spPr bwMode="auto">
            <a:xfrm>
              <a:off x="798971" y="1935625"/>
              <a:ext cx="826142" cy="58041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0" rIns="0" tIns="0">
              <a:spAutoFit/>
            </a:bodyPr>
            <a:lstStyle/>
            <a:p>
              <a:pPr algn="just" eaLnBrk="1" hangingPunct="1">
                <a:lnSpc>
                  <a:spcPct val="120000"/>
                </a:lnSpc>
              </a:pPr>
              <a:r>
                <a:rPr altLang="en-US" lang="zh-CN" sz="800">
                  <a:solidFill>
                    <a:schemeClr val="bg1">
                      <a:lumMod val="85000"/>
                    </a:schemeClr>
                  </a:solidFill>
                  <a:latin charset="-122" panose="020b0503020204020204" pitchFamily="34" typeface="微软雅黑"/>
                  <a:ea charset="-122" panose="020b0503020204020204" pitchFamily="34" typeface="微软雅黑"/>
                </a:rPr>
                <a:t>轻点此处输入文字内容，PPT模板所有文字图片都可编辑</a:t>
              </a:r>
            </a:p>
          </p:txBody>
        </p:sp>
      </p:grpSp>
      <p:grpSp>
        <p:nvGrpSpPr>
          <p:cNvPr id="84" name="Group 36"/>
          <p:cNvGrpSpPr>
            <a:grpSpLocks noChangeAspect="1"/>
          </p:cNvGrpSpPr>
          <p:nvPr/>
        </p:nvGrpSpPr>
        <p:grpSpPr>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b="b" l="0" r="r" t="0"/>
              <a:pathLst>
                <a:path h="467" w="481">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86" name="Freeform 38"/>
            <p:cNvSpPr>
              <a:spLocks noEditPoints="1"/>
            </p:cNvSpPr>
            <p:nvPr/>
          </p:nvSpPr>
          <p:spPr bwMode="auto">
            <a:xfrm>
              <a:off x="445" y="2309"/>
              <a:ext cx="481" cy="467"/>
            </a:xfrm>
            <a:custGeom>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b="b" l="0" r="r" t="0"/>
              <a:pathLst>
                <a:path h="467" w="481">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87" name="Freeform 39"/>
            <p:cNvSpPr>
              <a:spLocks noEditPoints="1"/>
            </p:cNvSpPr>
            <p:nvPr/>
          </p:nvSpPr>
          <p:spPr bwMode="auto">
            <a:xfrm>
              <a:off x="419" y="2321"/>
              <a:ext cx="49" cy="101"/>
            </a:xfrm>
            <a:custGeom>
              <a:cxnLst>
                <a:cxn ang="0">
                  <a:pos x="0" y="35"/>
                </a:cxn>
                <a:cxn ang="0">
                  <a:pos x="14" y="58"/>
                </a:cxn>
                <a:cxn ang="0">
                  <a:pos x="28" y="35"/>
                </a:cxn>
                <a:cxn ang="0">
                  <a:pos x="14" y="0"/>
                </a:cxn>
                <a:cxn ang="0">
                  <a:pos x="0" y="35"/>
                </a:cxn>
                <a:cxn ang="0">
                  <a:pos x="0" y="35"/>
                </a:cxn>
                <a:cxn ang="0">
                  <a:pos x="0" y="35"/>
                </a:cxn>
              </a:cxnLst>
              <a:rect b="b" l="0" r="r" t="0"/>
              <a:pathLst>
                <a:path h="57" w="2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grpSp>
      <p:grpSp>
        <p:nvGrpSpPr>
          <p:cNvPr id="88" name="Group 42"/>
          <p:cNvGrpSpPr>
            <a:grpSpLocks noChangeAspect="1"/>
          </p:cNvGrpSpPr>
          <p:nvPr/>
        </p:nvGrpSpPr>
        <p:grpSpPr>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b="b" l="0" r="r" t="0"/>
              <a:pathLst>
                <a:path h="97" w="102">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0" name="Freeform 44"/>
            <p:cNvSpPr>
              <a:spLocks noEditPoints="1"/>
            </p:cNvSpPr>
            <p:nvPr/>
          </p:nvSpPr>
          <p:spPr bwMode="auto">
            <a:xfrm>
              <a:off x="2372" y="2413"/>
              <a:ext cx="162" cy="161"/>
            </a:xfrm>
            <a:custGeom>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b="b" l="0" r="r" t="0"/>
              <a:pathLst>
                <a:path h="34" w="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1" name="Freeform 45"/>
            <p:cNvSpPr>
              <a:spLocks noEditPoints="1"/>
            </p:cNvSpPr>
            <p:nvPr/>
          </p:nvSpPr>
          <p:spPr bwMode="auto">
            <a:xfrm>
              <a:off x="2482" y="2451"/>
              <a:ext cx="9" cy="14"/>
            </a:xfrm>
            <a:custGeom>
              <a:cxnLst>
                <a:cxn ang="0">
                  <a:pos x="2" y="2"/>
                </a:cxn>
                <a:cxn ang="0">
                  <a:pos x="1" y="3"/>
                </a:cxn>
                <a:cxn ang="0">
                  <a:pos x="0" y="2"/>
                </a:cxn>
                <a:cxn ang="0">
                  <a:pos x="1" y="0"/>
                </a:cxn>
                <a:cxn ang="0">
                  <a:pos x="2" y="2"/>
                </a:cxn>
                <a:cxn ang="0">
                  <a:pos x="2" y="2"/>
                </a:cxn>
                <a:cxn ang="0">
                  <a:pos x="2" y="2"/>
                </a:cxn>
              </a:cxnLst>
              <a:rect b="b" l="0" r="r" t="0"/>
              <a:pathLst>
                <a:path h="3" w="2">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2" name="Freeform 46"/>
            <p:cNvSpPr>
              <a:spLocks noEditPoints="1"/>
            </p:cNvSpPr>
            <p:nvPr/>
          </p:nvSpPr>
          <p:spPr bwMode="auto">
            <a:xfrm>
              <a:off x="2410" y="2522"/>
              <a:ext cx="10" cy="10"/>
            </a:xfrm>
            <a:custGeom>
              <a:cxnLst>
                <a:cxn ang="0">
                  <a:pos x="1" y="1"/>
                </a:cxn>
                <a:cxn ang="0">
                  <a:pos x="1" y="2"/>
                </a:cxn>
                <a:cxn ang="0">
                  <a:pos x="2" y="2"/>
                </a:cxn>
                <a:cxn ang="0">
                  <a:pos x="2" y="1"/>
                </a:cxn>
                <a:cxn ang="0">
                  <a:pos x="1" y="1"/>
                </a:cxn>
                <a:cxn ang="0">
                  <a:pos x="1" y="1"/>
                </a:cxn>
                <a:cxn ang="0">
                  <a:pos x="1" y="1"/>
                </a:cxn>
              </a:cxnLst>
              <a:rect b="b" l="0" r="r" t="0"/>
              <a:pathLst>
                <a:path h="2" w="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3" name="Freeform 47"/>
            <p:cNvSpPr>
              <a:spLocks noEditPoints="1"/>
            </p:cNvSpPr>
            <p:nvPr/>
          </p:nvSpPr>
          <p:spPr bwMode="auto">
            <a:xfrm>
              <a:off x="2496" y="2489"/>
              <a:ext cx="9" cy="9"/>
            </a:xfrm>
            <a:custGeom>
              <a:cxnLst>
                <a:cxn ang="0">
                  <a:pos x="2" y="1"/>
                </a:cxn>
                <a:cxn ang="0">
                  <a:pos x="1" y="2"/>
                </a:cxn>
                <a:cxn ang="0">
                  <a:pos x="0" y="1"/>
                </a:cxn>
                <a:cxn ang="0">
                  <a:pos x="1" y="0"/>
                </a:cxn>
                <a:cxn ang="0">
                  <a:pos x="2" y="1"/>
                </a:cxn>
                <a:cxn ang="0">
                  <a:pos x="2" y="1"/>
                </a:cxn>
                <a:cxn ang="0">
                  <a:pos x="2" y="1"/>
                </a:cxn>
              </a:cxnLst>
              <a:rect b="b" l="0" r="r" t="0"/>
              <a:pathLst>
                <a:path h="2" w="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4" name="Freeform 48"/>
            <p:cNvSpPr>
              <a:spLocks noEditPoints="1"/>
            </p:cNvSpPr>
            <p:nvPr/>
          </p:nvSpPr>
          <p:spPr bwMode="auto">
            <a:xfrm>
              <a:off x="2396" y="2489"/>
              <a:ext cx="10" cy="9"/>
            </a:xfrm>
            <a:custGeom>
              <a:cxnLst>
                <a:cxn ang="0">
                  <a:pos x="2" y="1"/>
                </a:cxn>
                <a:cxn ang="0">
                  <a:pos x="1" y="2"/>
                </a:cxn>
                <a:cxn ang="0">
                  <a:pos x="0" y="1"/>
                </a:cxn>
                <a:cxn ang="0">
                  <a:pos x="1" y="0"/>
                </a:cxn>
                <a:cxn ang="0">
                  <a:pos x="2" y="1"/>
                </a:cxn>
                <a:cxn ang="0">
                  <a:pos x="2" y="1"/>
                </a:cxn>
                <a:cxn ang="0">
                  <a:pos x="2" y="1"/>
                </a:cxn>
              </a:cxnLst>
              <a:rect b="b" l="0" r="r" t="0"/>
              <a:pathLst>
                <a:path h="2" w="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5" name="Freeform 49"/>
            <p:cNvSpPr>
              <a:spLocks noEditPoints="1"/>
            </p:cNvSpPr>
            <p:nvPr/>
          </p:nvSpPr>
          <p:spPr bwMode="auto">
            <a:xfrm>
              <a:off x="2482" y="2522"/>
              <a:ext cx="9" cy="10"/>
            </a:xfrm>
            <a:custGeom>
              <a:cxnLst>
                <a:cxn ang="0">
                  <a:pos x="0" y="1"/>
                </a:cxn>
                <a:cxn ang="0">
                  <a:pos x="0" y="2"/>
                </a:cxn>
                <a:cxn ang="0">
                  <a:pos x="2" y="2"/>
                </a:cxn>
                <a:cxn ang="0">
                  <a:pos x="2" y="1"/>
                </a:cxn>
                <a:cxn ang="0">
                  <a:pos x="0" y="1"/>
                </a:cxn>
                <a:cxn ang="0">
                  <a:pos x="0" y="1"/>
                </a:cxn>
                <a:cxn ang="0">
                  <a:pos x="0" y="1"/>
                </a:cxn>
              </a:cxnLst>
              <a:rect b="b" l="0" r="r" t="0"/>
              <a:pathLst>
                <a:path h="2" w="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6" name="Freeform 50"/>
            <p:cNvSpPr>
              <a:spLocks noEditPoints="1"/>
            </p:cNvSpPr>
            <p:nvPr/>
          </p:nvSpPr>
          <p:spPr bwMode="auto">
            <a:xfrm>
              <a:off x="2410" y="2451"/>
              <a:ext cx="10" cy="14"/>
            </a:xfrm>
            <a:custGeom>
              <a:cxnLst>
                <a:cxn ang="0">
                  <a:pos x="2" y="2"/>
                </a:cxn>
                <a:cxn ang="0">
                  <a:pos x="1" y="3"/>
                </a:cxn>
                <a:cxn ang="0">
                  <a:pos x="0" y="2"/>
                </a:cxn>
                <a:cxn ang="0">
                  <a:pos x="1" y="0"/>
                </a:cxn>
                <a:cxn ang="0">
                  <a:pos x="2" y="2"/>
                </a:cxn>
                <a:cxn ang="0">
                  <a:pos x="2" y="2"/>
                </a:cxn>
                <a:cxn ang="0">
                  <a:pos x="2" y="2"/>
                </a:cxn>
              </a:cxnLst>
              <a:rect b="b" l="0" r="r" t="0"/>
              <a:pathLst>
                <a:path h="3" w="2">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7" name="Freeform 51"/>
            <p:cNvSpPr>
              <a:spLocks noEditPoints="1"/>
            </p:cNvSpPr>
            <p:nvPr/>
          </p:nvSpPr>
          <p:spPr bwMode="auto">
            <a:xfrm>
              <a:off x="2439" y="2455"/>
              <a:ext cx="28" cy="53"/>
            </a:xfrm>
            <a:custGeom>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b="b" l="0" r="r" t="0"/>
              <a:pathLst>
                <a:path h="11" w="6">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8" name="Freeform 52"/>
            <p:cNvSpPr>
              <a:spLocks noEditPoints="1"/>
            </p:cNvSpPr>
            <p:nvPr/>
          </p:nvSpPr>
          <p:spPr bwMode="auto">
            <a:xfrm>
              <a:off x="2448" y="2436"/>
              <a:ext cx="10" cy="10"/>
            </a:xfrm>
            <a:custGeom>
              <a:cxnLst>
                <a:cxn ang="0">
                  <a:pos x="2" y="1"/>
                </a:cxn>
                <a:cxn ang="0">
                  <a:pos x="1" y="2"/>
                </a:cxn>
                <a:cxn ang="0">
                  <a:pos x="0" y="1"/>
                </a:cxn>
                <a:cxn ang="0">
                  <a:pos x="1" y="0"/>
                </a:cxn>
                <a:cxn ang="0">
                  <a:pos x="2" y="1"/>
                </a:cxn>
                <a:cxn ang="0">
                  <a:pos x="2" y="1"/>
                </a:cxn>
                <a:cxn ang="0">
                  <a:pos x="2" y="1"/>
                </a:cxn>
              </a:cxnLst>
              <a:rect b="b" l="0" r="r" t="0"/>
              <a:pathLst>
                <a:path h="2" w="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99" name="Freeform 53"/>
            <p:cNvSpPr>
              <a:spLocks noEditPoints="1"/>
            </p:cNvSpPr>
            <p:nvPr/>
          </p:nvSpPr>
          <p:spPr bwMode="auto">
            <a:xfrm>
              <a:off x="2448" y="2536"/>
              <a:ext cx="10" cy="10"/>
            </a:xfrm>
            <a:custGeom>
              <a:cxnLst>
                <a:cxn ang="0">
                  <a:pos x="2" y="1"/>
                </a:cxn>
                <a:cxn ang="0">
                  <a:pos x="1" y="2"/>
                </a:cxn>
                <a:cxn ang="0">
                  <a:pos x="0" y="1"/>
                </a:cxn>
                <a:cxn ang="0">
                  <a:pos x="1" y="0"/>
                </a:cxn>
                <a:cxn ang="0">
                  <a:pos x="2" y="1"/>
                </a:cxn>
                <a:cxn ang="0">
                  <a:pos x="2" y="1"/>
                </a:cxn>
                <a:cxn ang="0">
                  <a:pos x="2" y="1"/>
                </a:cxn>
              </a:cxnLst>
              <a:rect b="b" l="0" r="r" t="0"/>
              <a:pathLst>
                <a:path h="2" w="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b="b" l="0" r="r" t="0"/>
              <a:pathLst>
                <a:path h="311" w="310">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sp>
          <p:nvSpPr>
            <p:cNvPr id="102" name="Freeform 74"/>
            <p:cNvSpPr>
              <a:spLocks noEditPoints="1"/>
            </p:cNvSpPr>
            <p:nvPr/>
          </p:nvSpPr>
          <p:spPr bwMode="auto">
            <a:xfrm>
              <a:off x="8175625" y="1993900"/>
              <a:ext cx="447675" cy="403225"/>
            </a:xfrm>
            <a:custGeom>
              <a:cxnLst>
                <a:cxn ang="0">
                  <a:pos x="56" y="13"/>
                </a:cxn>
                <a:cxn ang="0">
                  <a:pos x="31" y="9"/>
                </a:cxn>
                <a:cxn ang="0">
                  <a:pos x="0" y="12"/>
                </a:cxn>
                <a:cxn ang="0">
                  <a:pos x="120" y="131"/>
                </a:cxn>
                <a:cxn ang="0">
                  <a:pos x="147" y="131"/>
                </a:cxn>
                <a:cxn ang="0">
                  <a:pos x="147" y="104"/>
                </a:cxn>
                <a:cxn ang="0">
                  <a:pos x="56" y="13"/>
                </a:cxn>
                <a:cxn ang="0">
                  <a:pos x="56" y="13"/>
                </a:cxn>
                <a:cxn ang="0">
                  <a:pos x="56" y="13"/>
                </a:cxn>
              </a:cxnLst>
              <a:rect b="b" l="0" r="r" t="0"/>
              <a:pathLst>
                <a:path h="139" w="155">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bIns="49615" lIns="99229" rIns="99229" tIns="49615"/>
            <a:lstStyle/>
            <a:p>
              <a:pPr eaLnBrk="1" hangingPunct="1">
                <a:lnSpc>
                  <a:spcPct val="120000"/>
                </a:lnSpc>
                <a:defRPr/>
              </a:pPr>
              <a:endParaRPr lang="en-US" noProof="1" sz="1700">
                <a:latin charset="0" pitchFamily="34" typeface="Arial"/>
                <a:ea charset="-122" panose="020b0503020204020204" pitchFamily="34" typeface="微软雅黑"/>
                <a:cs typeface="+mn-ea"/>
                <a:sym charset="0" pitchFamily="34" typeface="Arial"/>
              </a:endParaRPr>
            </a:p>
          </p:txBody>
        </p:sp>
      </p:grpSp>
      <p:sp>
        <p:nvSpPr>
          <p:cNvPr id="103" name="平行四边形 102"/>
          <p:cNvSpPr/>
          <p:nvPr/>
        </p:nvSpPr>
        <p:spPr>
          <a:xfrm flipV="1">
            <a:off x="-1475936" y="431982"/>
            <a:ext cx="2844237"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4" name="平行四边形 103"/>
          <p:cNvSpPr/>
          <p:nvPr/>
        </p:nvSpPr>
        <p:spPr>
          <a:xfrm flipV="1">
            <a:off x="1332298" y="431982"/>
            <a:ext cx="864072" cy="72006"/>
          </a:xfrm>
          <a:prstGeom prst="parallelogram">
            <a:avLst>
              <a:gd fmla="val 220818" name="adj"/>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5" name="平行四边形 104"/>
          <p:cNvSpPr/>
          <p:nvPr/>
        </p:nvSpPr>
        <p:spPr>
          <a:xfrm flipV="1">
            <a:off x="2196370" y="431982"/>
            <a:ext cx="648054" cy="72005"/>
          </a:xfrm>
          <a:prstGeom prst="parallelogram">
            <a:avLst>
              <a:gd fmla="val 220818" name="adj"/>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6" name="平行四边形 105"/>
          <p:cNvSpPr/>
          <p:nvPr/>
        </p:nvSpPr>
        <p:spPr>
          <a:xfrm flipV="1">
            <a:off x="2844424" y="431980"/>
            <a:ext cx="360030" cy="72005"/>
          </a:xfrm>
          <a:prstGeom prst="parallelogram">
            <a:avLst>
              <a:gd fmla="val 220818" name="adj"/>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16380" cy="274320"/>
          </a:xfrm>
          <a:prstGeom prst="rect">
            <a:avLst/>
          </a:prstGeom>
          <a:noFill/>
        </p:spPr>
        <p:txBody>
          <a:bodyPr rtlCol="0" wrap="none">
            <a:spAutoFit/>
          </a:bodyPr>
          <a:lstStyle/>
          <a:p>
            <a:r>
              <a:rPr altLang="en-US" lang="zh-CN" spc="300" sz="1200">
                <a:solidFill>
                  <a:srgbClr val="0070C0"/>
                </a:solidFill>
                <a:latin charset="-122" panose="02010600030101010101" pitchFamily="2" typeface="黑体"/>
                <a:ea charset="-122" panose="02010600030101010101" pitchFamily="2" typeface="黑体"/>
              </a:rPr>
              <a:t>请在此添加标题</a:t>
            </a:r>
          </a:p>
        </p:txBody>
      </p:sp>
      <p:grpSp>
        <p:nvGrpSpPr>
          <p:cNvPr id="109" name="Group 7"/>
          <p:cNvGrpSpPr/>
          <p:nvPr/>
        </p:nvGrpSpPr>
        <p:grpSpPr>
          <a:xfrm>
            <a:off x="180202" y="181952"/>
            <a:ext cx="216018" cy="113981"/>
            <a:chExt cx="1041399" cy="549275"/>
          </a:xfrm>
          <a:solidFill>
            <a:srgbClr val="133E73"/>
          </a:solidFill>
        </p:grpSpPr>
        <p:sp>
          <p:nvSpPr>
            <p:cNvPr id="110" name="Freeform 16"/>
            <p:cNvSpPr/>
            <p:nvPr/>
          </p:nvSpPr>
          <p:spPr bwMode="auto">
            <a:xfrm>
              <a:off x="0" y="0"/>
              <a:ext cx="361950" cy="549275"/>
            </a:xfrm>
            <a:custGeom>
              <a:gdLst>
                <a:gd fmla="*/ 4 w 400" name="T0"/>
                <a:gd fmla="*/ 92 h 608" name="T1"/>
                <a:gd fmla="*/ 96 w 400" name="T2"/>
                <a:gd fmla="*/ 0 h 608" name="T3"/>
                <a:gd fmla="*/ 400 w 400" name="T4"/>
                <a:gd fmla="*/ 304 h 608" name="T5"/>
                <a:gd fmla="*/ 96 w 400" name="T6"/>
                <a:gd fmla="*/ 608 h 608" name="T7"/>
                <a:gd fmla="*/ 0 w 400" name="T8"/>
                <a:gd fmla="*/ 512 h 608" name="T9"/>
                <a:gd fmla="*/ 212 w 400" name="T10"/>
                <a:gd fmla="*/ 300 h 608" name="T11"/>
                <a:gd fmla="*/ 4 w 400"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400">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11" name="Freeform 17"/>
            <p:cNvSpPr/>
            <p:nvPr/>
          </p:nvSpPr>
          <p:spPr bwMode="auto">
            <a:xfrm>
              <a:off x="338137" y="0"/>
              <a:ext cx="360362" cy="549275"/>
            </a:xfrm>
            <a:custGeom>
              <a:gdLst>
                <a:gd fmla="*/ 4 w 399" name="T0"/>
                <a:gd fmla="*/ 92 h 608" name="T1"/>
                <a:gd fmla="*/ 96 w 399" name="T2"/>
                <a:gd fmla="*/ 0 h 608" name="T3"/>
                <a:gd fmla="*/ 399 w 399" name="T4"/>
                <a:gd fmla="*/ 304 h 608" name="T5"/>
                <a:gd fmla="*/ 96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sp>
          <p:nvSpPr>
            <p:cNvPr id="112" name="Freeform 18"/>
            <p:cNvSpPr/>
            <p:nvPr/>
          </p:nvSpPr>
          <p:spPr bwMode="auto">
            <a:xfrm>
              <a:off x="681037" y="0"/>
              <a:ext cx="360362" cy="549275"/>
            </a:xfrm>
            <a:custGeom>
              <a:gdLst>
                <a:gd fmla="*/ 4 w 399" name="T0"/>
                <a:gd fmla="*/ 92 h 608" name="T1"/>
                <a:gd fmla="*/ 95 w 399" name="T2"/>
                <a:gd fmla="*/ 0 h 608" name="T3"/>
                <a:gd fmla="*/ 399 w 399" name="T4"/>
                <a:gd fmla="*/ 304 h 608" name="T5"/>
                <a:gd fmla="*/ 95 w 399" name="T6"/>
                <a:gd fmla="*/ 608 h 608" name="T7"/>
                <a:gd fmla="*/ 0 w 399" name="T8"/>
                <a:gd fmla="*/ 512 h 608" name="T9"/>
                <a:gd fmla="*/ 212 w 399" name="T10"/>
                <a:gd fmla="*/ 300 h 608" name="T11"/>
                <a:gd fmla="*/ 4 w 399" name="T12"/>
                <a:gd fmla="*/ 92 h 608" name="T13"/>
              </a:gdLst>
              <a:cxnLst>
                <a:cxn ang="0">
                  <a:pos x="T0" y="T1"/>
                </a:cxn>
                <a:cxn ang="0">
                  <a:pos x="T2" y="T3"/>
                </a:cxn>
                <a:cxn ang="0">
                  <a:pos x="T4" y="T5"/>
                </a:cxn>
                <a:cxn ang="0">
                  <a:pos x="T6" y="T7"/>
                </a:cxn>
                <a:cxn ang="0">
                  <a:pos x="T8" y="T9"/>
                </a:cxn>
                <a:cxn ang="0">
                  <a:pos x="T10" y="T11"/>
                </a:cxn>
                <a:cxn ang="0">
                  <a:pos x="T12" y="T13"/>
                </a:cxn>
              </a:cxnLst>
              <a:rect b="b" l="0" r="r" t="0"/>
              <a:pathLst>
                <a:path h="608" w="399">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w="9525">
                  <a:solidFill>
                    <a:srgbClr val="000000"/>
                  </a:solidFill>
                  <a:round/>
                  <a:headEnd/>
                  <a:tailEnd/>
                </a14:hiddenLine>
              </a:ext>
            </a:extLst>
          </p:spPr>
          <p:txBody>
            <a:bodyPr/>
            <a:lstStyle/>
            <a:p>
              <a:endParaRPr altLang="en-US" lang="zh-CN"/>
            </a:p>
          </p:txBody>
        </p:sp>
      </p:grpSp>
    </p:spTree>
  </p:cSld>
  <p:clrMapOvr>
    <a:masterClrMapping/>
  </p:clrMapOvr>
  <mc:AlternateContent>
    <mc:Choice Requires="p14">
      <p:transition p14:dur="1600" spd="slow">
        <p14:conveyor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109"/>
                                        </p:tgtEl>
                                        <p:attrNameLst>
                                          <p:attrName>style.visibility</p:attrName>
                                        </p:attrNameLst>
                                      </p:cBhvr>
                                      <p:to>
                                        <p:strVal val="visible"/>
                                      </p:to>
                                    </p:set>
                                    <p:anim calcmode="lin" valueType="num">
                                      <p:cBhvr additive="base">
                                        <p:cTn dur="500" fill="hold" id="7"/>
                                        <p:tgtEl>
                                          <p:spTgt spid="109"/>
                                        </p:tgtEl>
                                        <p:attrNameLst>
                                          <p:attrName>ppt_x</p:attrName>
                                        </p:attrNameLst>
                                      </p:cBhvr>
                                      <p:tavLst>
                                        <p:tav tm="0">
                                          <p:val>
                                            <p:strVal val="0-#ppt_w/2"/>
                                          </p:val>
                                        </p:tav>
                                        <p:tav tm="100000">
                                          <p:val>
                                            <p:strVal val="#ppt_x"/>
                                          </p:val>
                                        </p:tav>
                                      </p:tavLst>
                                    </p:anim>
                                    <p:anim calcmode="lin" valueType="num">
                                      <p:cBhvr additive="base">
                                        <p:cTn dur="500" fill="hold" id="8"/>
                                        <p:tgtEl>
                                          <p:spTgt spid="109"/>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41" presetSubtype="0">
                                  <p:stCondLst>
                                    <p:cond delay="0"/>
                                  </p:stCondLst>
                                  <p:iterate type="lt">
                                    <p:tmPct val="10000"/>
                                  </p:iterate>
                                  <p:childTnLst>
                                    <p:set>
                                      <p:cBhvr>
                                        <p:cTn dur="1" fill="hold" id="11">
                                          <p:stCondLst>
                                            <p:cond delay="0"/>
                                          </p:stCondLst>
                                        </p:cTn>
                                        <p:tgtEl>
                                          <p:spTgt spid="108"/>
                                        </p:tgtEl>
                                        <p:attrNameLst>
                                          <p:attrName>style.visibility</p:attrName>
                                        </p:attrNameLst>
                                      </p:cBhvr>
                                      <p:to>
                                        <p:strVal val="visible"/>
                                      </p:to>
                                    </p:set>
                                    <p:anim calcmode="lin" valueType="num">
                                      <p:cBhvr>
                                        <p:cTn dur="500" fill="hold" id="12"/>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13"/>
                                        <p:tgtEl>
                                          <p:spTgt spid="108"/>
                                        </p:tgtEl>
                                        <p:attrNameLst>
                                          <p:attrName>ppt_y</p:attrName>
                                        </p:attrNameLst>
                                      </p:cBhvr>
                                      <p:tavLst>
                                        <p:tav tm="0">
                                          <p:val>
                                            <p:strVal val="#ppt_y"/>
                                          </p:val>
                                        </p:tav>
                                        <p:tav tm="100000">
                                          <p:val>
                                            <p:strVal val="#ppt_y"/>
                                          </p:val>
                                        </p:tav>
                                      </p:tavLst>
                                    </p:anim>
                                    <p:anim calcmode="lin" valueType="num">
                                      <p:cBhvr>
                                        <p:cTn dur="500" fill="hold" id="14"/>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5"/>
                                        <p:tgtEl>
                                          <p:spTgt spid="108"/>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6" tmFilter="0,0; .5, 1; 1, 1"/>
                                        <p:tgtEl>
                                          <p:spTgt spid="108"/>
                                        </p:tgtEl>
                                      </p:cBhvr>
                                    </p:animEffect>
                                  </p:childTnLst>
                                </p:cTn>
                              </p:par>
                            </p:childTnLst>
                          </p:cTn>
                        </p:par>
                        <p:par>
                          <p:cTn fill="hold" id="17" nodeType="afterGroup">
                            <p:stCondLst>
                              <p:cond delay="1000"/>
                            </p:stCondLst>
                            <p:childTnLst>
                              <p:par>
                                <p:cTn fill="hold" grpId="0" id="18" nodeType="afterEffect" presetClass="emph" presetID="1" presetSubtype="2">
                                  <p:stCondLst>
                                    <p:cond delay="0"/>
                                  </p:stCondLst>
                                  <p:childTnLst>
                                    <p:animClr clrSpc="rgb" dir="cw">
                                      <p:cBhvr>
                                        <p:cTn dur="300" fill="hold" id="19"/>
                                        <p:tgtEl>
                                          <p:spTgt spid="105"/>
                                        </p:tgtEl>
                                        <p:attrNameLst>
                                          <p:attrName>fillcolor</p:attrName>
                                        </p:attrNameLst>
                                      </p:cBhvr>
                                      <p:to>
                                        <a:srgbClr val="00AEEF"/>
                                      </p:to>
                                    </p:animClr>
                                    <p:set>
                                      <p:cBhvr>
                                        <p:cTn dur="300" fill="hold" id="20"/>
                                        <p:tgtEl>
                                          <p:spTgt spid="105"/>
                                        </p:tgtEl>
                                        <p:attrNameLst>
                                          <p:attrName>fill.type</p:attrName>
                                        </p:attrNameLst>
                                      </p:cBhvr>
                                      <p:to>
                                        <p:strVal val="solid"/>
                                      </p:to>
                                    </p:set>
                                    <p:set>
                                      <p:cBhvr>
                                        <p:cTn dur="300" fill="hold" id="21"/>
                                        <p:tgtEl>
                                          <p:spTgt spid="105"/>
                                        </p:tgtEl>
                                        <p:attrNameLst>
                                          <p:attrName>fill.on</p:attrName>
                                        </p:attrNameLst>
                                      </p:cBhvr>
                                      <p:to>
                                        <p:strVal val="true"/>
                                      </p:to>
                                    </p:set>
                                  </p:childTnLst>
                                </p:cTn>
                              </p:par>
                            </p:childTnLst>
                          </p:cTn>
                        </p:par>
                        <p:par>
                          <p:cTn fill="hold" id="22" nodeType="afterGroup">
                            <p:stCondLst>
                              <p:cond delay="1300"/>
                            </p:stCondLst>
                            <p:childTnLst>
                              <p:par>
                                <p:cTn accel="50000" decel="50000" fill="hold" grpId="0" id="23" nodeType="afterEffect" presetClass="entr" presetID="2" presetSubtype="4">
                                  <p:stCondLst>
                                    <p:cond delay="0"/>
                                  </p:stCondLst>
                                  <p:childTnLst>
                                    <p:set>
                                      <p:cBhvr>
                                        <p:cTn dur="1" fill="hold" id="24">
                                          <p:stCondLst>
                                            <p:cond delay="0"/>
                                          </p:stCondLst>
                                        </p:cTn>
                                        <p:tgtEl>
                                          <p:spTgt spid="41"/>
                                        </p:tgtEl>
                                        <p:attrNameLst>
                                          <p:attrName>style.visibility</p:attrName>
                                        </p:attrNameLst>
                                      </p:cBhvr>
                                      <p:to>
                                        <p:strVal val="visible"/>
                                      </p:to>
                                    </p:set>
                                    <p:anim calcmode="lin" valueType="num">
                                      <p:cBhvr>
                                        <p:cTn dur="500" fill="hold" id="25"/>
                                        <p:tgtEl>
                                          <p:spTgt spid="41"/>
                                        </p:tgtEl>
                                        <p:attrNameLst>
                                          <p:attrName>ppt_x</p:attrName>
                                        </p:attrNameLst>
                                      </p:cBhvr>
                                      <p:tavLst>
                                        <p:tav tm="0">
                                          <p:val>
                                            <p:strVal val="#ppt_x"/>
                                          </p:val>
                                        </p:tav>
                                        <p:tav tm="100000">
                                          <p:val>
                                            <p:strVal val="#ppt_x"/>
                                          </p:val>
                                        </p:tav>
                                      </p:tavLst>
                                    </p:anim>
                                    <p:anim calcmode="lin" valueType="num">
                                      <p:cBhvr>
                                        <p:cTn dur="500" fill="hold" id="26"/>
                                        <p:tgtEl>
                                          <p:spTgt spid="41"/>
                                        </p:tgtEl>
                                        <p:attrNameLst>
                                          <p:attrName>ppt_y</p:attrName>
                                        </p:attrNameLst>
                                      </p:cBhvr>
                                      <p:tavLst>
                                        <p:tav tm="0">
                                          <p:val>
                                            <p:strVal val="1+#ppt_h/2"/>
                                          </p:val>
                                        </p:tav>
                                        <p:tav tm="100000">
                                          <p:val>
                                            <p:strVal val="#ppt_y"/>
                                          </p:val>
                                        </p:tav>
                                      </p:tavLst>
                                    </p:anim>
                                  </p:childTnLst>
                                </p:cTn>
                              </p:par>
                            </p:childTnLst>
                          </p:cTn>
                        </p:par>
                        <p:par>
                          <p:cTn fill="hold" id="27" nodeType="afterGroup">
                            <p:stCondLst>
                              <p:cond delay="1800"/>
                            </p:stCondLst>
                            <p:childTnLst>
                              <p:par>
                                <p:cTn fill="hold" id="28" nodeType="afterEffect" presetClass="entr" presetID="53" presetSubtype="0">
                                  <p:stCondLst>
                                    <p:cond delay="0"/>
                                  </p:stCondLst>
                                  <p:childTnLst>
                                    <p:set>
                                      <p:cBhvr>
                                        <p:cTn dur="1" fill="hold" id="29">
                                          <p:stCondLst>
                                            <p:cond delay="0"/>
                                          </p:stCondLst>
                                        </p:cTn>
                                        <p:tgtEl>
                                          <p:spTgt spid="45"/>
                                        </p:tgtEl>
                                        <p:attrNameLst>
                                          <p:attrName>style.visibility</p:attrName>
                                        </p:attrNameLst>
                                      </p:cBhvr>
                                      <p:to>
                                        <p:strVal val="visible"/>
                                      </p:to>
                                    </p:set>
                                    <p:anim calcmode="lin" valueType="num">
                                      <p:cBhvr>
                                        <p:cTn dur="500" fill="hold" id="30"/>
                                        <p:tgtEl>
                                          <p:spTgt spid="45"/>
                                        </p:tgtEl>
                                        <p:attrNameLst>
                                          <p:attrName>ppt_w</p:attrName>
                                        </p:attrNameLst>
                                      </p:cBhvr>
                                      <p:tavLst>
                                        <p:tav tm="0">
                                          <p:val>
                                            <p:fltVal val="0"/>
                                          </p:val>
                                        </p:tav>
                                        <p:tav tm="100000">
                                          <p:val>
                                            <p:strVal val="#ppt_w"/>
                                          </p:val>
                                        </p:tav>
                                      </p:tavLst>
                                    </p:anim>
                                    <p:anim calcmode="lin" valueType="num">
                                      <p:cBhvr>
                                        <p:cTn dur="500" fill="hold" id="31"/>
                                        <p:tgtEl>
                                          <p:spTgt spid="45"/>
                                        </p:tgtEl>
                                        <p:attrNameLst>
                                          <p:attrName>ppt_h</p:attrName>
                                        </p:attrNameLst>
                                      </p:cBhvr>
                                      <p:tavLst>
                                        <p:tav tm="0">
                                          <p:val>
                                            <p:fltVal val="0"/>
                                          </p:val>
                                        </p:tav>
                                        <p:tav tm="100000">
                                          <p:val>
                                            <p:strVal val="#ppt_h"/>
                                          </p:val>
                                        </p:tav>
                                      </p:tavLst>
                                    </p:anim>
                                    <p:animEffect filter="fade" transition="in">
                                      <p:cBhvr>
                                        <p:cTn dur="500" id="32"/>
                                        <p:tgtEl>
                                          <p:spTgt spid="45"/>
                                        </p:tgtEl>
                                      </p:cBhvr>
                                    </p:animEffect>
                                  </p:childTnLst>
                                </p:cTn>
                              </p:par>
                              <p:par>
                                <p:cTn accel="50000" decel="50000" fill="hold" id="33" nodeType="withEffect" presetClass="entr" presetID="2" presetSubtype="2">
                                  <p:stCondLst>
                                    <p:cond delay="0"/>
                                  </p:stCondLst>
                                  <p:childTnLst>
                                    <p:set>
                                      <p:cBhvr>
                                        <p:cTn dur="1" fill="hold" id="34">
                                          <p:stCondLst>
                                            <p:cond delay="0"/>
                                          </p:stCondLst>
                                        </p:cTn>
                                        <p:tgtEl>
                                          <p:spTgt spid="63"/>
                                        </p:tgtEl>
                                        <p:attrNameLst>
                                          <p:attrName>style.visibility</p:attrName>
                                        </p:attrNameLst>
                                      </p:cBhvr>
                                      <p:to>
                                        <p:strVal val="visible"/>
                                      </p:to>
                                    </p:set>
                                    <p:anim calcmode="lin" valueType="num">
                                      <p:cBhvr>
                                        <p:cTn dur="500" fill="hold" id="35"/>
                                        <p:tgtEl>
                                          <p:spTgt spid="63"/>
                                        </p:tgtEl>
                                        <p:attrNameLst>
                                          <p:attrName>ppt_x</p:attrName>
                                        </p:attrNameLst>
                                      </p:cBhvr>
                                      <p:tavLst>
                                        <p:tav tm="0">
                                          <p:val>
                                            <p:strVal val="1+#ppt_w/2"/>
                                          </p:val>
                                        </p:tav>
                                        <p:tav tm="100000">
                                          <p:val>
                                            <p:strVal val="#ppt_x"/>
                                          </p:val>
                                        </p:tav>
                                      </p:tavLst>
                                    </p:anim>
                                    <p:anim calcmode="lin" valueType="num">
                                      <p:cBhvr>
                                        <p:cTn dur="500" fill="hold" id="36"/>
                                        <p:tgtEl>
                                          <p:spTgt spid="63"/>
                                        </p:tgtEl>
                                        <p:attrNameLst>
                                          <p:attrName>ppt_y</p:attrName>
                                        </p:attrNameLst>
                                      </p:cBhvr>
                                      <p:tavLst>
                                        <p:tav tm="0">
                                          <p:val>
                                            <p:strVal val="#ppt_y"/>
                                          </p:val>
                                        </p:tav>
                                        <p:tav tm="100000">
                                          <p:val>
                                            <p:strVal val="#ppt_y"/>
                                          </p:val>
                                        </p:tav>
                                      </p:tavLst>
                                    </p:anim>
                                  </p:childTnLst>
                                </p:cTn>
                              </p:par>
                            </p:childTnLst>
                          </p:cTn>
                        </p:par>
                        <p:par>
                          <p:cTn fill="hold" id="37" nodeType="afterGroup">
                            <p:stCondLst>
                              <p:cond delay="2300"/>
                            </p:stCondLst>
                            <p:childTnLst>
                              <p:par>
                                <p:cTn accel="50000" decel="50000" fill="hold" grpId="0" id="38" nodeType="afterEffect" presetClass="entr" presetID="2" presetSubtype="4">
                                  <p:stCondLst>
                                    <p:cond delay="0"/>
                                  </p:stCondLst>
                                  <p:childTnLst>
                                    <p:set>
                                      <p:cBhvr>
                                        <p:cTn dur="1" fill="hold" id="39">
                                          <p:stCondLst>
                                            <p:cond delay="0"/>
                                          </p:stCondLst>
                                        </p:cTn>
                                        <p:tgtEl>
                                          <p:spTgt spid="42"/>
                                        </p:tgtEl>
                                        <p:attrNameLst>
                                          <p:attrName>style.visibility</p:attrName>
                                        </p:attrNameLst>
                                      </p:cBhvr>
                                      <p:to>
                                        <p:strVal val="visible"/>
                                      </p:to>
                                    </p:set>
                                    <p:anim calcmode="lin" valueType="num">
                                      <p:cBhvr>
                                        <p:cTn dur="500" fill="hold" id="40"/>
                                        <p:tgtEl>
                                          <p:spTgt spid="42"/>
                                        </p:tgtEl>
                                        <p:attrNameLst>
                                          <p:attrName>ppt_x</p:attrName>
                                        </p:attrNameLst>
                                      </p:cBhvr>
                                      <p:tavLst>
                                        <p:tav tm="0">
                                          <p:val>
                                            <p:strVal val="#ppt_x"/>
                                          </p:val>
                                        </p:tav>
                                        <p:tav tm="100000">
                                          <p:val>
                                            <p:strVal val="#ppt_x"/>
                                          </p:val>
                                        </p:tav>
                                      </p:tavLst>
                                    </p:anim>
                                    <p:anim calcmode="lin" valueType="num">
                                      <p:cBhvr>
                                        <p:cTn dur="500" fill="hold" id="41"/>
                                        <p:tgtEl>
                                          <p:spTgt spid="42"/>
                                        </p:tgtEl>
                                        <p:attrNameLst>
                                          <p:attrName>ppt_y</p:attrName>
                                        </p:attrNameLst>
                                      </p:cBhvr>
                                      <p:tavLst>
                                        <p:tav tm="0">
                                          <p:val>
                                            <p:strVal val="1+#ppt_h/2"/>
                                          </p:val>
                                        </p:tav>
                                        <p:tav tm="100000">
                                          <p:val>
                                            <p:strVal val="#ppt_y"/>
                                          </p:val>
                                        </p:tav>
                                      </p:tavLst>
                                    </p:anim>
                                  </p:childTnLst>
                                </p:cTn>
                              </p:par>
                            </p:childTnLst>
                          </p:cTn>
                        </p:par>
                        <p:par>
                          <p:cTn fill="hold" id="42" nodeType="afterGroup">
                            <p:stCondLst>
                              <p:cond delay="2800"/>
                            </p:stCondLst>
                            <p:childTnLst>
                              <p:par>
                                <p:cTn fill="hold" grpId="0" id="43" nodeType="afterEffect" presetClass="entr" presetID="53" presetSubtype="0">
                                  <p:stCondLst>
                                    <p:cond delay="0"/>
                                  </p:stCondLst>
                                  <p:childTnLst>
                                    <p:set>
                                      <p:cBhvr>
                                        <p:cTn dur="1" fill="hold" id="44">
                                          <p:stCondLst>
                                            <p:cond delay="0"/>
                                          </p:stCondLst>
                                        </p:cTn>
                                        <p:tgtEl>
                                          <p:spTgt spid="44"/>
                                        </p:tgtEl>
                                        <p:attrNameLst>
                                          <p:attrName>style.visibility</p:attrName>
                                        </p:attrNameLst>
                                      </p:cBhvr>
                                      <p:to>
                                        <p:strVal val="visible"/>
                                      </p:to>
                                    </p:set>
                                    <p:anim calcmode="lin" valueType="num">
                                      <p:cBhvr>
                                        <p:cTn dur="500" fill="hold" id="45"/>
                                        <p:tgtEl>
                                          <p:spTgt spid="44"/>
                                        </p:tgtEl>
                                        <p:attrNameLst>
                                          <p:attrName>ppt_w</p:attrName>
                                        </p:attrNameLst>
                                      </p:cBhvr>
                                      <p:tavLst>
                                        <p:tav tm="0">
                                          <p:val>
                                            <p:fltVal val="0"/>
                                          </p:val>
                                        </p:tav>
                                        <p:tav tm="100000">
                                          <p:val>
                                            <p:strVal val="#ppt_w"/>
                                          </p:val>
                                        </p:tav>
                                      </p:tavLst>
                                    </p:anim>
                                    <p:anim calcmode="lin" valueType="num">
                                      <p:cBhvr>
                                        <p:cTn dur="500" fill="hold" id="46"/>
                                        <p:tgtEl>
                                          <p:spTgt spid="44"/>
                                        </p:tgtEl>
                                        <p:attrNameLst>
                                          <p:attrName>ppt_h</p:attrName>
                                        </p:attrNameLst>
                                      </p:cBhvr>
                                      <p:tavLst>
                                        <p:tav tm="0">
                                          <p:val>
                                            <p:fltVal val="0"/>
                                          </p:val>
                                        </p:tav>
                                        <p:tav tm="100000">
                                          <p:val>
                                            <p:strVal val="#ppt_h"/>
                                          </p:val>
                                        </p:tav>
                                      </p:tavLst>
                                    </p:anim>
                                    <p:animEffect filter="fade" transition="in">
                                      <p:cBhvr>
                                        <p:cTn dur="500" id="47"/>
                                        <p:tgtEl>
                                          <p:spTgt spid="44"/>
                                        </p:tgtEl>
                                      </p:cBhvr>
                                    </p:animEffect>
                                  </p:childTnLst>
                                </p:cTn>
                              </p:par>
                              <p:par>
                                <p:cTn accel="50000" decel="50000" fill="hold" id="48" nodeType="withEffect" presetClass="entr" presetID="2" presetSubtype="2">
                                  <p:stCondLst>
                                    <p:cond delay="0"/>
                                  </p:stCondLst>
                                  <p:childTnLst>
                                    <p:set>
                                      <p:cBhvr>
                                        <p:cTn dur="1" fill="hold" id="49">
                                          <p:stCondLst>
                                            <p:cond delay="0"/>
                                          </p:stCondLst>
                                        </p:cTn>
                                        <p:tgtEl>
                                          <p:spTgt spid="66"/>
                                        </p:tgtEl>
                                        <p:attrNameLst>
                                          <p:attrName>style.visibility</p:attrName>
                                        </p:attrNameLst>
                                      </p:cBhvr>
                                      <p:to>
                                        <p:strVal val="visible"/>
                                      </p:to>
                                    </p:set>
                                    <p:anim calcmode="lin" valueType="num">
                                      <p:cBhvr>
                                        <p:cTn dur="500" fill="hold" id="50"/>
                                        <p:tgtEl>
                                          <p:spTgt spid="66"/>
                                        </p:tgtEl>
                                        <p:attrNameLst>
                                          <p:attrName>ppt_x</p:attrName>
                                        </p:attrNameLst>
                                      </p:cBhvr>
                                      <p:tavLst>
                                        <p:tav tm="0">
                                          <p:val>
                                            <p:strVal val="1+#ppt_w/2"/>
                                          </p:val>
                                        </p:tav>
                                        <p:tav tm="100000">
                                          <p:val>
                                            <p:strVal val="#ppt_x"/>
                                          </p:val>
                                        </p:tav>
                                      </p:tavLst>
                                    </p:anim>
                                    <p:anim calcmode="lin" valueType="num">
                                      <p:cBhvr>
                                        <p:cTn dur="500" fill="hold" id="51"/>
                                        <p:tgtEl>
                                          <p:spTgt spid="66"/>
                                        </p:tgtEl>
                                        <p:attrNameLst>
                                          <p:attrName>ppt_y</p:attrName>
                                        </p:attrNameLst>
                                      </p:cBhvr>
                                      <p:tavLst>
                                        <p:tav tm="0">
                                          <p:val>
                                            <p:strVal val="#ppt_y"/>
                                          </p:val>
                                        </p:tav>
                                        <p:tav tm="100000">
                                          <p:val>
                                            <p:strVal val="#ppt_y"/>
                                          </p:val>
                                        </p:tav>
                                      </p:tavLst>
                                    </p:anim>
                                  </p:childTnLst>
                                </p:cTn>
                              </p:par>
                            </p:childTnLst>
                          </p:cTn>
                        </p:par>
                        <p:par>
                          <p:cTn fill="hold" id="52" nodeType="afterGroup">
                            <p:stCondLst>
                              <p:cond delay="3300"/>
                            </p:stCondLst>
                            <p:childTnLst>
                              <p:par>
                                <p:cTn accel="50000" decel="50000" fill="hold" grpId="0" id="53" nodeType="afterEffect" presetClass="entr" presetID="2" presetSubtype="4">
                                  <p:stCondLst>
                                    <p:cond delay="0"/>
                                  </p:stCondLst>
                                  <p:childTnLst>
                                    <p:set>
                                      <p:cBhvr>
                                        <p:cTn dur="1" fill="hold" id="54">
                                          <p:stCondLst>
                                            <p:cond delay="0"/>
                                          </p:stCondLst>
                                        </p:cTn>
                                        <p:tgtEl>
                                          <p:spTgt spid="43"/>
                                        </p:tgtEl>
                                        <p:attrNameLst>
                                          <p:attrName>style.visibility</p:attrName>
                                        </p:attrNameLst>
                                      </p:cBhvr>
                                      <p:to>
                                        <p:strVal val="visible"/>
                                      </p:to>
                                    </p:set>
                                    <p:anim calcmode="lin" valueType="num">
                                      <p:cBhvr>
                                        <p:cTn dur="500" fill="hold" id="55"/>
                                        <p:tgtEl>
                                          <p:spTgt spid="43"/>
                                        </p:tgtEl>
                                        <p:attrNameLst>
                                          <p:attrName>ppt_x</p:attrName>
                                        </p:attrNameLst>
                                      </p:cBhvr>
                                      <p:tavLst>
                                        <p:tav tm="0">
                                          <p:val>
                                            <p:strVal val="#ppt_x"/>
                                          </p:val>
                                        </p:tav>
                                        <p:tav tm="100000">
                                          <p:val>
                                            <p:strVal val="#ppt_x"/>
                                          </p:val>
                                        </p:tav>
                                      </p:tavLst>
                                    </p:anim>
                                    <p:anim calcmode="lin" valueType="num">
                                      <p:cBhvr>
                                        <p:cTn dur="500" fill="hold" id="56"/>
                                        <p:tgtEl>
                                          <p:spTgt spid="43"/>
                                        </p:tgtEl>
                                        <p:attrNameLst>
                                          <p:attrName>ppt_y</p:attrName>
                                        </p:attrNameLst>
                                      </p:cBhvr>
                                      <p:tavLst>
                                        <p:tav tm="0">
                                          <p:val>
                                            <p:strVal val="1+#ppt_h/2"/>
                                          </p:val>
                                        </p:tav>
                                        <p:tav tm="100000">
                                          <p:val>
                                            <p:strVal val="#ppt_y"/>
                                          </p:val>
                                        </p:tav>
                                      </p:tavLst>
                                    </p:anim>
                                  </p:childTnLst>
                                </p:cTn>
                              </p:par>
                            </p:childTnLst>
                          </p:cTn>
                        </p:par>
                        <p:par>
                          <p:cTn fill="hold" id="57" nodeType="afterGroup">
                            <p:stCondLst>
                              <p:cond delay="3800"/>
                            </p:stCondLst>
                            <p:childTnLst>
                              <p:par>
                                <p:cTn fill="hold" id="58" nodeType="afterEffect" presetClass="entr" presetID="53" presetSubtype="0">
                                  <p:stCondLst>
                                    <p:cond delay="0"/>
                                  </p:stCondLst>
                                  <p:childTnLst>
                                    <p:set>
                                      <p:cBhvr>
                                        <p:cTn dur="1" fill="hold" id="59">
                                          <p:stCondLst>
                                            <p:cond delay="0"/>
                                          </p:stCondLst>
                                        </p:cTn>
                                        <p:tgtEl>
                                          <p:spTgt spid="48"/>
                                        </p:tgtEl>
                                        <p:attrNameLst>
                                          <p:attrName>style.visibility</p:attrName>
                                        </p:attrNameLst>
                                      </p:cBhvr>
                                      <p:to>
                                        <p:strVal val="visible"/>
                                      </p:to>
                                    </p:set>
                                    <p:anim calcmode="lin" valueType="num">
                                      <p:cBhvr>
                                        <p:cTn dur="500" fill="hold" id="60"/>
                                        <p:tgtEl>
                                          <p:spTgt spid="48"/>
                                        </p:tgtEl>
                                        <p:attrNameLst>
                                          <p:attrName>ppt_w</p:attrName>
                                        </p:attrNameLst>
                                      </p:cBhvr>
                                      <p:tavLst>
                                        <p:tav tm="0">
                                          <p:val>
                                            <p:fltVal val="0"/>
                                          </p:val>
                                        </p:tav>
                                        <p:tav tm="100000">
                                          <p:val>
                                            <p:strVal val="#ppt_w"/>
                                          </p:val>
                                        </p:tav>
                                      </p:tavLst>
                                    </p:anim>
                                    <p:anim calcmode="lin" valueType="num">
                                      <p:cBhvr>
                                        <p:cTn dur="500" fill="hold" id="61"/>
                                        <p:tgtEl>
                                          <p:spTgt spid="48"/>
                                        </p:tgtEl>
                                        <p:attrNameLst>
                                          <p:attrName>ppt_h</p:attrName>
                                        </p:attrNameLst>
                                      </p:cBhvr>
                                      <p:tavLst>
                                        <p:tav tm="0">
                                          <p:val>
                                            <p:fltVal val="0"/>
                                          </p:val>
                                        </p:tav>
                                        <p:tav tm="100000">
                                          <p:val>
                                            <p:strVal val="#ppt_h"/>
                                          </p:val>
                                        </p:tav>
                                      </p:tavLst>
                                    </p:anim>
                                    <p:animEffect filter="fade" transition="in">
                                      <p:cBhvr>
                                        <p:cTn dur="500" id="62"/>
                                        <p:tgtEl>
                                          <p:spTgt spid="48"/>
                                        </p:tgtEl>
                                      </p:cBhvr>
                                    </p:animEffect>
                                  </p:childTnLst>
                                </p:cTn>
                              </p:par>
                              <p:par>
                                <p:cTn accel="50000" decel="50000" fill="hold" id="63" nodeType="withEffect" presetClass="entr" presetID="2" presetSubtype="2">
                                  <p:stCondLst>
                                    <p:cond delay="0"/>
                                  </p:stCondLst>
                                  <p:childTnLst>
                                    <p:set>
                                      <p:cBhvr>
                                        <p:cTn dur="1" fill="hold" id="64">
                                          <p:stCondLst>
                                            <p:cond delay="0"/>
                                          </p:stCondLst>
                                        </p:cTn>
                                        <p:tgtEl>
                                          <p:spTgt spid="69"/>
                                        </p:tgtEl>
                                        <p:attrNameLst>
                                          <p:attrName>style.visibility</p:attrName>
                                        </p:attrNameLst>
                                      </p:cBhvr>
                                      <p:to>
                                        <p:strVal val="visible"/>
                                      </p:to>
                                    </p:set>
                                    <p:anim calcmode="lin" valueType="num">
                                      <p:cBhvr>
                                        <p:cTn dur="500" fill="hold" id="65"/>
                                        <p:tgtEl>
                                          <p:spTgt spid="69"/>
                                        </p:tgtEl>
                                        <p:attrNameLst>
                                          <p:attrName>ppt_x</p:attrName>
                                        </p:attrNameLst>
                                      </p:cBhvr>
                                      <p:tavLst>
                                        <p:tav tm="0">
                                          <p:val>
                                            <p:strVal val="1+#ppt_w/2"/>
                                          </p:val>
                                        </p:tav>
                                        <p:tav tm="100000">
                                          <p:val>
                                            <p:strVal val="#ppt_x"/>
                                          </p:val>
                                        </p:tav>
                                      </p:tavLst>
                                    </p:anim>
                                    <p:anim calcmode="lin" valueType="num">
                                      <p:cBhvr>
                                        <p:cTn dur="500" fill="hold" id="66"/>
                                        <p:tgtEl>
                                          <p:spTgt spid="69"/>
                                        </p:tgtEl>
                                        <p:attrNameLst>
                                          <p:attrName>ppt_y</p:attrName>
                                        </p:attrNameLst>
                                      </p:cBhvr>
                                      <p:tavLst>
                                        <p:tav tm="0">
                                          <p:val>
                                            <p:strVal val="#ppt_y"/>
                                          </p:val>
                                        </p:tav>
                                        <p:tav tm="100000">
                                          <p:val>
                                            <p:strVal val="#ppt_y"/>
                                          </p:val>
                                        </p:tav>
                                      </p:tavLst>
                                    </p:anim>
                                  </p:childTnLst>
                                </p:cTn>
                              </p:par>
                            </p:childTnLst>
                          </p:cTn>
                        </p:par>
                        <p:par>
                          <p:cTn fill="hold" id="67" nodeType="afterGroup">
                            <p:stCondLst>
                              <p:cond delay="4300"/>
                            </p:stCondLst>
                            <p:childTnLst>
                              <p:par>
                                <p:cTn accel="50000" decel="50000" fill="hold" grpId="0" id="68" nodeType="afterEffect" presetClass="entr" presetID="2" presetSubtype="4">
                                  <p:stCondLst>
                                    <p:cond delay="0"/>
                                  </p:stCondLst>
                                  <p:childTnLst>
                                    <p:set>
                                      <p:cBhvr>
                                        <p:cTn dur="1" fill="hold" id="69">
                                          <p:stCondLst>
                                            <p:cond delay="0"/>
                                          </p:stCondLst>
                                        </p:cTn>
                                        <p:tgtEl>
                                          <p:spTgt spid="72"/>
                                        </p:tgtEl>
                                        <p:attrNameLst>
                                          <p:attrName>style.visibility</p:attrName>
                                        </p:attrNameLst>
                                      </p:cBhvr>
                                      <p:to>
                                        <p:strVal val="visible"/>
                                      </p:to>
                                    </p:set>
                                    <p:anim calcmode="lin" valueType="num">
                                      <p:cBhvr>
                                        <p:cTn dur="500" fill="hold" id="70"/>
                                        <p:tgtEl>
                                          <p:spTgt spid="72"/>
                                        </p:tgtEl>
                                        <p:attrNameLst>
                                          <p:attrName>ppt_x</p:attrName>
                                        </p:attrNameLst>
                                      </p:cBhvr>
                                      <p:tavLst>
                                        <p:tav tm="0">
                                          <p:val>
                                            <p:strVal val="#ppt_x"/>
                                          </p:val>
                                        </p:tav>
                                        <p:tav tm="100000">
                                          <p:val>
                                            <p:strVal val="#ppt_x"/>
                                          </p:val>
                                        </p:tav>
                                      </p:tavLst>
                                    </p:anim>
                                    <p:anim calcmode="lin" valueType="num">
                                      <p:cBhvr>
                                        <p:cTn dur="500" fill="hold" id="71"/>
                                        <p:tgtEl>
                                          <p:spTgt spid="72"/>
                                        </p:tgtEl>
                                        <p:attrNameLst>
                                          <p:attrName>ppt_y</p:attrName>
                                        </p:attrNameLst>
                                      </p:cBhvr>
                                      <p:tavLst>
                                        <p:tav tm="0">
                                          <p:val>
                                            <p:strVal val="1+#ppt_h/2"/>
                                          </p:val>
                                        </p:tav>
                                        <p:tav tm="100000">
                                          <p:val>
                                            <p:strVal val="#ppt_y"/>
                                          </p:val>
                                        </p:tav>
                                      </p:tavLst>
                                    </p:anim>
                                  </p:childTnLst>
                                </p:cTn>
                              </p:par>
                            </p:childTnLst>
                          </p:cTn>
                        </p:par>
                        <p:par>
                          <p:cTn fill="hold" id="72" nodeType="afterGroup">
                            <p:stCondLst>
                              <p:cond delay="4800"/>
                            </p:stCondLst>
                            <p:childTnLst>
                              <p:par>
                                <p:cTn fill="hold" id="73" nodeType="afterEffect" presetClass="entr" presetID="53" presetSubtype="0">
                                  <p:stCondLst>
                                    <p:cond delay="0"/>
                                  </p:stCondLst>
                                  <p:childTnLst>
                                    <p:set>
                                      <p:cBhvr>
                                        <p:cTn dur="1" fill="hold" id="74">
                                          <p:stCondLst>
                                            <p:cond delay="0"/>
                                          </p:stCondLst>
                                        </p:cTn>
                                        <p:tgtEl>
                                          <p:spTgt spid="84"/>
                                        </p:tgtEl>
                                        <p:attrNameLst>
                                          <p:attrName>style.visibility</p:attrName>
                                        </p:attrNameLst>
                                      </p:cBhvr>
                                      <p:to>
                                        <p:strVal val="visible"/>
                                      </p:to>
                                    </p:set>
                                    <p:anim calcmode="lin" valueType="num">
                                      <p:cBhvr>
                                        <p:cTn dur="500" fill="hold" id="75"/>
                                        <p:tgtEl>
                                          <p:spTgt spid="84"/>
                                        </p:tgtEl>
                                        <p:attrNameLst>
                                          <p:attrName>ppt_w</p:attrName>
                                        </p:attrNameLst>
                                      </p:cBhvr>
                                      <p:tavLst>
                                        <p:tav tm="0">
                                          <p:val>
                                            <p:fltVal val="0"/>
                                          </p:val>
                                        </p:tav>
                                        <p:tav tm="100000">
                                          <p:val>
                                            <p:strVal val="#ppt_w"/>
                                          </p:val>
                                        </p:tav>
                                      </p:tavLst>
                                    </p:anim>
                                    <p:anim calcmode="lin" valueType="num">
                                      <p:cBhvr>
                                        <p:cTn dur="500" fill="hold" id="76"/>
                                        <p:tgtEl>
                                          <p:spTgt spid="84"/>
                                        </p:tgtEl>
                                        <p:attrNameLst>
                                          <p:attrName>ppt_h</p:attrName>
                                        </p:attrNameLst>
                                      </p:cBhvr>
                                      <p:tavLst>
                                        <p:tav tm="0">
                                          <p:val>
                                            <p:fltVal val="0"/>
                                          </p:val>
                                        </p:tav>
                                        <p:tav tm="100000">
                                          <p:val>
                                            <p:strVal val="#ppt_h"/>
                                          </p:val>
                                        </p:tav>
                                      </p:tavLst>
                                    </p:anim>
                                    <p:animEffect filter="fade" transition="in">
                                      <p:cBhvr>
                                        <p:cTn dur="500" id="77"/>
                                        <p:tgtEl>
                                          <p:spTgt spid="84"/>
                                        </p:tgtEl>
                                      </p:cBhvr>
                                    </p:animEffect>
                                  </p:childTnLst>
                                </p:cTn>
                              </p:par>
                              <p:par>
                                <p:cTn accel="50000" decel="50000" fill="hold" id="78" nodeType="withEffect" presetClass="entr" presetID="2" presetSubtype="2">
                                  <p:stCondLst>
                                    <p:cond delay="0"/>
                                  </p:stCondLst>
                                  <p:childTnLst>
                                    <p:set>
                                      <p:cBhvr>
                                        <p:cTn dur="1" fill="hold" id="79">
                                          <p:stCondLst>
                                            <p:cond delay="0"/>
                                          </p:stCondLst>
                                        </p:cTn>
                                        <p:tgtEl>
                                          <p:spTgt spid="75"/>
                                        </p:tgtEl>
                                        <p:attrNameLst>
                                          <p:attrName>style.visibility</p:attrName>
                                        </p:attrNameLst>
                                      </p:cBhvr>
                                      <p:to>
                                        <p:strVal val="visible"/>
                                      </p:to>
                                    </p:set>
                                    <p:anim calcmode="lin" valueType="num">
                                      <p:cBhvr>
                                        <p:cTn dur="500" fill="hold" id="80"/>
                                        <p:tgtEl>
                                          <p:spTgt spid="75"/>
                                        </p:tgtEl>
                                        <p:attrNameLst>
                                          <p:attrName>ppt_x</p:attrName>
                                        </p:attrNameLst>
                                      </p:cBhvr>
                                      <p:tavLst>
                                        <p:tav tm="0">
                                          <p:val>
                                            <p:strVal val="1+#ppt_w/2"/>
                                          </p:val>
                                        </p:tav>
                                        <p:tav tm="100000">
                                          <p:val>
                                            <p:strVal val="#ppt_x"/>
                                          </p:val>
                                        </p:tav>
                                      </p:tavLst>
                                    </p:anim>
                                    <p:anim calcmode="lin" valueType="num">
                                      <p:cBhvr>
                                        <p:cTn dur="500" fill="hold" id="81"/>
                                        <p:tgtEl>
                                          <p:spTgt spid="75"/>
                                        </p:tgtEl>
                                        <p:attrNameLst>
                                          <p:attrName>ppt_y</p:attrName>
                                        </p:attrNameLst>
                                      </p:cBhvr>
                                      <p:tavLst>
                                        <p:tav tm="0">
                                          <p:val>
                                            <p:strVal val="#ppt_y"/>
                                          </p:val>
                                        </p:tav>
                                        <p:tav tm="100000">
                                          <p:val>
                                            <p:strVal val="#ppt_y"/>
                                          </p:val>
                                        </p:tav>
                                      </p:tavLst>
                                    </p:anim>
                                  </p:childTnLst>
                                </p:cTn>
                              </p:par>
                            </p:childTnLst>
                          </p:cTn>
                        </p:par>
                        <p:par>
                          <p:cTn fill="hold" id="82" nodeType="afterGroup">
                            <p:stCondLst>
                              <p:cond delay="5300"/>
                            </p:stCondLst>
                            <p:childTnLst>
                              <p:par>
                                <p:cTn accel="50000" decel="50000" fill="hold" grpId="0" id="83" nodeType="afterEffect" presetClass="entr" presetID="2" presetSubtype="4">
                                  <p:stCondLst>
                                    <p:cond delay="0"/>
                                  </p:stCondLst>
                                  <p:childTnLst>
                                    <p:set>
                                      <p:cBhvr>
                                        <p:cTn dur="1" fill="hold" id="84">
                                          <p:stCondLst>
                                            <p:cond delay="0"/>
                                          </p:stCondLst>
                                        </p:cTn>
                                        <p:tgtEl>
                                          <p:spTgt spid="73"/>
                                        </p:tgtEl>
                                        <p:attrNameLst>
                                          <p:attrName>style.visibility</p:attrName>
                                        </p:attrNameLst>
                                      </p:cBhvr>
                                      <p:to>
                                        <p:strVal val="visible"/>
                                      </p:to>
                                    </p:set>
                                    <p:anim calcmode="lin" valueType="num">
                                      <p:cBhvr>
                                        <p:cTn dur="500" fill="hold" id="85"/>
                                        <p:tgtEl>
                                          <p:spTgt spid="73"/>
                                        </p:tgtEl>
                                        <p:attrNameLst>
                                          <p:attrName>ppt_x</p:attrName>
                                        </p:attrNameLst>
                                      </p:cBhvr>
                                      <p:tavLst>
                                        <p:tav tm="0">
                                          <p:val>
                                            <p:strVal val="#ppt_x"/>
                                          </p:val>
                                        </p:tav>
                                        <p:tav tm="100000">
                                          <p:val>
                                            <p:strVal val="#ppt_x"/>
                                          </p:val>
                                        </p:tav>
                                      </p:tavLst>
                                    </p:anim>
                                    <p:anim calcmode="lin" valueType="num">
                                      <p:cBhvr>
                                        <p:cTn dur="500" fill="hold" id="86"/>
                                        <p:tgtEl>
                                          <p:spTgt spid="73"/>
                                        </p:tgtEl>
                                        <p:attrNameLst>
                                          <p:attrName>ppt_y</p:attrName>
                                        </p:attrNameLst>
                                      </p:cBhvr>
                                      <p:tavLst>
                                        <p:tav tm="0">
                                          <p:val>
                                            <p:strVal val="1+#ppt_h/2"/>
                                          </p:val>
                                        </p:tav>
                                        <p:tav tm="100000">
                                          <p:val>
                                            <p:strVal val="#ppt_y"/>
                                          </p:val>
                                        </p:tav>
                                      </p:tavLst>
                                    </p:anim>
                                  </p:childTnLst>
                                </p:cTn>
                              </p:par>
                            </p:childTnLst>
                          </p:cTn>
                        </p:par>
                        <p:par>
                          <p:cTn fill="hold" id="87" nodeType="afterGroup">
                            <p:stCondLst>
                              <p:cond delay="5800"/>
                            </p:stCondLst>
                            <p:childTnLst>
                              <p:par>
                                <p:cTn fill="hold" id="88" nodeType="afterEffect" presetClass="entr" presetID="53" presetSubtype="0">
                                  <p:stCondLst>
                                    <p:cond delay="0"/>
                                  </p:stCondLst>
                                  <p:childTnLst>
                                    <p:set>
                                      <p:cBhvr>
                                        <p:cTn dur="1" fill="hold" id="89">
                                          <p:stCondLst>
                                            <p:cond delay="0"/>
                                          </p:stCondLst>
                                        </p:cTn>
                                        <p:tgtEl>
                                          <p:spTgt spid="88"/>
                                        </p:tgtEl>
                                        <p:attrNameLst>
                                          <p:attrName>style.visibility</p:attrName>
                                        </p:attrNameLst>
                                      </p:cBhvr>
                                      <p:to>
                                        <p:strVal val="visible"/>
                                      </p:to>
                                    </p:set>
                                    <p:anim calcmode="lin" valueType="num">
                                      <p:cBhvr>
                                        <p:cTn dur="500" fill="hold" id="90"/>
                                        <p:tgtEl>
                                          <p:spTgt spid="88"/>
                                        </p:tgtEl>
                                        <p:attrNameLst>
                                          <p:attrName>ppt_w</p:attrName>
                                        </p:attrNameLst>
                                      </p:cBhvr>
                                      <p:tavLst>
                                        <p:tav tm="0">
                                          <p:val>
                                            <p:fltVal val="0"/>
                                          </p:val>
                                        </p:tav>
                                        <p:tav tm="100000">
                                          <p:val>
                                            <p:strVal val="#ppt_w"/>
                                          </p:val>
                                        </p:tav>
                                      </p:tavLst>
                                    </p:anim>
                                    <p:anim calcmode="lin" valueType="num">
                                      <p:cBhvr>
                                        <p:cTn dur="500" fill="hold" id="91"/>
                                        <p:tgtEl>
                                          <p:spTgt spid="88"/>
                                        </p:tgtEl>
                                        <p:attrNameLst>
                                          <p:attrName>ppt_h</p:attrName>
                                        </p:attrNameLst>
                                      </p:cBhvr>
                                      <p:tavLst>
                                        <p:tav tm="0">
                                          <p:val>
                                            <p:fltVal val="0"/>
                                          </p:val>
                                        </p:tav>
                                        <p:tav tm="100000">
                                          <p:val>
                                            <p:strVal val="#ppt_h"/>
                                          </p:val>
                                        </p:tav>
                                      </p:tavLst>
                                    </p:anim>
                                    <p:animEffect filter="fade" transition="in">
                                      <p:cBhvr>
                                        <p:cTn dur="500" id="92"/>
                                        <p:tgtEl>
                                          <p:spTgt spid="88"/>
                                        </p:tgtEl>
                                      </p:cBhvr>
                                    </p:animEffect>
                                  </p:childTnLst>
                                </p:cTn>
                              </p:par>
                              <p:par>
                                <p:cTn accel="50000" decel="50000" fill="hold" id="93" nodeType="withEffect" presetClass="entr" presetID="2" presetSubtype="2">
                                  <p:stCondLst>
                                    <p:cond delay="0"/>
                                  </p:stCondLst>
                                  <p:childTnLst>
                                    <p:set>
                                      <p:cBhvr>
                                        <p:cTn dur="1" fill="hold" id="94">
                                          <p:stCondLst>
                                            <p:cond delay="0"/>
                                          </p:stCondLst>
                                        </p:cTn>
                                        <p:tgtEl>
                                          <p:spTgt spid="78"/>
                                        </p:tgtEl>
                                        <p:attrNameLst>
                                          <p:attrName>style.visibility</p:attrName>
                                        </p:attrNameLst>
                                      </p:cBhvr>
                                      <p:to>
                                        <p:strVal val="visible"/>
                                      </p:to>
                                    </p:set>
                                    <p:anim calcmode="lin" valueType="num">
                                      <p:cBhvr>
                                        <p:cTn dur="500" fill="hold" id="95"/>
                                        <p:tgtEl>
                                          <p:spTgt spid="78"/>
                                        </p:tgtEl>
                                        <p:attrNameLst>
                                          <p:attrName>ppt_x</p:attrName>
                                        </p:attrNameLst>
                                      </p:cBhvr>
                                      <p:tavLst>
                                        <p:tav tm="0">
                                          <p:val>
                                            <p:strVal val="1+#ppt_w/2"/>
                                          </p:val>
                                        </p:tav>
                                        <p:tav tm="100000">
                                          <p:val>
                                            <p:strVal val="#ppt_x"/>
                                          </p:val>
                                        </p:tav>
                                      </p:tavLst>
                                    </p:anim>
                                    <p:anim calcmode="lin" valueType="num">
                                      <p:cBhvr>
                                        <p:cTn dur="500" fill="hold" id="96"/>
                                        <p:tgtEl>
                                          <p:spTgt spid="78"/>
                                        </p:tgtEl>
                                        <p:attrNameLst>
                                          <p:attrName>ppt_y</p:attrName>
                                        </p:attrNameLst>
                                      </p:cBhvr>
                                      <p:tavLst>
                                        <p:tav tm="0">
                                          <p:val>
                                            <p:strVal val="#ppt_y"/>
                                          </p:val>
                                        </p:tav>
                                        <p:tav tm="100000">
                                          <p:val>
                                            <p:strVal val="#ppt_y"/>
                                          </p:val>
                                        </p:tav>
                                      </p:tavLst>
                                    </p:anim>
                                  </p:childTnLst>
                                </p:cTn>
                              </p:par>
                            </p:childTnLst>
                          </p:cTn>
                        </p:par>
                        <p:par>
                          <p:cTn fill="hold" id="97" nodeType="afterGroup">
                            <p:stCondLst>
                              <p:cond delay="6300"/>
                            </p:stCondLst>
                            <p:childTnLst>
                              <p:par>
                                <p:cTn accel="50000" decel="50000" fill="hold" grpId="0" id="98" nodeType="afterEffect" presetClass="entr" presetID="2" presetSubtype="4">
                                  <p:stCondLst>
                                    <p:cond delay="0"/>
                                  </p:stCondLst>
                                  <p:childTnLst>
                                    <p:set>
                                      <p:cBhvr>
                                        <p:cTn dur="1" fill="hold" id="99">
                                          <p:stCondLst>
                                            <p:cond delay="0"/>
                                          </p:stCondLst>
                                        </p:cTn>
                                        <p:tgtEl>
                                          <p:spTgt spid="74"/>
                                        </p:tgtEl>
                                        <p:attrNameLst>
                                          <p:attrName>style.visibility</p:attrName>
                                        </p:attrNameLst>
                                      </p:cBhvr>
                                      <p:to>
                                        <p:strVal val="visible"/>
                                      </p:to>
                                    </p:set>
                                    <p:anim calcmode="lin" valueType="num">
                                      <p:cBhvr>
                                        <p:cTn dur="500" fill="hold" id="100"/>
                                        <p:tgtEl>
                                          <p:spTgt spid="74"/>
                                        </p:tgtEl>
                                        <p:attrNameLst>
                                          <p:attrName>ppt_x</p:attrName>
                                        </p:attrNameLst>
                                      </p:cBhvr>
                                      <p:tavLst>
                                        <p:tav tm="0">
                                          <p:val>
                                            <p:strVal val="#ppt_x"/>
                                          </p:val>
                                        </p:tav>
                                        <p:tav tm="100000">
                                          <p:val>
                                            <p:strVal val="#ppt_x"/>
                                          </p:val>
                                        </p:tav>
                                      </p:tavLst>
                                    </p:anim>
                                    <p:anim calcmode="lin" valueType="num">
                                      <p:cBhvr>
                                        <p:cTn dur="500" fill="hold" id="101"/>
                                        <p:tgtEl>
                                          <p:spTgt spid="74"/>
                                        </p:tgtEl>
                                        <p:attrNameLst>
                                          <p:attrName>ppt_y</p:attrName>
                                        </p:attrNameLst>
                                      </p:cBhvr>
                                      <p:tavLst>
                                        <p:tav tm="0">
                                          <p:val>
                                            <p:strVal val="1+#ppt_h/2"/>
                                          </p:val>
                                        </p:tav>
                                        <p:tav tm="100000">
                                          <p:val>
                                            <p:strVal val="#ppt_y"/>
                                          </p:val>
                                        </p:tav>
                                      </p:tavLst>
                                    </p:anim>
                                  </p:childTnLst>
                                </p:cTn>
                              </p:par>
                            </p:childTnLst>
                          </p:cTn>
                        </p:par>
                        <p:par>
                          <p:cTn fill="hold" id="102" nodeType="afterGroup">
                            <p:stCondLst>
                              <p:cond delay="6800"/>
                            </p:stCondLst>
                            <p:childTnLst>
                              <p:par>
                                <p:cTn fill="hold" id="103" nodeType="afterEffect" presetClass="entr" presetID="53" presetSubtype="0">
                                  <p:stCondLst>
                                    <p:cond delay="0"/>
                                  </p:stCondLst>
                                  <p:childTnLst>
                                    <p:set>
                                      <p:cBhvr>
                                        <p:cTn dur="1" fill="hold" id="104">
                                          <p:stCondLst>
                                            <p:cond delay="0"/>
                                          </p:stCondLst>
                                        </p:cTn>
                                        <p:tgtEl>
                                          <p:spTgt spid="100"/>
                                        </p:tgtEl>
                                        <p:attrNameLst>
                                          <p:attrName>style.visibility</p:attrName>
                                        </p:attrNameLst>
                                      </p:cBhvr>
                                      <p:to>
                                        <p:strVal val="visible"/>
                                      </p:to>
                                    </p:set>
                                    <p:anim calcmode="lin" valueType="num">
                                      <p:cBhvr>
                                        <p:cTn dur="500" fill="hold" id="105"/>
                                        <p:tgtEl>
                                          <p:spTgt spid="100"/>
                                        </p:tgtEl>
                                        <p:attrNameLst>
                                          <p:attrName>ppt_w</p:attrName>
                                        </p:attrNameLst>
                                      </p:cBhvr>
                                      <p:tavLst>
                                        <p:tav tm="0">
                                          <p:val>
                                            <p:fltVal val="0"/>
                                          </p:val>
                                        </p:tav>
                                        <p:tav tm="100000">
                                          <p:val>
                                            <p:strVal val="#ppt_w"/>
                                          </p:val>
                                        </p:tav>
                                      </p:tavLst>
                                    </p:anim>
                                    <p:anim calcmode="lin" valueType="num">
                                      <p:cBhvr>
                                        <p:cTn dur="500" fill="hold" id="106"/>
                                        <p:tgtEl>
                                          <p:spTgt spid="100"/>
                                        </p:tgtEl>
                                        <p:attrNameLst>
                                          <p:attrName>ppt_h</p:attrName>
                                        </p:attrNameLst>
                                      </p:cBhvr>
                                      <p:tavLst>
                                        <p:tav tm="0">
                                          <p:val>
                                            <p:fltVal val="0"/>
                                          </p:val>
                                        </p:tav>
                                        <p:tav tm="100000">
                                          <p:val>
                                            <p:strVal val="#ppt_h"/>
                                          </p:val>
                                        </p:tav>
                                      </p:tavLst>
                                    </p:anim>
                                    <p:animEffect filter="fade" transition="in">
                                      <p:cBhvr>
                                        <p:cTn dur="500" id="107"/>
                                        <p:tgtEl>
                                          <p:spTgt spid="100"/>
                                        </p:tgtEl>
                                      </p:cBhvr>
                                    </p:animEffect>
                                  </p:childTnLst>
                                </p:cTn>
                              </p:par>
                              <p:par>
                                <p:cTn accel="50000" decel="50000" fill="hold" id="108" nodeType="withEffect" presetClass="entr" presetID="2" presetSubtype="2">
                                  <p:stCondLst>
                                    <p:cond delay="0"/>
                                  </p:stCondLst>
                                  <p:childTnLst>
                                    <p:set>
                                      <p:cBhvr>
                                        <p:cTn dur="1" fill="hold" id="109">
                                          <p:stCondLst>
                                            <p:cond delay="0"/>
                                          </p:stCondLst>
                                        </p:cTn>
                                        <p:tgtEl>
                                          <p:spTgt spid="81"/>
                                        </p:tgtEl>
                                        <p:attrNameLst>
                                          <p:attrName>style.visibility</p:attrName>
                                        </p:attrNameLst>
                                      </p:cBhvr>
                                      <p:to>
                                        <p:strVal val="visible"/>
                                      </p:to>
                                    </p:set>
                                    <p:anim calcmode="lin" valueType="num">
                                      <p:cBhvr>
                                        <p:cTn dur="500" fill="hold" id="110"/>
                                        <p:tgtEl>
                                          <p:spTgt spid="81"/>
                                        </p:tgtEl>
                                        <p:attrNameLst>
                                          <p:attrName>ppt_x</p:attrName>
                                        </p:attrNameLst>
                                      </p:cBhvr>
                                      <p:tavLst>
                                        <p:tav tm="0">
                                          <p:val>
                                            <p:strVal val="1+#ppt_w/2"/>
                                          </p:val>
                                        </p:tav>
                                        <p:tav tm="100000">
                                          <p:val>
                                            <p:strVal val="#ppt_x"/>
                                          </p:val>
                                        </p:tav>
                                      </p:tavLst>
                                    </p:anim>
                                    <p:anim calcmode="lin" valueType="num">
                                      <p:cBhvr>
                                        <p:cTn dur="500" fill="hold" id="111"/>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1"/>
      <p:bldP grpId="0" spid="42"/>
      <p:bldP grpId="0" spid="43"/>
      <p:bldP grpId="0" spid="44"/>
      <p:bldP grpId="0" spid="72"/>
      <p:bldP grpId="0" spid="73"/>
      <p:bldP grpId="0" spid="74"/>
      <p:bldP grpId="0" spid="105"/>
      <p:bldP grpId="0" spid="108"/>
    </p:bldLst>
  </p:timing>
  <p:extLst mod="1">
    <p:ext uri="{E180D4A7-C9FB-4DFB-919C-405C955672EB}">
      <p14:showEvtLst>
        <p14:playEvt objId="113" time="1315"/>
        <p14:stopEvt objId="113" time="2081"/>
      </p14:showEvtLst>
    </p:ext>
  </p:extLst>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8" name="图片 17"/>
          <p:cNvPicPr>
            <a:picLocks noChangeAspect="1"/>
          </p:cNvPicPr>
          <p:nvPr/>
        </p:nvPicPr>
        <p:blipFill>
          <a:blip r:embed="rId3">
            <a:extLst>
              <a:ext uri="{28A0092B-C50C-407E-A947-70E740481C1C}">
                <a14:useLocalDpi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45080" cy="518160"/>
          </a:xfrm>
          <a:prstGeom prst="rect">
            <a:avLst/>
          </a:prstGeom>
          <a:noFill/>
        </p:spPr>
        <p:txBody>
          <a:bodyPr rtlCol="0" wrap="none">
            <a:spAutoFit/>
          </a:bodyPr>
          <a:lstStyle/>
          <a:p>
            <a:r>
              <a:rPr altLang="en-US" lang="zh-CN" spc="300" sz="2800">
                <a:solidFill>
                  <a:srgbClr val="0070C0"/>
                </a:solidFill>
                <a:latin charset="-122" panose="02010600030101010101" pitchFamily="2" typeface="黑体"/>
                <a:ea charset="-122" panose="02010600030101010101" pitchFamily="2" typeface="黑体"/>
              </a:rPr>
              <a:t>单击添加标题</a:t>
            </a:r>
          </a:p>
        </p:txBody>
      </p:sp>
      <p:sp>
        <p:nvSpPr>
          <p:cNvPr id="7" name="TextBox 11"/>
          <p:cNvSpPr txBox="1"/>
          <p:nvPr/>
        </p:nvSpPr>
        <p:spPr>
          <a:xfrm>
            <a:off x="1260292" y="3564725"/>
            <a:ext cx="3884930" cy="426720"/>
          </a:xfrm>
          <a:prstGeom prst="rect">
            <a:avLst/>
          </a:prstGeom>
          <a:noFill/>
        </p:spPr>
        <p:txBody>
          <a:bodyPr rtlCol="0" wrap="none">
            <a:spAutoFit/>
          </a:bodyPr>
          <a:lstStyle/>
          <a:p>
            <a:r>
              <a:rPr altLang="zh-CN" lang="en-US" sz="1100">
                <a:solidFill>
                  <a:schemeClr val="bg1"/>
                </a:solidFill>
                <a:latin charset="-122" panose="01010104010101010101" pitchFamily="2" typeface="汉仪细等线"/>
                <a:ea charset="-122" panose="01010104010101010101" pitchFamily="2" typeface="汉仪细等线"/>
              </a:rPr>
              <a:t>Please click enter to Please click enter add</a:t>
            </a:r>
          </a:p>
          <a:p>
            <a:r>
              <a:rPr altLang="zh-CN" lang="en-US" sz="1100">
                <a:solidFill>
                  <a:schemeClr val="bg1"/>
                </a:solidFill>
                <a:latin charset="-122" panose="01010104010101010101" pitchFamily="2" typeface="汉仪细等线"/>
                <a:ea charset="-122" panose="01010104010101010101" pitchFamily="2" typeface="汉仪细等线"/>
              </a:rPr>
              <a:t>text content Please click enter </a:t>
            </a:r>
          </a:p>
        </p:txBody>
      </p:sp>
      <p:sp>
        <p:nvSpPr>
          <p:cNvPr id="8" name="TextBox 21"/>
          <p:cNvSpPr txBox="1"/>
          <p:nvPr/>
        </p:nvSpPr>
        <p:spPr>
          <a:xfrm>
            <a:off x="1188194" y="1306180"/>
            <a:ext cx="2487930" cy="1844040"/>
          </a:xfrm>
          <a:prstGeom prst="rect">
            <a:avLst/>
          </a:prstGeom>
          <a:noFill/>
        </p:spPr>
        <p:txBody>
          <a:bodyPr rtlCol="0" wrap="none">
            <a:spAutoFit/>
          </a:bodyPr>
          <a:lstStyle/>
          <a:p>
            <a:r>
              <a:rPr altLang="zh-CN" lang="en-US" spc="300" sz="11500">
                <a:solidFill>
                  <a:srgbClr val="0070C0"/>
                </a:solidFill>
                <a:latin charset="-122" panose="02010600030101010101" pitchFamily="2" typeface="黑体"/>
                <a:ea charset="-122" panose="02010600030101010101" pitchFamily="2" typeface="黑体"/>
              </a:rPr>
              <a:t>02.</a:t>
            </a:r>
          </a:p>
        </p:txBody>
      </p:sp>
    </p:spTree>
    <p:extLst>
      <p:ext uri="{BB962C8B-B14F-4D97-AF65-F5344CB8AC3E}">
        <p14:creationId val="1016628394"/>
      </p:ext>
    </p:extLst>
  </p:cSld>
  <p:clrMapOvr>
    <a:masterClrMapping/>
  </p:clrMapOvr>
  <mc:AlternateContent>
    <mc:Choice Requires="p15">
      <p:transition p14:dur="3250" spd="slow">
        <p15:prstTrans prst="origami"/>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2" id="5" nodeType="afterEffect" presetClass="entr" presetID="10"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500" id="7"/>
                                        <p:tgtEl>
                                          <p:spTgt spid="8"/>
                                        </p:tgtEl>
                                      </p:cBhvr>
                                    </p:animEffect>
                                  </p:childTnLst>
                                </p:cTn>
                              </p:par>
                            </p:childTnLst>
                          </p:cTn>
                        </p:par>
                        <p:par>
                          <p:cTn fill="hold" id="8" nodeType="afterGroup">
                            <p:stCondLst>
                              <p:cond delay="500"/>
                            </p:stCondLst>
                            <p:childTnLst>
                              <p:par>
                                <p:cTn fill="hold" grpId="0" id="9" nodeType="afterEffect" presetClass="emph" presetID="35" presetSubtype="0">
                                  <p:stCondLst>
                                    <p:cond delay="0"/>
                                  </p:stCondLst>
                                  <p:childTnLst>
                                    <p:anim calcmode="discrete" valueType="str">
                                      <p:cBhvr>
                                        <p:cTn dur="1000" fill="hold" id="10"/>
                                        <p:tgtEl>
                                          <p:spTgt spid="8"/>
                                        </p:tgtEl>
                                        <p:attrNameLst>
                                          <p:attrName>style.visibility</p:attrName>
                                        </p:attrNameLst>
                                      </p:cBhvr>
                                      <p:tavLst>
                                        <p:tav tm="0">
                                          <p:val>
                                            <p:strVal val="hidden"/>
                                          </p:val>
                                        </p:tav>
                                        <p:tav tm="50000">
                                          <p:val>
                                            <p:strVal val="visible"/>
                                          </p:val>
                                        </p:tav>
                                      </p:tavLst>
                                    </p:anim>
                                  </p:childTnLst>
                                </p:cTn>
                              </p:par>
                            </p:childTnLst>
                          </p:cTn>
                        </p:par>
                        <p:par>
                          <p:cTn fill="hold" id="11" nodeType="afterGroup">
                            <p:stCondLst>
                              <p:cond delay="1500"/>
                            </p:stCondLst>
                            <p:childTnLst>
                              <p:par>
                                <p:cTn fill="hold" grpId="1" id="12" nodeType="afterEffect" presetClass="emph" presetID="35" presetSubtype="0">
                                  <p:stCondLst>
                                    <p:cond delay="0"/>
                                  </p:stCondLst>
                                  <p:childTnLst>
                                    <p:anim calcmode="discrete" valueType="str">
                                      <p:cBhvr>
                                        <p:cTn dur="1000" fill="hold" id="13"/>
                                        <p:tgtEl>
                                          <p:spTgt spid="8"/>
                                        </p:tgtEl>
                                        <p:attrNameLst>
                                          <p:attrName>style.visibility</p:attrName>
                                        </p:attrNameLst>
                                      </p:cBhvr>
                                      <p:tavLst>
                                        <p:tav tm="0">
                                          <p:val>
                                            <p:strVal val="hidden"/>
                                          </p:val>
                                        </p:tav>
                                        <p:tav tm="50000">
                                          <p:val>
                                            <p:strVal val="visible"/>
                                          </p:val>
                                        </p:tav>
                                      </p:tavLst>
                                    </p:anim>
                                  </p:childTnLst>
                                </p:cTn>
                              </p:par>
                            </p:childTnLst>
                          </p:cTn>
                        </p:par>
                        <p:par>
                          <p:cTn fill="hold" id="14" nodeType="afterGroup">
                            <p:stCondLst>
                              <p:cond delay="2500"/>
                            </p:stCondLst>
                            <p:childTnLst>
                              <p:par>
                                <p:cTn fill="hold" grpId="0" id="15" nodeType="afterEffect" presetClass="entr" presetID="10" presetSubtype="0">
                                  <p:stCondLst>
                                    <p:cond delay="0"/>
                                  </p:stCondLst>
                                  <p:childTnLst>
                                    <p:set>
                                      <p:cBhvr>
                                        <p:cTn dur="1" fill="hold" id="16">
                                          <p:stCondLst>
                                            <p:cond delay="0"/>
                                          </p:stCondLst>
                                        </p:cTn>
                                        <p:tgtEl>
                                          <p:spTgt spid="6"/>
                                        </p:tgtEl>
                                        <p:attrNameLst>
                                          <p:attrName>style.visibility</p:attrName>
                                        </p:attrNameLst>
                                      </p:cBhvr>
                                      <p:to>
                                        <p:strVal val="visible"/>
                                      </p:to>
                                    </p:set>
                                    <p:animEffect filter="fade" transition="in">
                                      <p:cBhvr>
                                        <p:cTn dur="500" id="17"/>
                                        <p:tgtEl>
                                          <p:spTgt spid="6"/>
                                        </p:tgtEl>
                                      </p:cBhvr>
                                    </p:animEffect>
                                  </p:childTnLst>
                                </p:cTn>
                              </p:par>
                            </p:childTnLst>
                          </p:cTn>
                        </p:par>
                        <p:par>
                          <p:cTn fill="hold" id="18" nodeType="afterGroup">
                            <p:stCondLst>
                              <p:cond delay="3000"/>
                            </p:stCondLst>
                            <p:childTnLst>
                              <p:par>
                                <p:cTn fill="hold" grpId="1" id="19" nodeType="afterEffect" presetClass="emph" presetID="26" presetSubtype="0">
                                  <p:stCondLst>
                                    <p:cond delay="0"/>
                                  </p:stCondLst>
                                  <p:childTnLst>
                                    <p:animEffect filter="fade" transition="out">
                                      <p:cBhvr>
                                        <p:cTn dur="500" id="20" tmFilter="0, 0; .2, .5; .8, .5; 1, 0"/>
                                        <p:tgtEl>
                                          <p:spTgt spid="6"/>
                                        </p:tgtEl>
                                      </p:cBhvr>
                                    </p:animEffect>
                                    <p:animScale>
                                      <p:cBhvr>
                                        <p:cTn autoRev="1" dur="250" fill="hold" id="21"/>
                                        <p:tgtEl>
                                          <p:spTgt spid="6"/>
                                        </p:tgtEl>
                                      </p:cBhvr>
                                      <p:by x="105000" y="105000"/>
                                    </p:animScale>
                                  </p:childTnLst>
                                </p:cTn>
                              </p:par>
                            </p:childTnLst>
                          </p:cTn>
                        </p:par>
                        <p:par>
                          <p:cTn fill="hold" id="22" nodeType="afterGroup">
                            <p:stCondLst>
                              <p:cond delay="3500"/>
                            </p:stCondLst>
                            <p:childTnLst>
                              <p:par>
                                <p:cTn fill="hold" grpId="0" id="23" nodeType="afterEffect" presetClass="entr" presetID="41" presetSubtype="0">
                                  <p:stCondLst>
                                    <p:cond delay="0"/>
                                  </p:stCondLst>
                                  <p:iterate type="lt">
                                    <p:tmPct val="10000"/>
                                  </p:iterate>
                                  <p:childTnLst>
                                    <p:set>
                                      <p:cBhvr>
                                        <p:cTn dur="1" fill="hold" id="24">
                                          <p:stCondLst>
                                            <p:cond delay="0"/>
                                          </p:stCondLst>
                                        </p:cTn>
                                        <p:tgtEl>
                                          <p:spTgt spid="7"/>
                                        </p:tgtEl>
                                        <p:attrNameLst>
                                          <p:attrName>style.visibility</p:attrName>
                                        </p:attrNameLst>
                                      </p:cBhvr>
                                      <p:to>
                                        <p:strVal val="visible"/>
                                      </p:to>
                                    </p:set>
                                    <p:anim calcmode="lin" valueType="num">
                                      <p:cBhvr>
                                        <p:cTn dur="200" fill="hold" id="25"/>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dur="200" fill="hold" id="26"/>
                                        <p:tgtEl>
                                          <p:spTgt spid="7"/>
                                        </p:tgtEl>
                                        <p:attrNameLst>
                                          <p:attrName>ppt_y</p:attrName>
                                        </p:attrNameLst>
                                      </p:cBhvr>
                                      <p:tavLst>
                                        <p:tav tm="0">
                                          <p:val>
                                            <p:strVal val="#ppt_y"/>
                                          </p:val>
                                        </p:tav>
                                        <p:tav tm="100000">
                                          <p:val>
                                            <p:strVal val="#ppt_y"/>
                                          </p:val>
                                        </p:tav>
                                      </p:tavLst>
                                    </p:anim>
                                    <p:anim calcmode="lin" valueType="num">
                                      <p:cBhvr>
                                        <p:cTn dur="200" fill="hold" id="27"/>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dur="200" fill="hold" id="28"/>
                                        <p:tgtEl>
                                          <p:spTgt spid="7"/>
                                        </p:tgtEl>
                                        <p:attrNameLst>
                                          <p:attrName>ppt_w</p:attrName>
                                        </p:attrNameLst>
                                      </p:cBhvr>
                                      <p:tavLst>
                                        <p:tav tm="0">
                                          <p:val>
                                            <p:strVal val="#ppt_w/10"/>
                                          </p:val>
                                        </p:tav>
                                        <p:tav tm="50000">
                                          <p:val>
                                            <p:strVal val="#ppt_w+.01"/>
                                          </p:val>
                                        </p:tav>
                                        <p:tav tm="100000">
                                          <p:val>
                                            <p:strVal val="#ppt_w"/>
                                          </p:val>
                                        </p:tav>
                                      </p:tavLst>
                                    </p:anim>
                                    <p:animEffect filter="fade" transition="in">
                                      <p:cBhvr>
                                        <p:cTn dur="200" id="29" tmFilter="0,0; .5, 1; 1, 1"/>
                                        <p:tgtEl>
                                          <p:spTgt spid="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
      <p:bldP grpId="1" spid="6"/>
      <p:bldP grpId="0" spid="7"/>
      <p:bldP grpId="0" spid="8"/>
      <p:bldP grpId="1" spid="8"/>
      <p:bldP grpId="2" spid="8"/>
    </p:bldLst>
  </p:timing>
</p:sld>
</file>

<file path=ppt/tags/tag1.xml><?xml version="1.0" encoding="utf-8"?>
<p:tagLst xmlns:p="http://schemas.openxmlformats.org/presentationml/2006/main">
  <p:tag name="TIMING" val="|3.5"/>
</p:tagLst>
</file>

<file path=ppt/tags/tag2.xml><?xml version="1.0" encoding="utf-8"?>
<p:tagLst xmlns:p="http://schemas.openxmlformats.org/presentationml/2006/main">
  <p:tag name="TIMING" val="|4.1"/>
</p:tagLst>
</file>

<file path=ppt/tags/tag3.xml><?xml version="1.0" encoding="utf-8"?>
<p:tagLst xmlns:p="http://schemas.openxmlformats.org/presentationml/2006/main">
  <p:tag name="TIMING" val="|3.4|1.1|0.8|0.9|1|0.8|1.3|1.2|1|1.4|0.8|0.5|0.7|0.4|0.6|0.6|0.7"/>
</p:tagLst>
</file>

<file path=ppt/tags/tag4.xml><?xml version="1.0" encoding="utf-8"?>
<p:tagLst xmlns:p="http://schemas.openxmlformats.org/presentationml/2006/main">
  <p:tag name="TIMING" val="|3.3|1.3|1.8|1.6|1.6|1.6|1.2"/>
</p:tagLst>
</file>

<file path=ppt/tags/tag5.xml><?xml version="1.0" encoding="utf-8"?>
<p:tagLst xmlns:p="http://schemas.openxmlformats.org/presentationml/2006/main">
  <p:tag name="THINKCELLSHAPEDONOTDELETE" val="pL1WJbqXVIEKuzluq6Thzvg"/>
</p:tagLst>
</file>

<file path=ppt/tags/tag6.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 name="ISPRING_PRESENTATION_TITLE" val="bt578455"/>
</p:tagLst>
</file>

<file path=ppt/theme/theme1.xml><?xml version="1.0" encoding="utf-8"?>
<a:theme xmlns:r="http://schemas.openxmlformats.org/officeDocument/2006/relationships" xmlns:a="http://schemas.openxmlformats.org/drawingml/2006/main" na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4.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docProps/app.xml><?xml version="1.0" encoding="utf-8"?>
<Properties xmlns:vt="http://schemas.openxmlformats.org/officeDocument/2006/docPropsVTypes" xmlns="http://schemas.openxmlformats.org/officeDocument/2006/extended-properties">
  <Template>Office Theme</Template>
  <Company/>
  <PresentationFormat>自定义</PresentationFormat>
  <Paragraphs>282</Paragraphs>
  <Slides>28</Slides>
  <Notes>28</Notes>
  <TotalTime>0</TotalTime>
  <HiddenSlides>0</HiddenSlides>
  <MMClips>16</MMClips>
  <ScaleCrop>0</ScaleCrop>
  <HeadingPairs>
    <vt:vector baseType="variant" size="6">
      <vt:variant>
        <vt:lpstr>Fonts used</vt:lpstr>
      </vt:variant>
      <vt:variant>
        <vt:i4>21</vt:i4>
      </vt:variant>
      <vt:variant>
        <vt:lpstr>Theme</vt:lpstr>
      </vt:variant>
      <vt:variant>
        <vt:i4>1</vt:i4>
      </vt:variant>
      <vt:variant>
        <vt:lpstr>Slide Titles</vt:lpstr>
      </vt:variant>
      <vt:variant>
        <vt:i4>28</vt:i4>
      </vt:variant>
    </vt:vector>
  </HeadingPairs>
  <TitlesOfParts>
    <vt:vector baseType="lpstr" size="50">
      <vt:lpstr>Arial</vt:lpstr>
      <vt:lpstr>Calibri Light</vt:lpstr>
      <vt:lpstr>Calibri</vt:lpstr>
      <vt:lpstr>宋体</vt:lpstr>
      <vt:lpstr>黑体</vt:lpstr>
      <vt:lpstr>汉仪细等线</vt:lpstr>
      <vt:lpstr>微软雅黑</vt:lpstr>
      <vt:lpstr>Gill Sans</vt:lpstr>
      <vt:lpstr>ヒラギノ角ゴ ProN W3</vt:lpstr>
      <vt:lpstr>FontAwesome</vt:lpstr>
      <vt:lpstr>Lato</vt:lpstr>
      <vt:lpstr>MS PGothic</vt:lpstr>
      <vt:lpstr>Batang</vt:lpstr>
      <vt:lpstr>Tahoma</vt:lpstr>
      <vt:lpstr>Arial Narrow</vt:lpstr>
      <vt:lpstr>华文黑体</vt:lpstr>
      <vt:lpstr>微软雅黑 Light</vt:lpstr>
      <vt:lpstr>Helvetica Light</vt:lpstr>
      <vt:lpstr>Helvetica</vt:lpstr>
      <vt:lpstr>Malgun Gothic</vt:lpstr>
      <vt:lpstr>Lato Regular</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7-05-21T03:30:57Z</dcterms:created>
  <dcterms:modified xsi:type="dcterms:W3CDTF">2021-08-20T10:58:46Z</dcterms:modified>
  <cp:revision>1</cp:revision>
</cp:coreProperties>
</file>